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7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8781" r:id="rId4"/>
    <p:sldMasterId id="2147488788" r:id="rId5"/>
  </p:sldMasterIdLst>
  <p:notesMasterIdLst>
    <p:notesMasterId r:id="rId15"/>
  </p:notesMasterIdLst>
  <p:handoutMasterIdLst>
    <p:handoutMasterId r:id="rId16"/>
  </p:handoutMasterIdLst>
  <p:sldIdLst>
    <p:sldId id="2146847048" r:id="rId6"/>
    <p:sldId id="2146847593" r:id="rId7"/>
    <p:sldId id="2146847576" r:id="rId8"/>
    <p:sldId id="2146847170" r:id="rId9"/>
    <p:sldId id="2146847574" r:id="rId10"/>
    <p:sldId id="2146847172" r:id="rId11"/>
    <p:sldId id="2146847575" r:id="rId12"/>
    <p:sldId id="2146847594" r:id="rId13"/>
    <p:sldId id="2146847595" r:id="rId14"/>
  </p:sldIdLst>
  <p:sldSz cx="9906000" cy="6858000" type="A4"/>
  <p:notesSz cx="6858000" cy="9144000"/>
  <p:defaultTextStyle>
    <a:defPPr>
      <a:defRPr lang="fr-FR"/>
    </a:defPPr>
    <a:lvl1pPr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5pPr>
    <a:lvl6pPr marL="2286000" algn="l" defTabSz="457200" rtl="0" eaLnBrk="1" latinLnBrk="0" hangingPunct="1">
      <a:defRPr kern="1200">
        <a:solidFill>
          <a:schemeClr val="tx1"/>
        </a:solidFill>
        <a:latin typeface="Arial Unicode MS" charset="0"/>
        <a:ea typeface="ＭＳ Ｐゴシック" charset="0"/>
        <a:cs typeface="ＭＳ Ｐゴシック" charset="0"/>
      </a:defRPr>
    </a:lvl6pPr>
    <a:lvl7pPr marL="2743200" algn="l" defTabSz="457200" rtl="0" eaLnBrk="1" latinLnBrk="0" hangingPunct="1">
      <a:defRPr kern="1200">
        <a:solidFill>
          <a:schemeClr val="tx1"/>
        </a:solidFill>
        <a:latin typeface="Arial Unicode MS" charset="0"/>
        <a:ea typeface="ＭＳ Ｐゴシック" charset="0"/>
        <a:cs typeface="ＭＳ Ｐゴシック" charset="0"/>
      </a:defRPr>
    </a:lvl7pPr>
    <a:lvl8pPr marL="3200400" algn="l" defTabSz="457200" rtl="0" eaLnBrk="1" latinLnBrk="0" hangingPunct="1">
      <a:defRPr kern="1200">
        <a:solidFill>
          <a:schemeClr val="tx1"/>
        </a:solidFill>
        <a:latin typeface="Arial Unicode MS" charset="0"/>
        <a:ea typeface="ＭＳ Ｐゴシック" charset="0"/>
        <a:cs typeface="ＭＳ Ｐゴシック" charset="0"/>
      </a:defRPr>
    </a:lvl8pPr>
    <a:lvl9pPr marL="3657600" algn="l" defTabSz="457200" rtl="0" eaLnBrk="1" latinLnBrk="0" hangingPunct="1">
      <a:defRPr kern="1200">
        <a:solidFill>
          <a:schemeClr val="tx1"/>
        </a:solidFill>
        <a:latin typeface="Arial Unicode MS" charset="0"/>
        <a:ea typeface="ＭＳ Ｐゴシック" charset="0"/>
        <a:cs typeface="ＭＳ Ｐゴシック" charset="0"/>
      </a:defRPr>
    </a:lvl9pPr>
  </p:defaultTextStyle>
  <p:extLst>
    <p:ext uri="{521415D9-36F7-43E2-AB2F-B90AF26B5E84}">
      <p14:sectionLst xmlns:p14="http://schemas.microsoft.com/office/powerpoint/2010/main">
        <p14:section name="Standardabschnitt" id="{2B7BEE9B-C5D9-4E6C-A228-737609A0A096}">
          <p14:sldIdLst/>
        </p14:section>
        <p14:section name="Introduction" id="{3F1E9871-F69C-45DC-BD0C-067D3A26E7DA}">
          <p14:sldIdLst>
            <p14:sldId id="2146847048"/>
          </p14:sldIdLst>
        </p14:section>
        <p14:section name="Summary Overview" id="{BCF3FCE0-4469-490E-913B-5A8D011796F6}">
          <p14:sldIdLst>
            <p14:sldId id="2146847593"/>
            <p14:sldId id="2146847576"/>
            <p14:sldId id="2146847170"/>
            <p14:sldId id="2146847574"/>
            <p14:sldId id="2146847172"/>
            <p14:sldId id="2146847575"/>
            <p14:sldId id="2146847594"/>
            <p14:sldId id="2146847595"/>
          </p14:sldIdLst>
        </p14:section>
        <p14:section name="Annex" id="{28C936E8-EEA0-4EE4-A162-E82C31CA1CE9}">
          <p14:sldIdLst/>
        </p14:section>
      </p14:sectionLst>
    </p:ext>
    <p:ext uri="{EFAFB233-063F-42B5-8137-9DF3F51BA10A}">
      <p15:sldGuideLst xmlns:p15="http://schemas.microsoft.com/office/powerpoint/2012/main">
        <p15:guide id="1" orient="horz" pos="1071" userDrawn="1">
          <p15:clr>
            <a:srgbClr val="A4A3A4"/>
          </p15:clr>
        </p15:guide>
        <p15:guide id="2" orient="horz" pos="2999" userDrawn="1">
          <p15:clr>
            <a:srgbClr val="A4A3A4"/>
          </p15:clr>
        </p15:guide>
        <p15:guide id="3" pos="325"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288222-D658-395E-091B-B060D92B499C}" name="Derks Maria 101842" initials="D1" userId="S-1-5-21-2733292141-944319808-1953232315-41790" providerId="AD"/>
  <p188:author id="{52D3BB5F-938A-A5C4-2FEA-27765391E2D9}" name="Schlipf Dominik" initials="DS" userId="S::D.Schlipf@transnetbw.de::709dd79b-46fb-43aa-9c7b-5dec1d0911ab" providerId="AD"/>
  <p188:author id="{CE8ADF7E-3153-ABF5-9C14-612E292554B0}" name="Pflanzer Václav" initials="VP" userId="S::pflanzer@ceps.cz::dd649313-377e-4125-b736-9980f49a2890" providerId="AD"/>
  <p188:author id="{AA02EA94-4687-FFBC-3A78-9FCF81999B7A}" name="Kasper, Dr. Ulf Sebastian" initials="UK" userId="S::ulf.Kasper@amprion.net::20335c05-bffb-47fa-8abc-4c227a3b3f52" providerId="AD"/>
  <p188:author id="{C2E055D6-C107-A639-C8D1-B18A6376D2FF}" name="e-ceps\101428" initials="ec" userId="e-ceps\101428"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 id="5" name="Florian Evert" initials="FE" lastIdx="2" clrIdx="5">
    <p:extLst>
      <p:ext uri="{19B8F6BF-5375-455C-9EA6-DF929625EA0E}">
        <p15:presenceInfo xmlns:p15="http://schemas.microsoft.com/office/powerpoint/2012/main" userId="S-1-5-21-1227816517-2390591808-2095617564-38029" providerId="AD"/>
      </p:ext>
    </p:extLst>
  </p:cmAuthor>
  <p:cmAuthor id="6" name="Remppis Simon" initials="RS" lastIdx="5" clrIdx="6">
    <p:extLst>
      <p:ext uri="{19B8F6BF-5375-455C-9EA6-DF929625EA0E}">
        <p15:presenceInfo xmlns:p15="http://schemas.microsoft.com/office/powerpoint/2012/main" userId="S::S.Remppis@transnetbw.de::2aef5ab0-cc38-4cab-becd-f8ca1315620f" providerId="AD"/>
      </p:ext>
    </p:extLst>
  </p:cmAuthor>
  <p:cmAuthor id="7" name="Kasper, Dr. Ulf Sebastian" initials="KDUS" lastIdx="2" clrIdx="7">
    <p:extLst>
      <p:ext uri="{19B8F6BF-5375-455C-9EA6-DF929625EA0E}">
        <p15:presenceInfo xmlns:p15="http://schemas.microsoft.com/office/powerpoint/2012/main" userId="S-1-5-21-2885048325-740612993-2269387334-13942" providerId="AD"/>
      </p:ext>
    </p:extLst>
  </p:cmAuthor>
  <p:cmAuthor id="8" name="Pellegrin Cécile" initials="PC" lastIdx="18" clrIdx="8">
    <p:extLst>
      <p:ext uri="{19B8F6BF-5375-455C-9EA6-DF929625EA0E}">
        <p15:presenceInfo xmlns:p15="http://schemas.microsoft.com/office/powerpoint/2012/main" userId="S-1-5-21-2137143959-1876693506-2580398563-11052" providerId="AD"/>
      </p:ext>
    </p:extLst>
  </p:cmAuthor>
  <p:cmAuthor id="9" name="e-ceps\100665" initials="e" lastIdx="3" clrIdx="9">
    <p:extLst>
      <p:ext uri="{19B8F6BF-5375-455C-9EA6-DF929625EA0E}">
        <p15:presenceInfo xmlns:p15="http://schemas.microsoft.com/office/powerpoint/2012/main" userId="e-ceps\100665" providerId="None"/>
      </p:ext>
    </p:extLst>
  </p:cmAuthor>
  <p:cmAuthor id="10" name="Schlipf Dominik  101428" initials="S1" lastIdx="35" clrIdx="10">
    <p:extLst>
      <p:ext uri="{19B8F6BF-5375-455C-9EA6-DF929625EA0E}">
        <p15:presenceInfo xmlns:p15="http://schemas.microsoft.com/office/powerpoint/2012/main" userId="S-1-5-21-2733292141-944319808-1953232315-40670" providerId="AD"/>
      </p:ext>
    </p:extLst>
  </p:cmAuthor>
  <p:cmAuthor id="11" name="Steber David 101525" initials="S1" lastIdx="42" clrIdx="11">
    <p:extLst>
      <p:ext uri="{19B8F6BF-5375-455C-9EA6-DF929625EA0E}">
        <p15:presenceInfo xmlns:p15="http://schemas.microsoft.com/office/powerpoint/2012/main" userId="S-1-5-21-2733292141-944319808-1953232315-40898" providerId="AD"/>
      </p:ext>
    </p:extLst>
  </p:cmAuthor>
  <p:cmAuthor id="12" name="Brun Vanessa 102250" initials="B1" lastIdx="5" clrIdx="12">
    <p:extLst>
      <p:ext uri="{19B8F6BF-5375-455C-9EA6-DF929625EA0E}">
        <p15:presenceInfo xmlns:p15="http://schemas.microsoft.com/office/powerpoint/2012/main" userId="S-1-5-21-2733292141-944319808-1953232315-43224" providerId="AD"/>
      </p:ext>
    </p:extLst>
  </p:cmAuthor>
  <p:cmAuthor id="13" name="Derks Maria 101842" initials="D1" lastIdx="11" clrIdx="13">
    <p:extLst>
      <p:ext uri="{19B8F6BF-5375-455C-9EA6-DF929625EA0E}">
        <p15:presenceInfo xmlns:p15="http://schemas.microsoft.com/office/powerpoint/2012/main" userId="S-1-5-21-2733292141-944319808-1953232315-41790" providerId="AD"/>
      </p:ext>
    </p:extLst>
  </p:cmAuthor>
  <p:cmAuthor id="14" name="Magnant Philippe" initials="MP" lastIdx="11" clrIdx="14">
    <p:extLst>
      <p:ext uri="{19B8F6BF-5375-455C-9EA6-DF929625EA0E}">
        <p15:presenceInfo xmlns:p15="http://schemas.microsoft.com/office/powerpoint/2012/main" userId="S-1-5-21-2137143959-1876693506-2580398563-50940" providerId="AD"/>
      </p:ext>
    </p:extLst>
  </p:cmAuthor>
  <p:cmAuthor id="15" name="Pellegrin Cécile" initials="PC [2]" lastIdx="38" clrIdx="15">
    <p:extLst>
      <p:ext uri="{19B8F6BF-5375-455C-9EA6-DF929625EA0E}">
        <p15:presenceInfo xmlns:p15="http://schemas.microsoft.com/office/powerpoint/2012/main" userId="S::GDK125@Belgrid.net::021e483e-7e46-4a1a-b0a1-acd8d2fcafe6" providerId="AD"/>
      </p:ext>
    </p:extLst>
  </p:cmAuthor>
  <p:cmAuthor id="16" name="Schlipf Dominik" initials="SD" lastIdx="2" clrIdx="16">
    <p:extLst>
      <p:ext uri="{19B8F6BF-5375-455C-9EA6-DF929625EA0E}">
        <p15:presenceInfo xmlns:p15="http://schemas.microsoft.com/office/powerpoint/2012/main" userId="S::D.Schlipf@transnetbw.de::709dd79b-46fb-43aa-9c7b-5dec1d0911ab" providerId="AD"/>
      </p:ext>
    </p:extLst>
  </p:cmAuthor>
  <p:cmAuthor id="17" name="Schindler Jonathan 102214" initials="S1" lastIdx="1" clrIdx="17">
    <p:extLst>
      <p:ext uri="{19B8F6BF-5375-455C-9EA6-DF929625EA0E}">
        <p15:presenceInfo xmlns:p15="http://schemas.microsoft.com/office/powerpoint/2012/main" userId="S-1-5-21-2733292141-944319808-1953232315-42866" providerId="AD"/>
      </p:ext>
    </p:extLst>
  </p:cmAuthor>
  <p:cmAuthor id="18" name="Kindsmüller, Dr. Andreas" initials="KDA" lastIdx="1" clrIdx="18">
    <p:extLst>
      <p:ext uri="{19B8F6BF-5375-455C-9EA6-DF929625EA0E}">
        <p15:presenceInfo xmlns:p15="http://schemas.microsoft.com/office/powerpoint/2012/main" userId="S::Andreas.Kindsmueller@amprion.net::c883c555-d0e5-4065-8e2b-5214fb4922fa" providerId="AD"/>
      </p:ext>
    </p:extLst>
  </p:cmAuthor>
  <p:cmAuthor id="19" name="Kasper, Dr. Ulf Sebastian" initials="KDUS [2]" lastIdx="1" clrIdx="19">
    <p:extLst>
      <p:ext uri="{19B8F6BF-5375-455C-9EA6-DF929625EA0E}">
        <p15:presenceInfo xmlns:p15="http://schemas.microsoft.com/office/powerpoint/2012/main" userId="S::ulf.Kasper@amprion.net::20335c05-bffb-47fa-8abc-4c227a3b3f52" providerId="AD"/>
      </p:ext>
    </p:extLst>
  </p:cmAuthor>
  <p:cmAuthor id="20" name="Magnant Philippe" initials="MP [2]" lastIdx="7" clrIdx="20">
    <p:extLst>
      <p:ext uri="{19B8F6BF-5375-455C-9EA6-DF929625EA0E}">
        <p15:presenceInfo xmlns:p15="http://schemas.microsoft.com/office/powerpoint/2012/main" userId="S::HCA259@Belgrid.net::8957c13f-c36e-4c1b-8734-ac072f95afef" providerId="AD"/>
      </p:ext>
    </p:extLst>
  </p:cmAuthor>
  <p:cmAuthor id="21" name="Susanne Dornick" initials="SD" lastIdx="2" clrIdx="21">
    <p:extLst>
      <p:ext uri="{19B8F6BF-5375-455C-9EA6-DF929625EA0E}">
        <p15:presenceInfo xmlns:p15="http://schemas.microsoft.com/office/powerpoint/2012/main" userId="S::SDornick@e-bridge.com::7e4f279d-63da-4c2d-9759-c2a082094936" providerId="AD"/>
      </p:ext>
    </p:extLst>
  </p:cmAuthor>
  <p:cmAuthor id="22" name="Szer Anna 101106" initials="S1" lastIdx="3" clrIdx="22">
    <p:extLst>
      <p:ext uri="{19B8F6BF-5375-455C-9EA6-DF929625EA0E}">
        <p15:presenceInfo xmlns:p15="http://schemas.microsoft.com/office/powerpoint/2012/main" userId="S-1-5-21-2733292141-944319808-1953232315-39629" providerId="AD"/>
      </p:ext>
    </p:extLst>
  </p:cmAuthor>
  <p:cmAuthor id="23" name="Kasper Ulf 101046" initials="K1" lastIdx="1" clrIdx="23">
    <p:extLst>
      <p:ext uri="{19B8F6BF-5375-455C-9EA6-DF929625EA0E}">
        <p15:presenceInfo xmlns:p15="http://schemas.microsoft.com/office/powerpoint/2012/main" userId="S-1-5-21-2733292141-944319808-1953232315-39559" providerId="AD"/>
      </p:ext>
    </p:extLst>
  </p:cmAuthor>
  <p:cmAuthor id="24" name="Aebi Stefanie" initials="AS" lastIdx="1" clrIdx="24">
    <p:extLst>
      <p:ext uri="{19B8F6BF-5375-455C-9EA6-DF929625EA0E}">
        <p15:presenceInfo xmlns:p15="http://schemas.microsoft.com/office/powerpoint/2012/main" userId="S::stefanie.aebi@swissgrid.ch::8e470f4e-f134-441b-8898-c161125c6f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hiddenSlides="1" frame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682"/>
    <a:srgbClr val="67B9FF"/>
    <a:srgbClr val="002060"/>
    <a:srgbClr val="000000"/>
    <a:srgbClr val="BFBFBF"/>
    <a:srgbClr val="595959"/>
    <a:srgbClr val="FFFFFF"/>
    <a:srgbClr val="1F497D"/>
    <a:srgbClr val="AB5905"/>
    <a:srgbClr val="BDE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24" autoAdjust="0"/>
    <p:restoredTop sz="96357" autoAdjust="0"/>
  </p:normalViewPr>
  <p:slideViewPr>
    <p:cSldViewPr snapToGrid="0">
      <p:cViewPr varScale="1">
        <p:scale>
          <a:sx n="82" d="100"/>
          <a:sy n="82" d="100"/>
        </p:scale>
        <p:origin x="1325" y="72"/>
      </p:cViewPr>
      <p:guideLst>
        <p:guide orient="horz" pos="1071"/>
        <p:guide orient="horz" pos="2999"/>
        <p:guide pos="325"/>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41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5523B9D-8214-22DC-3110-3CB2B9CBB357}"/>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C7EFDF7A-745C-7C37-8E33-762DCD6161C7}"/>
              </a:ext>
            </a:extLst>
          </p:cNvPr>
          <p:cNvSpPr>
            <a:spLocks noGrp="1"/>
          </p:cNvSpPr>
          <p:nvPr>
            <p:ph type="dt" idx="1"/>
          </p:nvPr>
        </p:nvSpPr>
        <p:spPr>
          <a:xfrm>
            <a:off x="3849688" y="0"/>
            <a:ext cx="2946400" cy="498475"/>
          </a:xfrm>
          <a:prstGeom prst="rect">
            <a:avLst/>
          </a:prstGeom>
        </p:spPr>
        <p:txBody>
          <a:bodyPr vert="horz" lIns="91440" tIns="45720" rIns="91440" bIns="45720" rtlCol="0"/>
          <a:lstStyle>
            <a:lvl1pPr algn="r">
              <a:defRPr sz="1200"/>
            </a:lvl1pPr>
          </a:lstStyle>
          <a:p>
            <a:fld id="{0D7AD7CF-D4F2-44C1-BC58-904412505C51}" type="datetimeFigureOut">
              <a:rPr lang="en-US" smtClean="0"/>
              <a:t>11/26/2025</a:t>
            </a:fld>
            <a:endParaRPr lang="en-US" dirty="0"/>
          </a:p>
        </p:txBody>
      </p:sp>
      <p:sp>
        <p:nvSpPr>
          <p:cNvPr id="4" name="Slide Image Placeholder 3">
            <a:extLst>
              <a:ext uri="{FF2B5EF4-FFF2-40B4-BE49-F238E27FC236}">
                <a16:creationId xmlns:a16="http://schemas.microsoft.com/office/drawing/2014/main" id="{BA2457C8-AF14-A0C3-9FE9-4E7F1D38255D}"/>
              </a:ext>
            </a:extLst>
          </p:cNvPr>
          <p:cNvSpPr>
            <a:spLocks noGrp="1" noRot="1" noChangeAspect="1"/>
          </p:cNvSpPr>
          <p:nvPr>
            <p:ph type="sldImg" idx="2"/>
          </p:nvPr>
        </p:nvSpPr>
        <p:spPr>
          <a:xfrm>
            <a:off x="979488" y="1241425"/>
            <a:ext cx="4838700"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a:extLst>
              <a:ext uri="{FF2B5EF4-FFF2-40B4-BE49-F238E27FC236}">
                <a16:creationId xmlns:a16="http://schemas.microsoft.com/office/drawing/2014/main" id="{47AF438A-29F3-0105-81C5-349597140702}"/>
              </a:ext>
            </a:extLst>
          </p:cNvPr>
          <p:cNvSpPr>
            <a:spLocks noGrp="1"/>
          </p:cNvSpPr>
          <p:nvPr>
            <p:ph type="body" sz="quarter" idx="3"/>
          </p:nvPr>
        </p:nvSpPr>
        <p:spPr>
          <a:xfrm>
            <a:off x="679450" y="4778375"/>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094122B0-FFC2-47FC-84A8-CBEFC2AEC114}"/>
              </a:ext>
            </a:extLst>
          </p:cNvPr>
          <p:cNvSpPr>
            <a:spLocks noGrp="1"/>
          </p:cNvSpPr>
          <p:nvPr>
            <p:ph type="ftr" sz="quarter" idx="4"/>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a:extLst>
              <a:ext uri="{FF2B5EF4-FFF2-40B4-BE49-F238E27FC236}">
                <a16:creationId xmlns:a16="http://schemas.microsoft.com/office/drawing/2014/main" id="{5F9EDAFB-0D03-6BCB-9550-0A774409D1EA}"/>
              </a:ext>
            </a:extLst>
          </p:cNvPr>
          <p:cNvSpPr>
            <a:spLocks noGrp="1"/>
          </p:cNvSpPr>
          <p:nvPr>
            <p:ph type="sldNum" sz="quarter" idx="5"/>
          </p:nvPr>
        </p:nvSpPr>
        <p:spPr>
          <a:xfrm>
            <a:off x="3849688" y="9429750"/>
            <a:ext cx="2946400" cy="498475"/>
          </a:xfrm>
          <a:prstGeom prst="rect">
            <a:avLst/>
          </a:prstGeom>
        </p:spPr>
        <p:txBody>
          <a:bodyPr vert="horz" lIns="91440" tIns="45720" rIns="91440" bIns="45720" rtlCol="0" anchor="b"/>
          <a:lstStyle>
            <a:lvl1pPr algn="r">
              <a:defRPr sz="1200"/>
            </a:lvl1pPr>
          </a:lstStyle>
          <a:p>
            <a:fld id="{EDF10393-5494-426C-B021-084917FEAA10}" type="slidenum">
              <a:rPr lang="en-US" smtClean="0"/>
              <a:t>‹#›</a:t>
            </a:fld>
            <a:endParaRPr lang="en-US" dirty="0"/>
          </a:p>
        </p:txBody>
      </p:sp>
    </p:spTree>
    <p:extLst>
      <p:ext uri="{BB962C8B-B14F-4D97-AF65-F5344CB8AC3E}">
        <p14:creationId xmlns:p14="http://schemas.microsoft.com/office/powerpoint/2010/main" val="38573802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087033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781C4-3037-62D9-EBE8-330E338323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65482C-E014-D2C9-0D1E-BBB048C10FC0}"/>
              </a:ext>
            </a:extLst>
          </p:cNvPr>
          <p:cNvSpPr>
            <a:spLocks noGrp="1" noRot="1" noChangeAspect="1"/>
          </p:cNvSpPr>
          <p:nvPr>
            <p:ph type="sldImg"/>
          </p:nvPr>
        </p:nvSpPr>
        <p:spPr/>
      </p:sp>
    </p:spTree>
    <p:extLst>
      <p:ext uri="{BB962C8B-B14F-4D97-AF65-F5344CB8AC3E}">
        <p14:creationId xmlns:p14="http://schemas.microsoft.com/office/powerpoint/2010/main" val="2597210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C001D-9616-4C3D-D1DD-4A3C83BBD2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7E2DFE-C0FE-0F23-FDEC-BB1B0530A9E6}"/>
              </a:ext>
            </a:extLst>
          </p:cNvPr>
          <p:cNvSpPr>
            <a:spLocks noGrp="1" noRot="1" noChangeAspect="1"/>
          </p:cNvSpPr>
          <p:nvPr>
            <p:ph type="sldImg"/>
          </p:nvPr>
        </p:nvSpPr>
        <p:spPr/>
      </p:sp>
    </p:spTree>
    <p:extLst>
      <p:ext uri="{BB962C8B-B14F-4D97-AF65-F5344CB8AC3E}">
        <p14:creationId xmlns:p14="http://schemas.microsoft.com/office/powerpoint/2010/main" val="4012884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C001D-9616-4C3D-D1DD-4A3C83BBD2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7E2DFE-C0FE-0F23-FDEC-BB1B0530A9E6}"/>
              </a:ext>
            </a:extLst>
          </p:cNvPr>
          <p:cNvSpPr>
            <a:spLocks noGrp="1" noRot="1" noChangeAspect="1"/>
          </p:cNvSpPr>
          <p:nvPr>
            <p:ph type="sldImg"/>
          </p:nvPr>
        </p:nvSpPr>
        <p:spPr/>
      </p:sp>
    </p:spTree>
    <p:extLst>
      <p:ext uri="{BB962C8B-B14F-4D97-AF65-F5344CB8AC3E}">
        <p14:creationId xmlns:p14="http://schemas.microsoft.com/office/powerpoint/2010/main" val="1958437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D42343-B7FF-CC28-D94E-E2DA9E08AD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5D2E37-BCC3-BDA9-37E6-D8BFB7AF5B7E}"/>
              </a:ext>
            </a:extLst>
          </p:cNvPr>
          <p:cNvSpPr>
            <a:spLocks noGrp="1" noRot="1" noChangeAspect="1"/>
          </p:cNvSpPr>
          <p:nvPr>
            <p:ph type="sldImg"/>
          </p:nvPr>
        </p:nvSpPr>
        <p:spPr/>
      </p:sp>
    </p:spTree>
    <p:extLst>
      <p:ext uri="{BB962C8B-B14F-4D97-AF65-F5344CB8AC3E}">
        <p14:creationId xmlns:p14="http://schemas.microsoft.com/office/powerpoint/2010/main" val="332903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C001D-9616-4C3D-D1DD-4A3C83BBD2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7E2DFE-C0FE-0F23-FDEC-BB1B0530A9E6}"/>
              </a:ext>
            </a:extLst>
          </p:cNvPr>
          <p:cNvSpPr>
            <a:spLocks noGrp="1" noRot="1" noChangeAspect="1"/>
          </p:cNvSpPr>
          <p:nvPr>
            <p:ph type="sldImg"/>
          </p:nvPr>
        </p:nvSpPr>
        <p:spPr/>
      </p:sp>
    </p:spTree>
    <p:extLst>
      <p:ext uri="{BB962C8B-B14F-4D97-AF65-F5344CB8AC3E}">
        <p14:creationId xmlns:p14="http://schemas.microsoft.com/office/powerpoint/2010/main" val="41581077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image" Target="../media/image21.png"/><Relationship Id="rId303" Type="http://schemas.openxmlformats.org/officeDocument/2006/relationships/image" Target="../media/image25.jpeg"/><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image" Target="../media/image11.png"/><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image" Target="../media/image36.png"/><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slideMaster" Target="../slideMasters/slideMaster1.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image" Target="../media/image12.png"/><Relationship Id="rId304" Type="http://schemas.openxmlformats.org/officeDocument/2006/relationships/image" Target="../media/image26.jpeg"/><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image" Target="../media/image2.jpeg"/><Relationship Id="rId315" Type="http://schemas.openxmlformats.org/officeDocument/2006/relationships/image" Target="../media/image37.png"/><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image" Target="../media/image13.png"/><Relationship Id="rId305" Type="http://schemas.openxmlformats.org/officeDocument/2006/relationships/image" Target="../media/image27.png"/><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image" Target="../media/image3.jpeg"/><Relationship Id="rId316" Type="http://schemas.openxmlformats.org/officeDocument/2006/relationships/image" Target="../media/image38.svg"/><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image" Target="../media/image14.png"/><Relationship Id="rId306" Type="http://schemas.openxmlformats.org/officeDocument/2006/relationships/image" Target="../media/image28.png"/><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19" Type="http://schemas.openxmlformats.org/officeDocument/2006/relationships/tags" Target="../tags/tag19.xml"/><Relationship Id="rId224" Type="http://schemas.openxmlformats.org/officeDocument/2006/relationships/tags" Target="../tags/tag224.xml"/><Relationship Id="rId240" Type="http://schemas.openxmlformats.org/officeDocument/2006/relationships/tags" Target="../tags/tag240.xml"/><Relationship Id="rId245" Type="http://schemas.openxmlformats.org/officeDocument/2006/relationships/tags" Target="../tags/tag245.xml"/><Relationship Id="rId261" Type="http://schemas.openxmlformats.org/officeDocument/2006/relationships/tags" Target="../tags/tag261.xml"/><Relationship Id="rId266" Type="http://schemas.openxmlformats.org/officeDocument/2006/relationships/tags" Target="../tags/tag266.xml"/><Relationship Id="rId287" Type="http://schemas.openxmlformats.org/officeDocument/2006/relationships/image" Target="../media/image9.png"/><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282" Type="http://schemas.openxmlformats.org/officeDocument/2006/relationships/image" Target="../media/image4.jpeg"/><Relationship Id="rId312" Type="http://schemas.openxmlformats.org/officeDocument/2006/relationships/image" Target="../media/image34.svg"/><Relationship Id="rId317" Type="http://schemas.openxmlformats.org/officeDocument/2006/relationships/image" Target="../media/image39.png"/><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189" Type="http://schemas.openxmlformats.org/officeDocument/2006/relationships/tags" Target="../tags/tag189.xml"/><Relationship Id="rId219" Type="http://schemas.openxmlformats.org/officeDocument/2006/relationships/tags" Target="../tags/tag219.xml"/><Relationship Id="rId3" Type="http://schemas.openxmlformats.org/officeDocument/2006/relationships/tags" Target="../tags/tag3.xml"/><Relationship Id="rId214" Type="http://schemas.openxmlformats.org/officeDocument/2006/relationships/tags" Target="../tags/tag214.xml"/><Relationship Id="rId230" Type="http://schemas.openxmlformats.org/officeDocument/2006/relationships/tags" Target="../tags/tag230.xml"/><Relationship Id="rId235" Type="http://schemas.openxmlformats.org/officeDocument/2006/relationships/tags" Target="../tags/tag235.xml"/><Relationship Id="rId251" Type="http://schemas.openxmlformats.org/officeDocument/2006/relationships/tags" Target="../tags/tag251.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image" Target="../media/image20.jpeg"/><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72" Type="http://schemas.openxmlformats.org/officeDocument/2006/relationships/tags" Target="../tags/tag272.xml"/><Relationship Id="rId293" Type="http://schemas.openxmlformats.org/officeDocument/2006/relationships/image" Target="../media/image15.svg"/><Relationship Id="rId302" Type="http://schemas.openxmlformats.org/officeDocument/2006/relationships/image" Target="../media/image24.emf"/><Relationship Id="rId307" Type="http://schemas.openxmlformats.org/officeDocument/2006/relationships/image" Target="../media/image29.jpeg"/><Relationship Id="rId323" Type="http://schemas.openxmlformats.org/officeDocument/2006/relationships/image" Target="../media/image45.png"/><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79" Type="http://schemas.openxmlformats.org/officeDocument/2006/relationships/tags" Target="../tags/tag179.xml"/><Relationship Id="rId195" Type="http://schemas.openxmlformats.org/officeDocument/2006/relationships/tags" Target="../tags/tag195.xml"/><Relationship Id="rId209" Type="http://schemas.openxmlformats.org/officeDocument/2006/relationships/tags" Target="../tags/tag209.xml"/><Relationship Id="rId190" Type="http://schemas.openxmlformats.org/officeDocument/2006/relationships/tags" Target="../tags/tag190.xml"/><Relationship Id="rId204" Type="http://schemas.openxmlformats.org/officeDocument/2006/relationships/tags" Target="../tags/tag204.xml"/><Relationship Id="rId220" Type="http://schemas.openxmlformats.org/officeDocument/2006/relationships/tags" Target="../tags/tag220.xml"/><Relationship Id="rId225" Type="http://schemas.openxmlformats.org/officeDocument/2006/relationships/tags" Target="../tags/tag225.xml"/><Relationship Id="rId241" Type="http://schemas.openxmlformats.org/officeDocument/2006/relationships/tags" Target="../tags/tag241.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image" Target="../media/image10.jpeg"/><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 Id="rId127" Type="http://schemas.openxmlformats.org/officeDocument/2006/relationships/tags" Target="../tags/tag127.xml"/><Relationship Id="rId262" Type="http://schemas.openxmlformats.org/officeDocument/2006/relationships/tags" Target="../tags/tag262.xml"/><Relationship Id="rId283" Type="http://schemas.openxmlformats.org/officeDocument/2006/relationships/image" Target="../media/image5.jpg"/><Relationship Id="rId313" Type="http://schemas.openxmlformats.org/officeDocument/2006/relationships/image" Target="../media/image35.png"/><Relationship Id="rId318" Type="http://schemas.openxmlformats.org/officeDocument/2006/relationships/image" Target="../media/image40.svg"/><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78" Type="http://schemas.openxmlformats.org/officeDocument/2006/relationships/tags" Target="../tags/tag78.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48" Type="http://schemas.openxmlformats.org/officeDocument/2006/relationships/tags" Target="../tags/tag148.xml"/><Relationship Id="rId164" Type="http://schemas.openxmlformats.org/officeDocument/2006/relationships/tags" Target="../tags/tag164.xml"/><Relationship Id="rId169" Type="http://schemas.openxmlformats.org/officeDocument/2006/relationships/tags" Target="../tags/tag169.xml"/><Relationship Id="rId185" Type="http://schemas.openxmlformats.org/officeDocument/2006/relationships/tags" Target="../tags/tag185.xml"/><Relationship Id="rId4" Type="http://schemas.openxmlformats.org/officeDocument/2006/relationships/tags" Target="../tags/tag4.xml"/><Relationship Id="rId9" Type="http://schemas.openxmlformats.org/officeDocument/2006/relationships/tags" Target="../tags/tag9.xml"/><Relationship Id="rId180" Type="http://schemas.openxmlformats.org/officeDocument/2006/relationships/tags" Target="../tags/tag180.xml"/><Relationship Id="rId210" Type="http://schemas.openxmlformats.org/officeDocument/2006/relationships/tags" Target="../tags/tag21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image" Target="../media/image16.png"/><Relationship Id="rId308" Type="http://schemas.openxmlformats.org/officeDocument/2006/relationships/image" Target="../media/image30.jpeg"/><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image" Target="../media/image6.jpg"/><Relationship Id="rId319" Type="http://schemas.openxmlformats.org/officeDocument/2006/relationships/image" Target="../media/image41.png"/><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image" Target="../media/image17.svg"/><Relationship Id="rId309" Type="http://schemas.openxmlformats.org/officeDocument/2006/relationships/image" Target="../media/image31.jpeg"/><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image" Target="../media/image42.svg"/><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image" Target="../media/image7.gif"/><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image" Target="../media/image32.jpeg"/><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image" Target="../media/image18.png"/><Relationship Id="rId300" Type="http://schemas.openxmlformats.org/officeDocument/2006/relationships/image" Target="../media/image22.svg"/><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image" Target="../media/image43.pn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image" Target="../media/image8.png"/><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image" Target="../media/image33.png"/><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image" Target="../media/image19.svg"/><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image" Target="../media/image23.emf"/><Relationship Id="rId322" Type="http://schemas.openxmlformats.org/officeDocument/2006/relationships/image" Target="../media/image44.png"/><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26" Type="http://schemas.openxmlformats.org/officeDocument/2006/relationships/image" Target="../media/image26.jpeg"/><Relationship Id="rId39" Type="http://schemas.openxmlformats.org/officeDocument/2006/relationships/image" Target="../media/image39.png"/><Relationship Id="rId3" Type="http://schemas.openxmlformats.org/officeDocument/2006/relationships/image" Target="../media/image3.jpeg"/><Relationship Id="rId21" Type="http://schemas.openxmlformats.org/officeDocument/2006/relationships/image" Target="../media/image21.png"/><Relationship Id="rId34" Type="http://schemas.openxmlformats.org/officeDocument/2006/relationships/image" Target="../media/image34.svg"/><Relationship Id="rId42" Type="http://schemas.openxmlformats.org/officeDocument/2006/relationships/image" Target="../media/image42.svg"/><Relationship Id="rId7" Type="http://schemas.openxmlformats.org/officeDocument/2006/relationships/image" Target="../media/image7.gif"/><Relationship Id="rId12" Type="http://schemas.openxmlformats.org/officeDocument/2006/relationships/image" Target="../media/image12.png"/><Relationship Id="rId17" Type="http://schemas.openxmlformats.org/officeDocument/2006/relationships/image" Target="../media/image17.svg"/><Relationship Id="rId25" Type="http://schemas.openxmlformats.org/officeDocument/2006/relationships/image" Target="../media/image25.jpeg"/><Relationship Id="rId33" Type="http://schemas.openxmlformats.org/officeDocument/2006/relationships/image" Target="../media/image33.png"/><Relationship Id="rId38" Type="http://schemas.openxmlformats.org/officeDocument/2006/relationships/image" Target="../media/image38.svg"/><Relationship Id="rId2" Type="http://schemas.openxmlformats.org/officeDocument/2006/relationships/image" Target="../media/image2.jpeg"/><Relationship Id="rId16" Type="http://schemas.openxmlformats.org/officeDocument/2006/relationships/image" Target="../media/image16.png"/><Relationship Id="rId20" Type="http://schemas.openxmlformats.org/officeDocument/2006/relationships/image" Target="../media/image20.jpeg"/><Relationship Id="rId29" Type="http://schemas.openxmlformats.org/officeDocument/2006/relationships/image" Target="../media/image29.jpeg"/><Relationship Id="rId41" Type="http://schemas.openxmlformats.org/officeDocument/2006/relationships/image" Target="../media/image41.png"/><Relationship Id="rId1" Type="http://schemas.openxmlformats.org/officeDocument/2006/relationships/slideMaster" Target="../slideMasters/slideMaster1.xml"/><Relationship Id="rId6" Type="http://schemas.openxmlformats.org/officeDocument/2006/relationships/image" Target="../media/image6.jpg"/><Relationship Id="rId11" Type="http://schemas.openxmlformats.org/officeDocument/2006/relationships/image" Target="../media/image11.png"/><Relationship Id="rId24" Type="http://schemas.openxmlformats.org/officeDocument/2006/relationships/image" Target="../media/image24.emf"/><Relationship Id="rId32" Type="http://schemas.openxmlformats.org/officeDocument/2006/relationships/image" Target="../media/image32.jpeg"/><Relationship Id="rId37" Type="http://schemas.openxmlformats.org/officeDocument/2006/relationships/image" Target="../media/image37.png"/><Relationship Id="rId40" Type="http://schemas.openxmlformats.org/officeDocument/2006/relationships/image" Target="../media/image40.svg"/><Relationship Id="rId5" Type="http://schemas.openxmlformats.org/officeDocument/2006/relationships/image" Target="../media/image5.jpg"/><Relationship Id="rId15" Type="http://schemas.openxmlformats.org/officeDocument/2006/relationships/image" Target="../media/image15.svg"/><Relationship Id="rId23" Type="http://schemas.openxmlformats.org/officeDocument/2006/relationships/image" Target="../media/image23.emf"/><Relationship Id="rId28" Type="http://schemas.openxmlformats.org/officeDocument/2006/relationships/image" Target="../media/image28.png"/><Relationship Id="rId36" Type="http://schemas.openxmlformats.org/officeDocument/2006/relationships/image" Target="../media/image36.png"/><Relationship Id="rId10" Type="http://schemas.openxmlformats.org/officeDocument/2006/relationships/image" Target="../media/image10.jpeg"/><Relationship Id="rId19" Type="http://schemas.openxmlformats.org/officeDocument/2006/relationships/image" Target="../media/image19.svg"/><Relationship Id="rId31" Type="http://schemas.openxmlformats.org/officeDocument/2006/relationships/image" Target="../media/image31.jpeg"/><Relationship Id="rId4" Type="http://schemas.openxmlformats.org/officeDocument/2006/relationships/image" Target="../media/image4.jpeg"/><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svg"/><Relationship Id="rId27" Type="http://schemas.openxmlformats.org/officeDocument/2006/relationships/image" Target="../media/image27.png"/><Relationship Id="rId30" Type="http://schemas.openxmlformats.org/officeDocument/2006/relationships/image" Target="../media/image30.jpeg"/><Relationship Id="rId35" Type="http://schemas.openxmlformats.org/officeDocument/2006/relationships/image" Target="../media/image3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7044142" cy="336550"/>
          </a:xfrm>
        </p:spPr>
        <p:txBody>
          <a:bodyPr vert="horz" lIns="72000" tIns="36000" rIns="72000" bIns="36000" rtlCol="0" anchor="t">
            <a:noAutofit/>
          </a:bodyPr>
          <a:lstStyle>
            <a:lvl1pPr>
              <a:defRPr lang="nl-NL" sz="1600" b="0" i="0" dirty="0">
                <a:solidFill>
                  <a:srgbClr val="AB5905"/>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540000" y="461650"/>
            <a:ext cx="8640000" cy="363850"/>
          </a:xfrm>
          <a:prstGeom prst="rect">
            <a:avLst/>
          </a:prstGeom>
        </p:spPr>
        <p:txBody>
          <a:bodyPr vert="horz" lIns="72000" tIns="36000" rIns="72000" bIns="36000" rtlCol="0" anchor="t">
            <a:noAutofit/>
          </a:bodyPr>
          <a:lstStyle>
            <a:lvl1pPr>
              <a:defRPr lang="nl-NL" sz="1400" b="0" i="0" dirty="0">
                <a:solidFill>
                  <a:srgbClr val="AB5905"/>
                </a:solidFill>
                <a:latin typeface="+mj-lt"/>
              </a:defRPr>
            </a:lvl1pPr>
          </a:lstStyle>
          <a:p>
            <a:pPr lvl="0">
              <a:spcBef>
                <a:spcPct val="0"/>
              </a:spcBef>
            </a:pPr>
            <a:r>
              <a:rPr lang="en-US"/>
              <a:t>Click to edit Description</a:t>
            </a:r>
          </a:p>
        </p:txBody>
      </p:sp>
      <p:sp>
        <p:nvSpPr>
          <p:cNvPr id="4" name="Content Placeholder 3"/>
          <p:cNvSpPr>
            <a:spLocks noGrp="1"/>
          </p:cNvSpPr>
          <p:nvPr>
            <p:ph sz="quarter" idx="17"/>
          </p:nvPr>
        </p:nvSpPr>
        <p:spPr>
          <a:xfrm>
            <a:off x="540000" y="1080000"/>
            <a:ext cx="9000000" cy="4320000"/>
          </a:xfrm>
        </p:spPr>
        <p:txBody>
          <a:bodyPr/>
          <a:lstStyle>
            <a:lvl1pPr>
              <a:defRPr b="0" i="0">
                <a:solidFill>
                  <a:srgbClr val="AB5905"/>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a:t>Edit Master text styles</a:t>
            </a:r>
          </a:p>
          <a:p>
            <a:pPr lvl="1"/>
            <a:r>
              <a:rPr lang="en-US"/>
              <a:t>[Add text]</a:t>
            </a:r>
          </a:p>
          <a:p>
            <a:pPr lvl="2"/>
            <a:r>
              <a:rPr lang="en-US"/>
              <a:t>[Add text]</a:t>
            </a:r>
          </a:p>
          <a:p>
            <a:pPr lvl="3"/>
            <a:r>
              <a:rPr lang="en-US"/>
              <a:t>[Add text]</a:t>
            </a:r>
            <a:endParaRPr lang="nl-NL"/>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Tree>
    <p:extLst>
      <p:ext uri="{BB962C8B-B14F-4D97-AF65-F5344CB8AC3E}">
        <p14:creationId xmlns:p14="http://schemas.microsoft.com/office/powerpoint/2010/main" val="41902860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622505" y="3930577"/>
            <a:ext cx="5275615" cy="792162"/>
          </a:xfrm>
          <a:prstGeom prst="rect">
            <a:avLst/>
          </a:prstGeom>
        </p:spPr>
        <p:txBody>
          <a:bodyPr>
            <a:normAutofit/>
          </a:bodyPr>
          <a:lstStyle>
            <a:lvl1pPr marL="0" indent="0">
              <a:buNone/>
              <a:defRPr lang="en-US" sz="1463" b="0" i="0" baseline="0" dirty="0">
                <a:solidFill>
                  <a:schemeClr val="tx1"/>
                </a:solidFill>
                <a:latin typeface="+mn-lt"/>
                <a:ea typeface="Arial Unicode MS" panose="020B0604020202020204" pitchFamily="34" charset="-128"/>
                <a:cs typeface="Arial" panose="020B0604020202020204" pitchFamily="34" charset="0"/>
              </a:defRPr>
            </a:lvl1pPr>
          </a:lstStyle>
          <a:p>
            <a:pPr lvl="0"/>
            <a:r>
              <a:rPr lang="en-GB" noProof="0"/>
              <a:t>Date, Place</a:t>
            </a:r>
          </a:p>
        </p:txBody>
      </p:sp>
      <p:sp>
        <p:nvSpPr>
          <p:cNvPr id="15" name="Text Placeholder 15"/>
          <p:cNvSpPr>
            <a:spLocks noGrp="1"/>
          </p:cNvSpPr>
          <p:nvPr>
            <p:ph type="body" sz="quarter" idx="12" hasCustomPrompt="1"/>
          </p:nvPr>
        </p:nvSpPr>
        <p:spPr>
          <a:xfrm>
            <a:off x="623854" y="2810236"/>
            <a:ext cx="5713598" cy="792162"/>
          </a:xfrm>
          <a:prstGeom prst="rect">
            <a:avLst/>
          </a:prstGeom>
        </p:spPr>
        <p:txBody>
          <a:bodyPr anchor="ctr" anchorCtr="0">
            <a:noAutofit/>
          </a:bodyPr>
          <a:lstStyle>
            <a:lvl1pPr marL="0" indent="0">
              <a:buNone/>
              <a:defRPr lang="en-US" sz="1950" b="1" i="0" baseline="0" dirty="0">
                <a:solidFill>
                  <a:schemeClr val="tx1"/>
                </a:solidFill>
                <a:latin typeface="+mn-lt"/>
                <a:ea typeface="Arial Unicode MS" panose="020B0604020202020204" pitchFamily="34" charset="-128"/>
                <a:cs typeface="Arial" panose="020B0604020202020204" pitchFamily="34" charset="0"/>
              </a:defRPr>
            </a:lvl1pPr>
          </a:lstStyle>
          <a:p>
            <a:pPr lvl="0"/>
            <a:r>
              <a:rPr lang="en-GB" noProof="0"/>
              <a:t>Name of the meeting</a:t>
            </a:r>
          </a:p>
        </p:txBody>
      </p:sp>
      <p:grpSp>
        <p:nvGrpSpPr>
          <p:cNvPr id="3" name="Graphic 3">
            <a:extLst>
              <a:ext uri="{FF2B5EF4-FFF2-40B4-BE49-F238E27FC236}">
                <a16:creationId xmlns:a16="http://schemas.microsoft.com/office/drawing/2014/main" id="{395BC908-9133-8E3E-0979-4E0001ACF0A4}"/>
              </a:ext>
            </a:extLst>
          </p:cNvPr>
          <p:cNvGrpSpPr>
            <a:grpSpLocks/>
          </p:cNvGrpSpPr>
          <p:nvPr userDrawn="1"/>
        </p:nvGrpSpPr>
        <p:grpSpPr>
          <a:xfrm>
            <a:off x="5824664" y="2320740"/>
            <a:ext cx="4533750" cy="4460400"/>
            <a:chOff x="66025" y="-34306"/>
            <a:chExt cx="6381750" cy="5895975"/>
          </a:xfrm>
          <a:solidFill>
            <a:srgbClr val="AB5905"/>
          </a:solidFill>
          <a:scene3d>
            <a:camera prst="perspectiveRight">
              <a:rot lat="0" lon="19500000" rev="0"/>
            </a:camera>
            <a:lightRig rig="threePt" dir="t"/>
          </a:scene3d>
        </p:grpSpPr>
        <p:sp>
          <p:nvSpPr>
            <p:cNvPr id="4" name="Freeform: Shape 259">
              <a:extLst>
                <a:ext uri="{FF2B5EF4-FFF2-40B4-BE49-F238E27FC236}">
                  <a16:creationId xmlns:a16="http://schemas.microsoft.com/office/drawing/2014/main" id="{253A250C-F303-9766-0C93-8F7A11564A95}"/>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5" name="Freeform: Shape 260">
              <a:extLst>
                <a:ext uri="{FF2B5EF4-FFF2-40B4-BE49-F238E27FC236}">
                  <a16:creationId xmlns:a16="http://schemas.microsoft.com/office/drawing/2014/main" id="{29784977-5477-A21C-A93A-E98A15A85FCF}"/>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6" name="Freeform: Shape 261">
              <a:extLst>
                <a:ext uri="{FF2B5EF4-FFF2-40B4-BE49-F238E27FC236}">
                  <a16:creationId xmlns:a16="http://schemas.microsoft.com/office/drawing/2014/main" id="{B79D4D2C-9222-4B0D-2A0B-625F72426B7D}"/>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 name="Freeform: Shape 262">
              <a:extLst>
                <a:ext uri="{FF2B5EF4-FFF2-40B4-BE49-F238E27FC236}">
                  <a16:creationId xmlns:a16="http://schemas.microsoft.com/office/drawing/2014/main" id="{9F9287C1-5735-537D-4E27-45F8D1AEC449}"/>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 name="Freeform: Shape 263">
              <a:extLst>
                <a:ext uri="{FF2B5EF4-FFF2-40B4-BE49-F238E27FC236}">
                  <a16:creationId xmlns:a16="http://schemas.microsoft.com/office/drawing/2014/main" id="{6A2F3108-9A51-F5DC-E816-54FE09C4562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9" name="Freeform: Shape 264">
              <a:extLst>
                <a:ext uri="{FF2B5EF4-FFF2-40B4-BE49-F238E27FC236}">
                  <a16:creationId xmlns:a16="http://schemas.microsoft.com/office/drawing/2014/main" id="{59E82096-569A-5B03-7E91-81ED1D54A12A}"/>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9DBDC"/>
            </a:solidFill>
            <a:ln w="18900" cap="flat">
              <a:solidFill>
                <a:srgbClr val="FFFFFF"/>
              </a:solidFill>
              <a:prstDash val="solid"/>
              <a:miter/>
            </a:ln>
          </p:spPr>
          <p:txBody>
            <a:bodyPr rtlCol="0" anchor="ctr"/>
            <a:lstStyle/>
            <a:p>
              <a:pPr lvl="0"/>
              <a:endParaRPr lang="x-none">
                <a:latin typeface="Arial" panose="020B0604020202020204" pitchFamily="34" charset="0"/>
                <a:cs typeface="Arial" panose="020B0604020202020204" pitchFamily="34" charset="0"/>
              </a:endParaRPr>
            </a:p>
          </p:txBody>
        </p:sp>
        <p:sp>
          <p:nvSpPr>
            <p:cNvPr id="10" name="Freeform: Shape 265">
              <a:extLst>
                <a:ext uri="{FF2B5EF4-FFF2-40B4-BE49-F238E27FC236}">
                  <a16:creationId xmlns:a16="http://schemas.microsoft.com/office/drawing/2014/main" id="{60AE756D-35AE-309F-B95D-CF4E06E4A140}"/>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9DBDC"/>
            </a:solidFill>
            <a:ln w="18900" cap="flat">
              <a:solidFill>
                <a:srgbClr val="FFFFFF"/>
              </a:solidFill>
              <a:prstDash val="solid"/>
              <a:miter/>
            </a:ln>
          </p:spPr>
          <p:txBody>
            <a:bodyPr rtlCol="0" anchor="ctr"/>
            <a:lstStyle/>
            <a:p>
              <a:pPr lvl="0"/>
              <a:endParaRPr lang="x-none">
                <a:latin typeface="Arial" panose="020B0604020202020204" pitchFamily="34" charset="0"/>
                <a:cs typeface="Arial" panose="020B0604020202020204" pitchFamily="34" charset="0"/>
              </a:endParaRPr>
            </a:p>
          </p:txBody>
        </p:sp>
        <p:sp>
          <p:nvSpPr>
            <p:cNvPr id="11" name="Freeform: Shape 266">
              <a:extLst>
                <a:ext uri="{FF2B5EF4-FFF2-40B4-BE49-F238E27FC236}">
                  <a16:creationId xmlns:a16="http://schemas.microsoft.com/office/drawing/2014/main" id="{AED34D53-E747-4018-6BFA-F8302619224C}"/>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9DBDC"/>
            </a:solidFill>
            <a:ln w="18900" cap="flat">
              <a:solidFill>
                <a:srgbClr val="FFFFFF"/>
              </a:solidFill>
              <a:prstDash val="solid"/>
              <a:miter/>
            </a:ln>
          </p:spPr>
          <p:txBody>
            <a:bodyPr rtlCol="0" anchor="ctr"/>
            <a:lstStyle/>
            <a:p>
              <a:pPr lvl="0"/>
              <a:endParaRPr lang="x-none">
                <a:latin typeface="Arial" panose="020B0604020202020204" pitchFamily="34" charset="0"/>
                <a:cs typeface="Arial" panose="020B0604020202020204" pitchFamily="34" charset="0"/>
              </a:endParaRPr>
            </a:p>
          </p:txBody>
        </p:sp>
        <p:sp>
          <p:nvSpPr>
            <p:cNvPr id="12" name="Freeform: Shape 267">
              <a:extLst>
                <a:ext uri="{FF2B5EF4-FFF2-40B4-BE49-F238E27FC236}">
                  <a16:creationId xmlns:a16="http://schemas.microsoft.com/office/drawing/2014/main" id="{DB7DDAEE-19DD-A9AC-FBC7-9643A71E91E4}"/>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3" name="Freeform: Shape 268">
              <a:extLst>
                <a:ext uri="{FF2B5EF4-FFF2-40B4-BE49-F238E27FC236}">
                  <a16:creationId xmlns:a16="http://schemas.microsoft.com/office/drawing/2014/main" id="{D19102E3-4235-F6A4-44B0-B5480794D934}"/>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4" name="Freeform: Shape 269">
              <a:extLst>
                <a:ext uri="{FF2B5EF4-FFF2-40B4-BE49-F238E27FC236}">
                  <a16:creationId xmlns:a16="http://schemas.microsoft.com/office/drawing/2014/main" id="{88C39AC1-D22C-A193-37A3-FEDBCCA6820D}"/>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7" name="Freeform: Shape 270">
              <a:extLst>
                <a:ext uri="{FF2B5EF4-FFF2-40B4-BE49-F238E27FC236}">
                  <a16:creationId xmlns:a16="http://schemas.microsoft.com/office/drawing/2014/main" id="{E2C83786-671C-8777-73E9-F353A5D6D3AE}"/>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8" name="Freeform: Shape 271">
              <a:extLst>
                <a:ext uri="{FF2B5EF4-FFF2-40B4-BE49-F238E27FC236}">
                  <a16:creationId xmlns:a16="http://schemas.microsoft.com/office/drawing/2014/main" id="{4411F7B7-F434-BE7C-C8CC-7A680A52F0CB}"/>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9" name="Freeform: Shape 272">
              <a:extLst>
                <a:ext uri="{FF2B5EF4-FFF2-40B4-BE49-F238E27FC236}">
                  <a16:creationId xmlns:a16="http://schemas.microsoft.com/office/drawing/2014/main" id="{CC471ACF-B91B-F1DA-6EBB-AB51A15136A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0" name="Freeform: Shape 273">
              <a:extLst>
                <a:ext uri="{FF2B5EF4-FFF2-40B4-BE49-F238E27FC236}">
                  <a16:creationId xmlns:a16="http://schemas.microsoft.com/office/drawing/2014/main" id="{90E6B3FA-1B8B-8B40-FFCB-3E3B50C3E50D}"/>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1" name="Freeform: Shape 274">
              <a:extLst>
                <a:ext uri="{FF2B5EF4-FFF2-40B4-BE49-F238E27FC236}">
                  <a16:creationId xmlns:a16="http://schemas.microsoft.com/office/drawing/2014/main" id="{53EEB15E-5FF0-144A-9552-DED3A95B8E50}"/>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2" name="Freeform: Shape 275">
              <a:extLst>
                <a:ext uri="{FF2B5EF4-FFF2-40B4-BE49-F238E27FC236}">
                  <a16:creationId xmlns:a16="http://schemas.microsoft.com/office/drawing/2014/main" id="{B8A2C3DE-113C-8AA2-EA8A-312650B6756E}"/>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3" name="Freeform: Shape 276">
              <a:extLst>
                <a:ext uri="{FF2B5EF4-FFF2-40B4-BE49-F238E27FC236}">
                  <a16:creationId xmlns:a16="http://schemas.microsoft.com/office/drawing/2014/main" id="{24303209-A900-261F-634C-6DA6FA3B9354}"/>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4" name="Freeform: Shape 277">
              <a:extLst>
                <a:ext uri="{FF2B5EF4-FFF2-40B4-BE49-F238E27FC236}">
                  <a16:creationId xmlns:a16="http://schemas.microsoft.com/office/drawing/2014/main" id="{91D38F99-D3DD-3AC4-63D6-68A138A543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5" name="Freeform: Shape 278">
              <a:extLst>
                <a:ext uri="{FF2B5EF4-FFF2-40B4-BE49-F238E27FC236}">
                  <a16:creationId xmlns:a16="http://schemas.microsoft.com/office/drawing/2014/main" id="{240243DA-9B82-2470-0919-8384CB0E22A0}"/>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6" name="Freeform: Shape 279">
              <a:extLst>
                <a:ext uri="{FF2B5EF4-FFF2-40B4-BE49-F238E27FC236}">
                  <a16:creationId xmlns:a16="http://schemas.microsoft.com/office/drawing/2014/main" id="{8072B55C-481F-1DE2-E797-48956E4C0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7" name="Freeform: Shape 280">
              <a:extLst>
                <a:ext uri="{FF2B5EF4-FFF2-40B4-BE49-F238E27FC236}">
                  <a16:creationId xmlns:a16="http://schemas.microsoft.com/office/drawing/2014/main" id="{862B4534-AEAE-1345-0C3E-C99052928813}"/>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8" name="Freeform: Shape 281">
              <a:extLst>
                <a:ext uri="{FF2B5EF4-FFF2-40B4-BE49-F238E27FC236}">
                  <a16:creationId xmlns:a16="http://schemas.microsoft.com/office/drawing/2014/main" id="{E7014A14-1770-E297-7794-B3E2DB9980D4}"/>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9" name="Freeform: Shape 282">
              <a:extLst>
                <a:ext uri="{FF2B5EF4-FFF2-40B4-BE49-F238E27FC236}">
                  <a16:creationId xmlns:a16="http://schemas.microsoft.com/office/drawing/2014/main" id="{8B883766-CE12-1E50-A3C2-D503C2195E2C}"/>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0" name="Freeform: Shape 283">
              <a:extLst>
                <a:ext uri="{FF2B5EF4-FFF2-40B4-BE49-F238E27FC236}">
                  <a16:creationId xmlns:a16="http://schemas.microsoft.com/office/drawing/2014/main" id="{1F0EECE6-60D4-6036-C93C-E19F08D2D0DC}"/>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1" name="Freeform: Shape 284">
              <a:extLst>
                <a:ext uri="{FF2B5EF4-FFF2-40B4-BE49-F238E27FC236}">
                  <a16:creationId xmlns:a16="http://schemas.microsoft.com/office/drawing/2014/main" id="{7761E656-C660-D9F0-72CD-21EA907FF19B}"/>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2" name="Freeform: Shape 285">
              <a:extLst>
                <a:ext uri="{FF2B5EF4-FFF2-40B4-BE49-F238E27FC236}">
                  <a16:creationId xmlns:a16="http://schemas.microsoft.com/office/drawing/2014/main" id="{671D78EB-A8CD-81F3-6B11-6490DFD8DC3D}"/>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3" name="Freeform: Shape 286">
              <a:extLst>
                <a:ext uri="{FF2B5EF4-FFF2-40B4-BE49-F238E27FC236}">
                  <a16:creationId xmlns:a16="http://schemas.microsoft.com/office/drawing/2014/main" id="{7D3EC13D-C1EA-A070-5AB9-D647B4985DD7}"/>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4" name="Freeform: Shape 287">
              <a:extLst>
                <a:ext uri="{FF2B5EF4-FFF2-40B4-BE49-F238E27FC236}">
                  <a16:creationId xmlns:a16="http://schemas.microsoft.com/office/drawing/2014/main" id="{D8D54D46-84B5-1A2F-8DC8-532D38AC73BA}"/>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5" name="Freeform: Shape 288">
              <a:extLst>
                <a:ext uri="{FF2B5EF4-FFF2-40B4-BE49-F238E27FC236}">
                  <a16:creationId xmlns:a16="http://schemas.microsoft.com/office/drawing/2014/main" id="{FACDB246-C564-C1DF-FB6A-F2B9BA6FE274}"/>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6" name="Freeform: Shape 289">
              <a:extLst>
                <a:ext uri="{FF2B5EF4-FFF2-40B4-BE49-F238E27FC236}">
                  <a16:creationId xmlns:a16="http://schemas.microsoft.com/office/drawing/2014/main" id="{E2E0667A-2CD7-B007-F8CF-73C7C63AD858}"/>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7" name="Freeform: Shape 290">
              <a:extLst>
                <a:ext uri="{FF2B5EF4-FFF2-40B4-BE49-F238E27FC236}">
                  <a16:creationId xmlns:a16="http://schemas.microsoft.com/office/drawing/2014/main" id="{0C501FDD-9D5C-27DC-642B-7C8053FA4820}"/>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1" name="Freeform: Shape 291">
              <a:extLst>
                <a:ext uri="{FF2B5EF4-FFF2-40B4-BE49-F238E27FC236}">
                  <a16:creationId xmlns:a16="http://schemas.microsoft.com/office/drawing/2014/main" id="{5A0C4280-60D5-B18B-9A29-3D5567684BA2}"/>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2" name="Freeform: Shape 292">
              <a:extLst>
                <a:ext uri="{FF2B5EF4-FFF2-40B4-BE49-F238E27FC236}">
                  <a16:creationId xmlns:a16="http://schemas.microsoft.com/office/drawing/2014/main" id="{AD5BCE0D-3023-521B-0EE0-AC336C844BE0}"/>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3" name="Freeform: Shape 293">
              <a:extLst>
                <a:ext uri="{FF2B5EF4-FFF2-40B4-BE49-F238E27FC236}">
                  <a16:creationId xmlns:a16="http://schemas.microsoft.com/office/drawing/2014/main" id="{6D5605D6-1818-6457-A786-926679DF8817}"/>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4" name="Freeform: Shape 294">
              <a:extLst>
                <a:ext uri="{FF2B5EF4-FFF2-40B4-BE49-F238E27FC236}">
                  <a16:creationId xmlns:a16="http://schemas.microsoft.com/office/drawing/2014/main" id="{DAFE3D97-A82B-608A-A612-90F38072EE7E}"/>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5" name="Freeform: Shape 295">
              <a:extLst>
                <a:ext uri="{FF2B5EF4-FFF2-40B4-BE49-F238E27FC236}">
                  <a16:creationId xmlns:a16="http://schemas.microsoft.com/office/drawing/2014/main" id="{0115614B-1FB3-CBC2-6874-0AEA3838ACC8}"/>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6" name="Freeform: Shape 296">
              <a:extLst>
                <a:ext uri="{FF2B5EF4-FFF2-40B4-BE49-F238E27FC236}">
                  <a16:creationId xmlns:a16="http://schemas.microsoft.com/office/drawing/2014/main" id="{BB3C1F0F-D396-4255-88E7-1B3AA5E31209}"/>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7" name="Freeform: Shape 297">
              <a:extLst>
                <a:ext uri="{FF2B5EF4-FFF2-40B4-BE49-F238E27FC236}">
                  <a16:creationId xmlns:a16="http://schemas.microsoft.com/office/drawing/2014/main" id="{062D2D26-0EBC-1AFB-5130-1DC4504F49C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9DBDC"/>
            </a:solidFill>
            <a:ln w="18900" cap="flat">
              <a:solidFill>
                <a:srgbClr val="FFFFFF"/>
              </a:solidFill>
              <a:prstDash val="solid"/>
              <a:miter/>
            </a:ln>
          </p:spPr>
          <p:txBody>
            <a:bodyPr rtlCol="0" anchor="ctr"/>
            <a:lstStyle/>
            <a:p>
              <a:pPr lvl="0"/>
              <a:endParaRPr lang="x-none">
                <a:latin typeface="Arial" panose="020B0604020202020204" pitchFamily="34" charset="0"/>
                <a:cs typeface="Arial" panose="020B0604020202020204" pitchFamily="34" charset="0"/>
              </a:endParaRPr>
            </a:p>
          </p:txBody>
        </p:sp>
        <p:sp>
          <p:nvSpPr>
            <p:cNvPr id="78" name="Freeform: Shape 298">
              <a:extLst>
                <a:ext uri="{FF2B5EF4-FFF2-40B4-BE49-F238E27FC236}">
                  <a16:creationId xmlns:a16="http://schemas.microsoft.com/office/drawing/2014/main" id="{5ACC8A7A-8175-656A-068B-7A9110D6C806}"/>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9" name="Freeform: Shape 299">
              <a:extLst>
                <a:ext uri="{FF2B5EF4-FFF2-40B4-BE49-F238E27FC236}">
                  <a16:creationId xmlns:a16="http://schemas.microsoft.com/office/drawing/2014/main" id="{0EE75964-C91F-621D-DB7E-401BD11B4BFB}"/>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0" name="Freeform: Shape 300">
              <a:extLst>
                <a:ext uri="{FF2B5EF4-FFF2-40B4-BE49-F238E27FC236}">
                  <a16:creationId xmlns:a16="http://schemas.microsoft.com/office/drawing/2014/main" id="{2FC129D8-B2D5-EF85-F143-6096B313122C}"/>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1" name="Freeform: Shape 301">
              <a:extLst>
                <a:ext uri="{FF2B5EF4-FFF2-40B4-BE49-F238E27FC236}">
                  <a16:creationId xmlns:a16="http://schemas.microsoft.com/office/drawing/2014/main" id="{5366F926-F1F0-E685-528A-2C1418B1697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2" name="Freeform: Shape 302">
              <a:extLst>
                <a:ext uri="{FF2B5EF4-FFF2-40B4-BE49-F238E27FC236}">
                  <a16:creationId xmlns:a16="http://schemas.microsoft.com/office/drawing/2014/main" id="{1623ECF0-B90E-5291-9DB8-933B3936A8AA}"/>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chemeClr val="tx2"/>
            </a:solidFill>
            <a:ln w="18900" cap="flat">
              <a:solidFill>
                <a:srgbClr val="FFFFFF"/>
              </a:solidFill>
              <a:prstDash val="solid"/>
              <a:miter/>
            </a:ln>
          </p:spPr>
          <p:txBody>
            <a:bodyPr rtlCol="0" anchor="ctr"/>
            <a:lstStyle/>
            <a:p>
              <a:endParaRPr lang="x-none">
                <a:solidFill>
                  <a:schemeClr val="tx2"/>
                </a:solidFill>
                <a:latin typeface="Arial" panose="020B0604020202020204" pitchFamily="34" charset="0"/>
                <a:cs typeface="Arial" panose="020B0604020202020204" pitchFamily="34" charset="0"/>
              </a:endParaRPr>
            </a:p>
          </p:txBody>
        </p:sp>
        <p:sp>
          <p:nvSpPr>
            <p:cNvPr id="83" name="Freeform: Shape 303">
              <a:extLst>
                <a:ext uri="{FF2B5EF4-FFF2-40B4-BE49-F238E27FC236}">
                  <a16:creationId xmlns:a16="http://schemas.microsoft.com/office/drawing/2014/main" id="{242B67F2-7FC7-AE3E-133C-A3839BD6FF58}"/>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4" name="Freeform: Shape 304">
              <a:extLst>
                <a:ext uri="{FF2B5EF4-FFF2-40B4-BE49-F238E27FC236}">
                  <a16:creationId xmlns:a16="http://schemas.microsoft.com/office/drawing/2014/main" id="{43B4E45B-58DC-D431-E697-EFFA03D2DE64}"/>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5" name="Freeform: Shape 305">
              <a:extLst>
                <a:ext uri="{FF2B5EF4-FFF2-40B4-BE49-F238E27FC236}">
                  <a16:creationId xmlns:a16="http://schemas.microsoft.com/office/drawing/2014/main" id="{D564952F-02E1-5CE9-4303-2E9B8EB87213}"/>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9DBDC"/>
            </a:solidFill>
            <a:ln w="18900" cap="flat">
              <a:solidFill>
                <a:srgbClr val="FFFFFF"/>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x-none">
                <a:latin typeface="Arial" panose="020B0604020202020204" pitchFamily="34" charset="0"/>
                <a:cs typeface="Arial" panose="020B0604020202020204" pitchFamily="34" charset="0"/>
              </a:endParaRPr>
            </a:p>
          </p:txBody>
        </p:sp>
        <p:sp>
          <p:nvSpPr>
            <p:cNvPr id="86" name="Freeform: Shape 306">
              <a:extLst>
                <a:ext uri="{FF2B5EF4-FFF2-40B4-BE49-F238E27FC236}">
                  <a16:creationId xmlns:a16="http://schemas.microsoft.com/office/drawing/2014/main" id="{1F2A739E-66BC-8E25-7D90-466161A90D7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7" name="Freeform: Shape 307">
              <a:extLst>
                <a:ext uri="{FF2B5EF4-FFF2-40B4-BE49-F238E27FC236}">
                  <a16:creationId xmlns:a16="http://schemas.microsoft.com/office/drawing/2014/main" id="{591A36BB-E8BD-7F15-7924-A1D06ECB27F3}"/>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8" name="Freeform: Shape 308">
              <a:extLst>
                <a:ext uri="{FF2B5EF4-FFF2-40B4-BE49-F238E27FC236}">
                  <a16:creationId xmlns:a16="http://schemas.microsoft.com/office/drawing/2014/main" id="{0A4B6089-033E-46F5-ED0F-935682E5627E}"/>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9DBDC"/>
            </a:solidFill>
            <a:ln w="18900" cap="flat">
              <a:solidFill>
                <a:srgbClr val="FFFFFF"/>
              </a:solidFill>
              <a:prstDash val="solid"/>
              <a:miter/>
            </a:ln>
          </p:spPr>
          <p:txBody>
            <a:bodyPr rtlCol="0" anchor="ctr"/>
            <a:lstStyle/>
            <a:p>
              <a:pPr lvl="0"/>
              <a:endParaRPr lang="x-none">
                <a:latin typeface="Arial" panose="020B0604020202020204" pitchFamily="34" charset="0"/>
                <a:cs typeface="Arial" panose="020B0604020202020204" pitchFamily="34" charset="0"/>
              </a:endParaRPr>
            </a:p>
          </p:txBody>
        </p:sp>
        <p:sp>
          <p:nvSpPr>
            <p:cNvPr id="89" name="Freeform: Shape 309">
              <a:extLst>
                <a:ext uri="{FF2B5EF4-FFF2-40B4-BE49-F238E27FC236}">
                  <a16:creationId xmlns:a16="http://schemas.microsoft.com/office/drawing/2014/main" id="{23A91E6A-1761-186B-AC61-29C0CB011B6B}"/>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9DBDC"/>
            </a:solidFill>
            <a:ln w="18900" cap="flat">
              <a:solidFill>
                <a:srgbClr val="FFFFFF"/>
              </a:solidFill>
              <a:prstDash val="solid"/>
              <a:miter/>
            </a:ln>
          </p:spPr>
          <p:txBody>
            <a:bodyPr rtlCol="0" anchor="ctr"/>
            <a:lstStyle/>
            <a:p>
              <a:pPr lvl="0"/>
              <a:endParaRPr lang="x-none">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449221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dirty="0"/>
          </a:p>
        </p:txBody>
      </p:sp>
      <p:sp>
        <p:nvSpPr>
          <p:cNvPr id="22" name="Text Placeholder 15"/>
          <p:cNvSpPr>
            <a:spLocks noGrp="1"/>
          </p:cNvSpPr>
          <p:nvPr>
            <p:ph type="body" sz="quarter" idx="12" hasCustomPrompt="1"/>
          </p:nvPr>
        </p:nvSpPr>
        <p:spPr>
          <a:xfrm>
            <a:off x="897200" y="1784174"/>
            <a:ext cx="7395317" cy="792162"/>
          </a:xfrm>
          <a:prstGeom prst="rect">
            <a:avLst/>
          </a:prstGeom>
        </p:spPr>
        <p:txBody>
          <a:bodyPr vert="horz" wrap="square" lIns="72000" tIns="36000" rIns="72000" bIns="36000" rtlCol="0" anchor="ctr" anchorCtr="0">
            <a:noAutofit/>
          </a:bodyPr>
          <a:lstStyle>
            <a:lvl1pPr>
              <a:defRPr lang="en-US" sz="1950" b="1" i="0" baseline="0" dirty="0">
                <a:solidFill>
                  <a:schemeClr val="tx1"/>
                </a:solidFill>
              </a:defRPr>
            </a:lvl1pPr>
          </a:lstStyle>
          <a:p>
            <a:pPr lvl="0"/>
            <a:r>
              <a:rPr lang="en-GB" noProof="0"/>
              <a:t>Appendix</a:t>
            </a:r>
          </a:p>
        </p:txBody>
      </p:sp>
    </p:spTree>
    <p:extLst>
      <p:ext uri="{BB962C8B-B14F-4D97-AF65-F5344CB8AC3E}">
        <p14:creationId xmlns:p14="http://schemas.microsoft.com/office/powerpoint/2010/main" val="35127654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8F492C-84EC-E4C3-9659-6C750DB8420C}"/>
              </a:ext>
            </a:extLst>
          </p:cNvPr>
          <p:cNvSpPr>
            <a:spLocks noGrp="1"/>
          </p:cNvSpPr>
          <p:nvPr>
            <p:ph type="title" hasCustomPrompt="1"/>
          </p:nvPr>
        </p:nvSpPr>
        <p:spPr/>
        <p:txBody>
          <a:bodyPr/>
          <a:lstStyle/>
          <a:p>
            <a:r>
              <a:rPr lang="en-GB" noProof="0" dirty="0"/>
              <a:t>Click to edit Master title style</a:t>
            </a:r>
          </a:p>
        </p:txBody>
      </p:sp>
      <p:sp>
        <p:nvSpPr>
          <p:cNvPr id="3" name="Foliennummernplatzhalter 2">
            <a:extLst>
              <a:ext uri="{FF2B5EF4-FFF2-40B4-BE49-F238E27FC236}">
                <a16:creationId xmlns:a16="http://schemas.microsoft.com/office/drawing/2014/main" id="{6181DB50-0322-43D5-2B21-3AE2D501C839}"/>
              </a:ext>
            </a:extLst>
          </p:cNvPr>
          <p:cNvSpPr>
            <a:spLocks noGrp="1"/>
          </p:cNvSpPr>
          <p:nvPr>
            <p:ph type="sldNum" sz="quarter" idx="10"/>
          </p:nvPr>
        </p:nvSpPr>
        <p:spPr/>
        <p:txBody>
          <a:bodyPr/>
          <a:lstStyle/>
          <a:p>
            <a:fld id="{F551322C-20B2-48C3-B63D-68158FEBF630}" type="slidenum">
              <a:rPr lang="en-US" smtClean="0"/>
              <a:pPr/>
              <a:t>‹#›</a:t>
            </a:fld>
            <a:endParaRPr lang="en-US" dirty="0"/>
          </a:p>
        </p:txBody>
      </p:sp>
      <p:sp>
        <p:nvSpPr>
          <p:cNvPr id="4" name="Text Placeholder 2">
            <a:extLst>
              <a:ext uri="{FF2B5EF4-FFF2-40B4-BE49-F238E27FC236}">
                <a16:creationId xmlns:a16="http://schemas.microsoft.com/office/drawing/2014/main" id="{34618E9F-5E7A-7595-4565-BBCFDBBC6154}"/>
              </a:ext>
            </a:extLst>
          </p:cNvPr>
          <p:cNvSpPr>
            <a:spLocks noGrp="1"/>
          </p:cNvSpPr>
          <p:nvPr>
            <p:ph idx="1"/>
          </p:nvPr>
        </p:nvSpPr>
        <p:spPr>
          <a:xfrm>
            <a:off x="540000" y="1080001"/>
            <a:ext cx="8774912" cy="5309143"/>
          </a:xfrm>
          <a:prstGeom prst="rect">
            <a:avLst/>
          </a:prstGeom>
        </p:spPr>
        <p:txBody>
          <a:bodyPr vert="horz" lIns="91440" tIns="45720" rIns="91440" bIns="45720" rtlCol="0">
            <a:normAutofit/>
          </a:bodyPr>
          <a:lstStyle/>
          <a:p>
            <a:pPr lvl="1"/>
            <a:r>
              <a:rPr lang="en-GB" noProof="0" dirty="0"/>
              <a:t>[Add text]</a:t>
            </a:r>
          </a:p>
          <a:p>
            <a:pPr lvl="2"/>
            <a:r>
              <a:rPr lang="en-GB" noProof="0" dirty="0"/>
              <a:t>[Add text]</a:t>
            </a:r>
          </a:p>
          <a:p>
            <a:pPr lvl="3"/>
            <a:r>
              <a:rPr lang="en-GB" noProof="0" dirty="0"/>
              <a:t>[Add text]</a:t>
            </a:r>
          </a:p>
        </p:txBody>
      </p:sp>
    </p:spTree>
    <p:extLst>
      <p:ext uri="{BB962C8B-B14F-4D97-AF65-F5344CB8AC3E}">
        <p14:creationId xmlns:p14="http://schemas.microsoft.com/office/powerpoint/2010/main" val="11884396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B59A47-E689-5DB3-0764-1145BCE12FA8}"/>
              </a:ext>
            </a:extLst>
          </p:cNvPr>
          <p:cNvSpPr>
            <a:spLocks noGrp="1"/>
          </p:cNvSpPr>
          <p:nvPr>
            <p:ph type="title"/>
          </p:nvPr>
        </p:nvSpPr>
        <p:spPr/>
        <p:txBody>
          <a:bodyPr/>
          <a:lstStyle/>
          <a:p>
            <a:r>
              <a:rPr lang="de-DE"/>
              <a:t>Mastertitelformat bearbeiten</a:t>
            </a:r>
            <a:endParaRPr lang="en-US"/>
          </a:p>
        </p:txBody>
      </p:sp>
      <p:sp>
        <p:nvSpPr>
          <p:cNvPr id="3" name="Foliennummernplatzhalter 2">
            <a:extLst>
              <a:ext uri="{FF2B5EF4-FFF2-40B4-BE49-F238E27FC236}">
                <a16:creationId xmlns:a16="http://schemas.microsoft.com/office/drawing/2014/main" id="{8CC23F5A-9C38-DEE6-DC6D-00F73092F6E2}"/>
              </a:ext>
            </a:extLst>
          </p:cNvPr>
          <p:cNvSpPr>
            <a:spLocks noGrp="1"/>
          </p:cNvSpPr>
          <p:nvPr>
            <p:ph type="sldNum" sz="quarter" idx="10"/>
          </p:nvPr>
        </p:nvSpPr>
        <p:spPr/>
        <p:txBody>
          <a:bodyPr/>
          <a:lstStyle/>
          <a:p>
            <a:fld id="{F551322C-20B2-48C3-B63D-68158FEBF630}" type="slidenum">
              <a:rPr lang="en-US" smtClean="0"/>
              <a:pPr/>
              <a:t>‹#›</a:t>
            </a:fld>
            <a:endParaRPr lang="en-US" dirty="0"/>
          </a:p>
        </p:txBody>
      </p:sp>
    </p:spTree>
    <p:extLst>
      <p:ext uri="{BB962C8B-B14F-4D97-AF65-F5344CB8AC3E}">
        <p14:creationId xmlns:p14="http://schemas.microsoft.com/office/powerpoint/2010/main" val="1710455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ext slide - one hea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34C407-60D9-53C9-D316-70630442EA8D}"/>
              </a:ext>
            </a:extLst>
          </p:cNvPr>
          <p:cNvSpPr>
            <a:spLocks noGrp="1"/>
          </p:cNvSpPr>
          <p:nvPr>
            <p:ph type="title"/>
          </p:nvPr>
        </p:nvSpPr>
        <p:spPr>
          <a:xfrm>
            <a:off x="539999" y="55894"/>
            <a:ext cx="7932633" cy="371475"/>
          </a:xfrm>
          <a:prstGeom prst="rect">
            <a:avLst/>
          </a:prstGeom>
        </p:spPr>
        <p:txBody>
          <a:body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71E2D80D-4F5A-5A4B-A853-B190CB172C7F}"/>
              </a:ext>
            </a:extLst>
          </p:cNvPr>
          <p:cNvSpPr>
            <a:spLocks noGrp="1"/>
          </p:cNvSpPr>
          <p:nvPr>
            <p:ph idx="1"/>
          </p:nvPr>
        </p:nvSpPr>
        <p:spPr/>
        <p:txBody>
          <a:bodyPr/>
          <a:lstStyle/>
          <a:p>
            <a:pPr lvl="0"/>
            <a:r>
              <a:rPr lang="en-GB" noProof="0"/>
              <a:t>Mastertextformat bearbeiten</a:t>
            </a:r>
          </a:p>
          <a:p>
            <a:pPr lvl="1"/>
            <a:r>
              <a:rPr lang="en-GB" noProof="0"/>
              <a:t>Zweite Ebene</a:t>
            </a:r>
          </a:p>
          <a:p>
            <a:pPr lvl="2"/>
            <a:r>
              <a:rPr lang="en-GB" noProof="0"/>
              <a:t>Dritte Ebene</a:t>
            </a:r>
          </a:p>
          <a:p>
            <a:pPr lvl="3"/>
            <a:r>
              <a:rPr lang="en-GB" noProof="0"/>
              <a:t>Vierte Ebene</a:t>
            </a:r>
          </a:p>
          <a:p>
            <a:pPr lvl="4"/>
            <a:r>
              <a:rPr lang="en-GB" noProof="0"/>
              <a:t>Fünfte Ebene</a:t>
            </a:r>
          </a:p>
        </p:txBody>
      </p:sp>
      <p:sp>
        <p:nvSpPr>
          <p:cNvPr id="4" name="Foliennummernplatzhalter 5">
            <a:extLst>
              <a:ext uri="{FF2B5EF4-FFF2-40B4-BE49-F238E27FC236}">
                <a16:creationId xmlns:a16="http://schemas.microsoft.com/office/drawing/2014/main" id="{07A5BD7F-9935-5545-AA13-A9D4CCF638BA}"/>
              </a:ext>
            </a:extLst>
          </p:cNvPr>
          <p:cNvSpPr>
            <a:spLocks noGrp="1"/>
          </p:cNvSpPr>
          <p:nvPr>
            <p:ph type="sldNum" sz="quarter" idx="4"/>
          </p:nvPr>
        </p:nvSpPr>
        <p:spPr>
          <a:xfrm>
            <a:off x="9185561" y="6449526"/>
            <a:ext cx="624557" cy="415215"/>
          </a:xfrm>
          <a:prstGeom prst="rect">
            <a:avLst/>
          </a:prstGeom>
        </p:spPr>
        <p:txBody>
          <a:bodyPr vert="horz" lIns="91440" tIns="45720" rIns="91440" bIns="45720" rtlCol="0" anchor="ctr"/>
          <a:lstStyle>
            <a:lvl1pPr algn="r">
              <a:defRPr sz="975">
                <a:solidFill>
                  <a:schemeClr val="tx1"/>
                </a:solidFill>
                <a:latin typeface="Arial" panose="020B0604020202020204" pitchFamily="34" charset="0"/>
                <a:cs typeface="Arial" panose="020B0604020202020204" pitchFamily="34" charset="0"/>
              </a:defRPr>
            </a:lvl1pPr>
          </a:lstStyle>
          <a:p>
            <a:fld id="{552108FB-23E0-4454-978B-54EB3005B0BA}" type="slidenum">
              <a:rPr lang="en-US" smtClean="0"/>
              <a:pPr/>
              <a:t>‹#›</a:t>
            </a:fld>
            <a:endParaRPr lang="en-US" dirty="0"/>
          </a:p>
        </p:txBody>
      </p:sp>
    </p:spTree>
    <p:extLst>
      <p:ext uri="{BB962C8B-B14F-4D97-AF65-F5344CB8AC3E}">
        <p14:creationId xmlns:p14="http://schemas.microsoft.com/office/powerpoint/2010/main" val="12646805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6798796" cy="336550"/>
          </a:xfrm>
        </p:spPr>
        <p:txBody>
          <a:bodyPr vert="horz" lIns="72000" tIns="36000" rIns="72000" bIns="36000" rtlCol="0" anchor="t">
            <a:noAutofit/>
          </a:bodyPr>
          <a:lstStyle>
            <a:lvl1pPr>
              <a:defRPr lang="nl-NL" sz="1600" b="0" i="0" dirty="0">
                <a:solidFill>
                  <a:srgbClr val="AB5905"/>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540000" y="461650"/>
            <a:ext cx="8376894" cy="363850"/>
          </a:xfrm>
          <a:prstGeom prst="rect">
            <a:avLst/>
          </a:prstGeom>
        </p:spPr>
        <p:txBody>
          <a:bodyPr vert="horz" lIns="72000" tIns="36000" rIns="72000" bIns="36000" rtlCol="0" anchor="t">
            <a:noAutofit/>
          </a:bodyPr>
          <a:lstStyle>
            <a:lvl1pPr>
              <a:defRPr lang="nl-NL" sz="1400" b="0" i="0" dirty="0">
                <a:solidFill>
                  <a:srgbClr val="AB5905"/>
                </a:solidFill>
                <a:latin typeface="+mj-lt"/>
              </a:defRPr>
            </a:lvl1pPr>
          </a:lstStyle>
          <a:p>
            <a:pPr lvl="0">
              <a:spcBef>
                <a:spcPct val="0"/>
              </a:spcBef>
            </a:pPr>
            <a:r>
              <a:rPr lang="en-US"/>
              <a:t>Click to edit Description</a:t>
            </a:r>
          </a:p>
          <a:p>
            <a:pPr lvl="0">
              <a:spcBef>
                <a:spcPct val="0"/>
              </a:spcBef>
            </a:pPr>
            <a:endParaRPr lang="nl-NL"/>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Tree>
    <p:extLst>
      <p:ext uri="{BB962C8B-B14F-4D97-AF65-F5344CB8AC3E}">
        <p14:creationId xmlns:p14="http://schemas.microsoft.com/office/powerpoint/2010/main" val="38975628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926168" y="2912663"/>
            <a:ext cx="7395317"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a:t>Date, Place</a:t>
            </a:r>
          </a:p>
        </p:txBody>
      </p:sp>
      <p:sp>
        <p:nvSpPr>
          <p:cNvPr id="15" name="Text Placeholder 15"/>
          <p:cNvSpPr>
            <a:spLocks noGrp="1"/>
          </p:cNvSpPr>
          <p:nvPr>
            <p:ph type="body" sz="quarter" idx="12" hasCustomPrompt="1"/>
          </p:nvPr>
        </p:nvSpPr>
        <p:spPr>
          <a:xfrm>
            <a:off x="1927517" y="1792322"/>
            <a:ext cx="7395317" cy="792162"/>
          </a:xfrm>
          <a:prstGeom prst="rect">
            <a:avLst/>
          </a:prstGeom>
        </p:spPr>
        <p:txBody>
          <a:bodyPr anchor="ctr" anchorCtr="0">
            <a:noAutofit/>
          </a:bodyPr>
          <a:lstStyle>
            <a:lvl1pPr marL="0" indent="0">
              <a:buNone/>
              <a:defRPr lang="en-US" sz="3000" b="0" i="0" baseline="0" dirty="0">
                <a:solidFill>
                  <a:srgbClr val="AB5905"/>
                </a:solidFill>
                <a:latin typeface="+mn-lt"/>
                <a:ea typeface="Arial Unicode MS" panose="020B0604020202020204" pitchFamily="34" charset="-128"/>
                <a:cs typeface="Arial" panose="020B0604020202020204" pitchFamily="34" charset="0"/>
              </a:defRPr>
            </a:lvl1pPr>
          </a:lstStyle>
          <a:p>
            <a:pPr lvl="0"/>
            <a:r>
              <a:rPr lang="en-US"/>
              <a:t>Name of the meeting</a:t>
            </a:r>
          </a:p>
        </p:txBody>
      </p:sp>
      <p:pic>
        <p:nvPicPr>
          <p:cNvPr id="2" name="Picture 1">
            <a:extLst>
              <a:ext uri="{FF2B5EF4-FFF2-40B4-BE49-F238E27FC236}">
                <a16:creationId xmlns:a16="http://schemas.microsoft.com/office/drawing/2014/main" id="{D5FB8CB5-6E10-2979-542A-4EBEE4822852}"/>
              </a:ext>
            </a:extLst>
          </p:cNvPr>
          <p:cNvPicPr>
            <a:picLocks noChangeAspect="1"/>
          </p:cNvPicPr>
          <p:nvPr userDrawn="1"/>
        </p:nvPicPr>
        <p:blipFill>
          <a:blip r:embed="rId280"/>
          <a:stretch>
            <a:fillRect/>
          </a:stretch>
        </p:blipFill>
        <p:spPr>
          <a:xfrm>
            <a:off x="1076648" y="3319766"/>
            <a:ext cx="422354" cy="145421"/>
          </a:xfrm>
          <a:prstGeom prst="rect">
            <a:avLst/>
          </a:prstGeom>
        </p:spPr>
      </p:pic>
      <p:pic>
        <p:nvPicPr>
          <p:cNvPr id="3" name="Picture 2">
            <a:extLst>
              <a:ext uri="{FF2B5EF4-FFF2-40B4-BE49-F238E27FC236}">
                <a16:creationId xmlns:a16="http://schemas.microsoft.com/office/drawing/2014/main" id="{89F95900-904C-F02A-0F92-1EFF6F256AEB}"/>
              </a:ext>
            </a:extLst>
          </p:cNvPr>
          <p:cNvPicPr>
            <a:picLocks noChangeAspect="1"/>
          </p:cNvPicPr>
          <p:nvPr userDrawn="1"/>
        </p:nvPicPr>
        <p:blipFill>
          <a:blip r:embed="rId281"/>
          <a:stretch>
            <a:fillRect/>
          </a:stretch>
        </p:blipFill>
        <p:spPr>
          <a:xfrm>
            <a:off x="284717" y="2411655"/>
            <a:ext cx="532101" cy="332272"/>
          </a:xfrm>
          <a:prstGeom prst="rect">
            <a:avLst/>
          </a:prstGeom>
        </p:spPr>
      </p:pic>
      <p:pic>
        <p:nvPicPr>
          <p:cNvPr id="4" name="Picture 3">
            <a:extLst>
              <a:ext uri="{FF2B5EF4-FFF2-40B4-BE49-F238E27FC236}">
                <a16:creationId xmlns:a16="http://schemas.microsoft.com/office/drawing/2014/main" id="{EE8E291B-6534-86DB-40A8-A8B7DBCEAE18}"/>
              </a:ext>
            </a:extLst>
          </p:cNvPr>
          <p:cNvPicPr>
            <a:picLocks noChangeAspect="1"/>
          </p:cNvPicPr>
          <p:nvPr userDrawn="1"/>
        </p:nvPicPr>
        <p:blipFill>
          <a:blip r:embed="rId282"/>
          <a:stretch>
            <a:fillRect/>
          </a:stretch>
        </p:blipFill>
        <p:spPr>
          <a:xfrm>
            <a:off x="431726" y="3472967"/>
            <a:ext cx="288089" cy="429002"/>
          </a:xfrm>
          <a:prstGeom prst="rect">
            <a:avLst/>
          </a:prstGeom>
        </p:spPr>
      </p:pic>
      <p:pic>
        <p:nvPicPr>
          <p:cNvPr id="5" name="Picture 4">
            <a:extLst>
              <a:ext uri="{FF2B5EF4-FFF2-40B4-BE49-F238E27FC236}">
                <a16:creationId xmlns:a16="http://schemas.microsoft.com/office/drawing/2014/main" id="{BAA43429-E6FF-FD14-989D-5B725AEEFE84}"/>
              </a:ext>
            </a:extLst>
          </p:cNvPr>
          <p:cNvPicPr>
            <a:picLocks noChangeAspect="1"/>
          </p:cNvPicPr>
          <p:nvPr userDrawn="1"/>
        </p:nvPicPr>
        <p:blipFill>
          <a:blip r:embed="rId283"/>
          <a:srcRect/>
          <a:stretch/>
        </p:blipFill>
        <p:spPr>
          <a:xfrm>
            <a:off x="965144" y="3499382"/>
            <a:ext cx="573844" cy="276342"/>
          </a:xfrm>
          <a:prstGeom prst="rect">
            <a:avLst/>
          </a:prstGeom>
        </p:spPr>
      </p:pic>
      <p:pic>
        <p:nvPicPr>
          <p:cNvPr id="6" name="Picture 12">
            <a:extLst>
              <a:ext uri="{FF2B5EF4-FFF2-40B4-BE49-F238E27FC236}">
                <a16:creationId xmlns:a16="http://schemas.microsoft.com/office/drawing/2014/main" id="{4A8456BA-32B6-3F39-E72E-6FA941FC87FE}"/>
              </a:ext>
            </a:extLst>
          </p:cNvPr>
          <p:cNvPicPr>
            <a:picLocks noChangeAspect="1" noChangeArrowheads="1"/>
          </p:cNvPicPr>
          <p:nvPr userDrawn="1"/>
        </p:nvPicPr>
        <p:blipFill>
          <a:blip r:embed="rId284"/>
          <a:srcRect/>
          <a:stretch/>
        </p:blipFill>
        <p:spPr bwMode="auto">
          <a:xfrm>
            <a:off x="269428" y="3972359"/>
            <a:ext cx="855487" cy="168958"/>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4D0F27A9-3616-C837-6029-02BCD00D5134}"/>
              </a:ext>
            </a:extLst>
          </p:cNvPr>
          <p:cNvPicPr>
            <a:picLocks noChangeAspect="1"/>
          </p:cNvPicPr>
          <p:nvPr userDrawn="1"/>
        </p:nvPicPr>
        <p:blipFill rotWithShape="1">
          <a:blip r:embed="rId285">
            <a:extLst>
              <a:ext uri="{28A0092B-C50C-407E-A947-70E740481C1C}">
                <a14:useLocalDpi xmlns:a14="http://schemas.microsoft.com/office/drawing/2010/main" val="0"/>
              </a:ext>
            </a:extLst>
          </a:blip>
          <a:srcRect r="66927"/>
          <a:stretch/>
        </p:blipFill>
        <p:spPr>
          <a:xfrm>
            <a:off x="1059102" y="1773023"/>
            <a:ext cx="490160" cy="169107"/>
          </a:xfrm>
          <a:prstGeom prst="rect">
            <a:avLst/>
          </a:prstGeom>
        </p:spPr>
      </p:pic>
      <p:pic>
        <p:nvPicPr>
          <p:cNvPr id="8" name="Picture 7">
            <a:extLst>
              <a:ext uri="{FF2B5EF4-FFF2-40B4-BE49-F238E27FC236}">
                <a16:creationId xmlns:a16="http://schemas.microsoft.com/office/drawing/2014/main" id="{854E4920-729D-7AD6-95B3-72F330B87A05}"/>
              </a:ext>
            </a:extLst>
          </p:cNvPr>
          <p:cNvPicPr>
            <a:picLocks noChangeAspect="1"/>
          </p:cNvPicPr>
          <p:nvPr userDrawn="1"/>
        </p:nvPicPr>
        <p:blipFill>
          <a:blip r:embed="rId286" cstate="print">
            <a:extLst>
              <a:ext uri="{28A0092B-C50C-407E-A947-70E740481C1C}">
                <a14:useLocalDpi xmlns:a14="http://schemas.microsoft.com/office/drawing/2010/main" val="0"/>
              </a:ext>
            </a:extLst>
          </a:blip>
          <a:stretch>
            <a:fillRect/>
          </a:stretch>
        </p:blipFill>
        <p:spPr>
          <a:xfrm>
            <a:off x="277595" y="3227776"/>
            <a:ext cx="592836" cy="196596"/>
          </a:xfrm>
          <a:prstGeom prst="rect">
            <a:avLst/>
          </a:prstGeom>
        </p:spPr>
      </p:pic>
      <p:pic>
        <p:nvPicPr>
          <p:cNvPr id="9" name="Picture 8">
            <a:extLst>
              <a:ext uri="{FF2B5EF4-FFF2-40B4-BE49-F238E27FC236}">
                <a16:creationId xmlns:a16="http://schemas.microsoft.com/office/drawing/2014/main" id="{78440D2A-E7B9-0F1D-0592-E9F64BC4CD14}"/>
              </a:ext>
            </a:extLst>
          </p:cNvPr>
          <p:cNvPicPr>
            <a:picLocks noChangeAspect="1"/>
          </p:cNvPicPr>
          <p:nvPr userDrawn="1"/>
        </p:nvPicPr>
        <p:blipFill>
          <a:blip r:embed="rId287"/>
          <a:stretch>
            <a:fillRect/>
          </a:stretch>
        </p:blipFill>
        <p:spPr>
          <a:xfrm>
            <a:off x="934648" y="2308102"/>
            <a:ext cx="614614" cy="384134"/>
          </a:xfrm>
          <a:prstGeom prst="rect">
            <a:avLst/>
          </a:prstGeom>
        </p:spPr>
      </p:pic>
      <p:pic>
        <p:nvPicPr>
          <p:cNvPr id="10" name="Picture 9">
            <a:extLst>
              <a:ext uri="{FF2B5EF4-FFF2-40B4-BE49-F238E27FC236}">
                <a16:creationId xmlns:a16="http://schemas.microsoft.com/office/drawing/2014/main" id="{6BA2E0CB-A1A3-FA57-310A-704DA76CCBF3}"/>
              </a:ext>
            </a:extLst>
          </p:cNvPr>
          <p:cNvPicPr>
            <a:picLocks noChangeAspect="1"/>
          </p:cNvPicPr>
          <p:nvPr userDrawn="1"/>
        </p:nvPicPr>
        <p:blipFill>
          <a:blip r:embed="rId288" cstate="hqprint">
            <a:extLst>
              <a:ext uri="{28A0092B-C50C-407E-A947-70E740481C1C}">
                <a14:useLocalDpi xmlns:a14="http://schemas.microsoft.com/office/drawing/2010/main"/>
              </a:ext>
            </a:extLst>
          </a:blip>
          <a:stretch>
            <a:fillRect/>
          </a:stretch>
        </p:blipFill>
        <p:spPr>
          <a:xfrm>
            <a:off x="1199538" y="3818518"/>
            <a:ext cx="327901" cy="303330"/>
          </a:xfrm>
          <a:prstGeom prst="rect">
            <a:avLst/>
          </a:prstGeom>
        </p:spPr>
      </p:pic>
      <p:pic>
        <p:nvPicPr>
          <p:cNvPr id="11" name="Picture 10">
            <a:extLst>
              <a:ext uri="{FF2B5EF4-FFF2-40B4-BE49-F238E27FC236}">
                <a16:creationId xmlns:a16="http://schemas.microsoft.com/office/drawing/2014/main" id="{11611681-35B1-2CE2-58B7-7616CDE45811}"/>
              </a:ext>
            </a:extLst>
          </p:cNvPr>
          <p:cNvPicPr>
            <a:picLocks noChangeAspect="1"/>
          </p:cNvPicPr>
          <p:nvPr userDrawn="1"/>
        </p:nvPicPr>
        <p:blipFill>
          <a:blip r:embed="rId289"/>
          <a:stretch>
            <a:fillRect/>
          </a:stretch>
        </p:blipFill>
        <p:spPr>
          <a:xfrm>
            <a:off x="1190625" y="4403223"/>
            <a:ext cx="448906" cy="215470"/>
          </a:xfrm>
          <a:prstGeom prst="rect">
            <a:avLst/>
          </a:prstGeom>
        </p:spPr>
      </p:pic>
      <p:pic>
        <p:nvPicPr>
          <p:cNvPr id="12" name="Picture 2">
            <a:extLst>
              <a:ext uri="{FF2B5EF4-FFF2-40B4-BE49-F238E27FC236}">
                <a16:creationId xmlns:a16="http://schemas.microsoft.com/office/drawing/2014/main" id="{901F1F31-A665-D1D8-6CC3-4CF35A414472}"/>
              </a:ext>
            </a:extLst>
          </p:cNvPr>
          <p:cNvPicPr>
            <a:picLocks noChangeAspect="1" noChangeArrowheads="1"/>
          </p:cNvPicPr>
          <p:nvPr userDrawn="1"/>
        </p:nvPicPr>
        <p:blipFill>
          <a:blip r:embed="rId290" cstate="print">
            <a:extLst>
              <a:ext uri="{28A0092B-C50C-407E-A947-70E740481C1C}">
                <a14:useLocalDpi xmlns:a14="http://schemas.microsoft.com/office/drawing/2010/main" val="0"/>
              </a:ext>
            </a:extLst>
          </a:blip>
          <a:stretch>
            <a:fillRect/>
          </a:stretch>
        </p:blipFill>
        <p:spPr bwMode="auto">
          <a:xfrm>
            <a:off x="1164093" y="4198024"/>
            <a:ext cx="414645" cy="11460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a:extLst>
              <a:ext uri="{FF2B5EF4-FFF2-40B4-BE49-F238E27FC236}">
                <a16:creationId xmlns:a16="http://schemas.microsoft.com/office/drawing/2014/main" id="{57459666-32C9-FC1B-F776-E23BC647B49A}"/>
              </a:ext>
            </a:extLst>
          </p:cNvPr>
          <p:cNvPicPr>
            <a:picLocks noChangeAspect="1"/>
          </p:cNvPicPr>
          <p:nvPr userDrawn="1"/>
        </p:nvPicPr>
        <p:blipFill>
          <a:blip r:embed="rId291"/>
          <a:stretch>
            <a:fillRect/>
          </a:stretch>
        </p:blipFill>
        <p:spPr>
          <a:xfrm>
            <a:off x="299064" y="4619850"/>
            <a:ext cx="435374" cy="227524"/>
          </a:xfrm>
          <a:prstGeom prst="rect">
            <a:avLst/>
          </a:prstGeom>
        </p:spPr>
      </p:pic>
      <p:pic>
        <p:nvPicPr>
          <p:cNvPr id="14" name="Graphic 13">
            <a:extLst>
              <a:ext uri="{FF2B5EF4-FFF2-40B4-BE49-F238E27FC236}">
                <a16:creationId xmlns:a16="http://schemas.microsoft.com/office/drawing/2014/main" id="{35F260C3-DC66-6E67-4916-48FCDCED9ADC}"/>
              </a:ext>
            </a:extLst>
          </p:cNvPr>
          <p:cNvPicPr>
            <a:picLocks noChangeAspect="1"/>
          </p:cNvPicPr>
          <p:nvPr userDrawn="1"/>
        </p:nvPicPr>
        <p:blipFill>
          <a:blip r:embed="rId292">
            <a:extLst>
              <a:ext uri="{96DAC541-7B7A-43D3-8B79-37D633B846F1}">
                <asvg:svgBlip xmlns:asvg="http://schemas.microsoft.com/office/drawing/2016/SVG/main" r:embed="rId293"/>
              </a:ext>
            </a:extLst>
          </a:blip>
          <a:stretch>
            <a:fillRect/>
          </a:stretch>
        </p:blipFill>
        <p:spPr>
          <a:xfrm>
            <a:off x="281708" y="4187654"/>
            <a:ext cx="643805" cy="133861"/>
          </a:xfrm>
          <a:prstGeom prst="rect">
            <a:avLst/>
          </a:prstGeom>
        </p:spPr>
      </p:pic>
      <p:pic>
        <p:nvPicPr>
          <p:cNvPr id="17" name="Graphic 16">
            <a:extLst>
              <a:ext uri="{FF2B5EF4-FFF2-40B4-BE49-F238E27FC236}">
                <a16:creationId xmlns:a16="http://schemas.microsoft.com/office/drawing/2014/main" id="{9DCAEECF-3C1C-DF76-5BDE-D470E798957F}"/>
              </a:ext>
            </a:extLst>
          </p:cNvPr>
          <p:cNvPicPr>
            <a:picLocks noChangeAspect="1"/>
          </p:cNvPicPr>
          <p:nvPr userDrawn="1"/>
        </p:nvPicPr>
        <p:blipFill>
          <a:blip r:embed="rId294">
            <a:extLst>
              <a:ext uri="{96DAC541-7B7A-43D3-8B79-37D633B846F1}">
                <asvg:svgBlip xmlns:asvg="http://schemas.microsoft.com/office/drawing/2016/SVG/main" r:embed="rId295"/>
              </a:ext>
            </a:extLst>
          </a:blip>
          <a:stretch>
            <a:fillRect/>
          </a:stretch>
        </p:blipFill>
        <p:spPr>
          <a:xfrm>
            <a:off x="262079" y="4907492"/>
            <a:ext cx="577379" cy="170431"/>
          </a:xfrm>
          <a:prstGeom prst="rect">
            <a:avLst/>
          </a:prstGeom>
        </p:spPr>
      </p:pic>
      <p:pic>
        <p:nvPicPr>
          <p:cNvPr id="18" name="Graphic 17">
            <a:extLst>
              <a:ext uri="{FF2B5EF4-FFF2-40B4-BE49-F238E27FC236}">
                <a16:creationId xmlns:a16="http://schemas.microsoft.com/office/drawing/2014/main" id="{99CC57ED-C6BA-CD6F-9D9A-E853229D64EC}"/>
              </a:ext>
            </a:extLst>
          </p:cNvPr>
          <p:cNvPicPr>
            <a:picLocks noChangeAspect="1"/>
          </p:cNvPicPr>
          <p:nvPr userDrawn="1"/>
        </p:nvPicPr>
        <p:blipFill>
          <a:blip r:embed="rId296">
            <a:extLst>
              <a:ext uri="{96DAC541-7B7A-43D3-8B79-37D633B846F1}">
                <asvg:svgBlip xmlns:asvg="http://schemas.microsoft.com/office/drawing/2016/SVG/main" r:embed="rId297"/>
              </a:ext>
            </a:extLst>
          </a:blip>
          <a:stretch>
            <a:fillRect/>
          </a:stretch>
        </p:blipFill>
        <p:spPr>
          <a:xfrm>
            <a:off x="930336" y="4693268"/>
            <a:ext cx="676854" cy="122778"/>
          </a:xfrm>
          <a:prstGeom prst="rect">
            <a:avLst/>
          </a:prstGeom>
        </p:spPr>
      </p:pic>
      <p:pic>
        <p:nvPicPr>
          <p:cNvPr id="19" name="Picture 18">
            <a:extLst>
              <a:ext uri="{FF2B5EF4-FFF2-40B4-BE49-F238E27FC236}">
                <a16:creationId xmlns:a16="http://schemas.microsoft.com/office/drawing/2014/main" id="{F8F6C81E-0438-3532-FB29-02214451A22E}"/>
              </a:ext>
            </a:extLst>
          </p:cNvPr>
          <p:cNvPicPr>
            <a:picLocks noChangeAspect="1"/>
          </p:cNvPicPr>
          <p:nvPr userDrawn="1"/>
        </p:nvPicPr>
        <p:blipFill rotWithShape="1">
          <a:blip r:embed="rId29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92765" y="5166907"/>
            <a:ext cx="593685" cy="155426"/>
          </a:xfrm>
          <a:prstGeom prst="rect">
            <a:avLst/>
          </a:prstGeom>
        </p:spPr>
      </p:pic>
      <p:pic>
        <p:nvPicPr>
          <p:cNvPr id="20" name="Graphic 19">
            <a:extLst>
              <a:ext uri="{FF2B5EF4-FFF2-40B4-BE49-F238E27FC236}">
                <a16:creationId xmlns:a16="http://schemas.microsoft.com/office/drawing/2014/main" id="{83F7D4BB-9CE9-7F5F-9786-3317471D8990}"/>
              </a:ext>
            </a:extLst>
          </p:cNvPr>
          <p:cNvPicPr>
            <a:picLocks noChangeAspect="1"/>
          </p:cNvPicPr>
          <p:nvPr userDrawn="1"/>
        </p:nvPicPr>
        <p:blipFill>
          <a:blip r:embed="rId299">
            <a:extLst>
              <a:ext uri="{96DAC541-7B7A-43D3-8B79-37D633B846F1}">
                <asvg:svgBlip xmlns:asvg="http://schemas.microsoft.com/office/drawing/2016/SVG/main" r:embed="rId300"/>
              </a:ext>
            </a:extLst>
          </a:blip>
          <a:stretch>
            <a:fillRect/>
          </a:stretch>
        </p:blipFill>
        <p:spPr>
          <a:xfrm>
            <a:off x="268288" y="4462295"/>
            <a:ext cx="808142" cy="97326"/>
          </a:xfrm>
          <a:prstGeom prst="rect">
            <a:avLst/>
          </a:prstGeom>
        </p:spPr>
      </p:pic>
      <p:pic>
        <p:nvPicPr>
          <p:cNvPr id="21" name="Picture 20">
            <a:extLst>
              <a:ext uri="{FF2B5EF4-FFF2-40B4-BE49-F238E27FC236}">
                <a16:creationId xmlns:a16="http://schemas.microsoft.com/office/drawing/2014/main" id="{4402333B-3BB0-2367-EE1D-CABE8CC56F41}"/>
              </a:ext>
            </a:extLst>
          </p:cNvPr>
          <p:cNvPicPr>
            <a:picLocks noChangeAspect="1"/>
          </p:cNvPicPr>
          <p:nvPr userDrawn="1"/>
        </p:nvPicPr>
        <p:blipFill>
          <a:blip r:embed="rId301"/>
          <a:stretch>
            <a:fillRect/>
          </a:stretch>
        </p:blipFill>
        <p:spPr>
          <a:xfrm>
            <a:off x="1014829" y="5431225"/>
            <a:ext cx="568341" cy="207036"/>
          </a:xfrm>
          <a:prstGeom prst="rect">
            <a:avLst/>
          </a:prstGeom>
        </p:spPr>
      </p:pic>
      <p:pic>
        <p:nvPicPr>
          <p:cNvPr id="22" name="Picture 21">
            <a:extLst>
              <a:ext uri="{FF2B5EF4-FFF2-40B4-BE49-F238E27FC236}">
                <a16:creationId xmlns:a16="http://schemas.microsoft.com/office/drawing/2014/main" id="{7BB970F1-0449-223C-5BC3-835EA9179867}"/>
              </a:ext>
            </a:extLst>
          </p:cNvPr>
          <p:cNvPicPr>
            <a:picLocks noChangeAspect="1"/>
          </p:cNvPicPr>
          <p:nvPr userDrawn="1"/>
        </p:nvPicPr>
        <p:blipFill>
          <a:blip r:embed="rId302"/>
          <a:stretch>
            <a:fillRect/>
          </a:stretch>
        </p:blipFill>
        <p:spPr>
          <a:xfrm>
            <a:off x="1191141" y="5726561"/>
            <a:ext cx="392029" cy="205725"/>
          </a:xfrm>
          <a:prstGeom prst="rect">
            <a:avLst/>
          </a:prstGeom>
        </p:spPr>
      </p:pic>
      <p:pic>
        <p:nvPicPr>
          <p:cNvPr id="23" name="Picture 22">
            <a:extLst>
              <a:ext uri="{FF2B5EF4-FFF2-40B4-BE49-F238E27FC236}">
                <a16:creationId xmlns:a16="http://schemas.microsoft.com/office/drawing/2014/main" id="{72F891CD-5F52-8B4D-DD50-C484879A3214}"/>
              </a:ext>
            </a:extLst>
          </p:cNvPr>
          <p:cNvPicPr>
            <a:picLocks noChangeAspect="1"/>
          </p:cNvPicPr>
          <p:nvPr userDrawn="1"/>
        </p:nvPicPr>
        <p:blipFill>
          <a:blip r:embed="rId303"/>
          <a:stretch>
            <a:fillRect/>
          </a:stretch>
        </p:blipFill>
        <p:spPr>
          <a:xfrm>
            <a:off x="311188" y="5446689"/>
            <a:ext cx="525653" cy="158223"/>
          </a:xfrm>
          <a:prstGeom prst="rect">
            <a:avLst/>
          </a:prstGeom>
        </p:spPr>
      </p:pic>
      <p:pic>
        <p:nvPicPr>
          <p:cNvPr id="24" name="Picture 23">
            <a:extLst>
              <a:ext uri="{FF2B5EF4-FFF2-40B4-BE49-F238E27FC236}">
                <a16:creationId xmlns:a16="http://schemas.microsoft.com/office/drawing/2014/main" id="{061B61BA-3451-9CA8-0F9B-75871671140A}"/>
              </a:ext>
            </a:extLst>
          </p:cNvPr>
          <p:cNvPicPr>
            <a:picLocks noChangeAspect="1"/>
          </p:cNvPicPr>
          <p:nvPr userDrawn="1"/>
        </p:nvPicPr>
        <p:blipFill>
          <a:blip r:embed="rId304"/>
          <a:stretch>
            <a:fillRect/>
          </a:stretch>
        </p:blipFill>
        <p:spPr>
          <a:xfrm>
            <a:off x="280021" y="6014808"/>
            <a:ext cx="587985" cy="209655"/>
          </a:xfrm>
          <a:prstGeom prst="rect">
            <a:avLst/>
          </a:prstGeom>
        </p:spPr>
      </p:pic>
      <p:pic>
        <p:nvPicPr>
          <p:cNvPr id="25" name="Picture 24">
            <a:extLst>
              <a:ext uri="{FF2B5EF4-FFF2-40B4-BE49-F238E27FC236}">
                <a16:creationId xmlns:a16="http://schemas.microsoft.com/office/drawing/2014/main" id="{DFE57573-6803-E801-CD01-2D0854A48C76}"/>
              </a:ext>
            </a:extLst>
          </p:cNvPr>
          <p:cNvPicPr>
            <a:picLocks noChangeAspect="1"/>
          </p:cNvPicPr>
          <p:nvPr userDrawn="1"/>
        </p:nvPicPr>
        <p:blipFill>
          <a:blip r:embed="rId305"/>
          <a:stretch>
            <a:fillRect/>
          </a:stretch>
        </p:blipFill>
        <p:spPr>
          <a:xfrm>
            <a:off x="293424" y="5201077"/>
            <a:ext cx="593685" cy="148421"/>
          </a:xfrm>
          <a:prstGeom prst="rect">
            <a:avLst/>
          </a:prstGeom>
        </p:spPr>
      </p:pic>
      <p:pic>
        <p:nvPicPr>
          <p:cNvPr id="27" name="Picture 26">
            <a:extLst>
              <a:ext uri="{FF2B5EF4-FFF2-40B4-BE49-F238E27FC236}">
                <a16:creationId xmlns:a16="http://schemas.microsoft.com/office/drawing/2014/main" id="{42EE3EE6-B337-3D30-9CDF-74F70B279C5C}"/>
              </a:ext>
            </a:extLst>
          </p:cNvPr>
          <p:cNvPicPr>
            <a:picLocks noChangeAspect="1"/>
          </p:cNvPicPr>
          <p:nvPr userDrawn="1"/>
        </p:nvPicPr>
        <p:blipFill>
          <a:blip r:embed="rId306"/>
          <a:stretch>
            <a:fillRect/>
          </a:stretch>
        </p:blipFill>
        <p:spPr>
          <a:xfrm>
            <a:off x="268288" y="5745692"/>
            <a:ext cx="657218" cy="182896"/>
          </a:xfrm>
          <a:prstGeom prst="rect">
            <a:avLst/>
          </a:prstGeom>
        </p:spPr>
      </p:pic>
      <p:pic>
        <p:nvPicPr>
          <p:cNvPr id="28" name="Picture 27">
            <a:extLst>
              <a:ext uri="{FF2B5EF4-FFF2-40B4-BE49-F238E27FC236}">
                <a16:creationId xmlns:a16="http://schemas.microsoft.com/office/drawing/2014/main" id="{A569EE79-5175-C23B-70E7-7C9B0CBBBFD3}"/>
              </a:ext>
            </a:extLst>
          </p:cNvPr>
          <p:cNvPicPr>
            <a:picLocks noChangeAspect="1"/>
          </p:cNvPicPr>
          <p:nvPr userDrawn="1"/>
        </p:nvPicPr>
        <p:blipFill>
          <a:blip r:embed="rId307"/>
          <a:stretch>
            <a:fillRect/>
          </a:stretch>
        </p:blipFill>
        <p:spPr>
          <a:xfrm>
            <a:off x="219739" y="1684636"/>
            <a:ext cx="624539" cy="293807"/>
          </a:xfrm>
          <a:prstGeom prst="rect">
            <a:avLst/>
          </a:prstGeom>
        </p:spPr>
      </p:pic>
      <p:pic>
        <p:nvPicPr>
          <p:cNvPr id="29" name="Picture 28">
            <a:extLst>
              <a:ext uri="{FF2B5EF4-FFF2-40B4-BE49-F238E27FC236}">
                <a16:creationId xmlns:a16="http://schemas.microsoft.com/office/drawing/2014/main" id="{B75B6CC1-FF45-FA19-7046-AFD5F6799FB9}"/>
              </a:ext>
            </a:extLst>
          </p:cNvPr>
          <p:cNvPicPr>
            <a:picLocks noChangeAspect="1"/>
          </p:cNvPicPr>
          <p:nvPr userDrawn="1"/>
        </p:nvPicPr>
        <p:blipFill>
          <a:blip r:embed="rId308"/>
          <a:stretch>
            <a:fillRect/>
          </a:stretch>
        </p:blipFill>
        <p:spPr>
          <a:xfrm>
            <a:off x="1000319" y="4888883"/>
            <a:ext cx="657890" cy="247061"/>
          </a:xfrm>
          <a:prstGeom prst="rect">
            <a:avLst/>
          </a:prstGeom>
        </p:spPr>
      </p:pic>
      <p:pic>
        <p:nvPicPr>
          <p:cNvPr id="30" name="Picture 29">
            <a:extLst>
              <a:ext uri="{FF2B5EF4-FFF2-40B4-BE49-F238E27FC236}">
                <a16:creationId xmlns:a16="http://schemas.microsoft.com/office/drawing/2014/main" id="{205B0162-F282-0952-5516-340E1BE95AC5}"/>
              </a:ext>
            </a:extLst>
          </p:cNvPr>
          <p:cNvPicPr>
            <a:picLocks noChangeAspect="1"/>
          </p:cNvPicPr>
          <p:nvPr userDrawn="1"/>
        </p:nvPicPr>
        <p:blipFill>
          <a:blip r:embed="rId309"/>
          <a:stretch>
            <a:fillRect/>
          </a:stretch>
        </p:blipFill>
        <p:spPr>
          <a:xfrm>
            <a:off x="799933" y="1435623"/>
            <a:ext cx="673419" cy="247060"/>
          </a:xfrm>
          <a:prstGeom prst="rect">
            <a:avLst/>
          </a:prstGeom>
        </p:spPr>
      </p:pic>
      <p:pic>
        <p:nvPicPr>
          <p:cNvPr id="31" name="Picture 30">
            <a:extLst>
              <a:ext uri="{FF2B5EF4-FFF2-40B4-BE49-F238E27FC236}">
                <a16:creationId xmlns:a16="http://schemas.microsoft.com/office/drawing/2014/main" id="{B8F37742-0A8D-D78A-71FB-53681DE56843}"/>
              </a:ext>
            </a:extLst>
          </p:cNvPr>
          <p:cNvPicPr>
            <a:picLocks noChangeAspect="1"/>
          </p:cNvPicPr>
          <p:nvPr userDrawn="1"/>
        </p:nvPicPr>
        <p:blipFill>
          <a:blip r:embed="rId310"/>
          <a:stretch>
            <a:fillRect/>
          </a:stretch>
        </p:blipFill>
        <p:spPr>
          <a:xfrm>
            <a:off x="372587" y="2073954"/>
            <a:ext cx="471691" cy="236355"/>
          </a:xfrm>
          <a:prstGeom prst="rect">
            <a:avLst/>
          </a:prstGeom>
        </p:spPr>
      </p:pic>
      <p:pic>
        <p:nvPicPr>
          <p:cNvPr id="32" name="Graphic 31">
            <a:extLst>
              <a:ext uri="{FF2B5EF4-FFF2-40B4-BE49-F238E27FC236}">
                <a16:creationId xmlns:a16="http://schemas.microsoft.com/office/drawing/2014/main" id="{49711F22-ABAE-848E-A11D-45C3E94C3608}"/>
              </a:ext>
            </a:extLst>
          </p:cNvPr>
          <p:cNvPicPr>
            <a:picLocks noChangeAspect="1"/>
          </p:cNvPicPr>
          <p:nvPr userDrawn="1"/>
        </p:nvPicPr>
        <p:blipFill>
          <a:blip r:embed="rId311">
            <a:extLst>
              <a:ext uri="{96DAC541-7B7A-43D3-8B79-37D633B846F1}">
                <asvg:svgBlip xmlns:asvg="http://schemas.microsoft.com/office/drawing/2016/SVG/main" r:embed="rId312"/>
              </a:ext>
            </a:extLst>
          </a:blip>
          <a:stretch>
            <a:fillRect/>
          </a:stretch>
        </p:blipFill>
        <p:spPr>
          <a:xfrm>
            <a:off x="995785" y="6020587"/>
            <a:ext cx="562406" cy="182896"/>
          </a:xfrm>
          <a:prstGeom prst="rect">
            <a:avLst/>
          </a:prstGeom>
        </p:spPr>
      </p:pic>
      <p:pic>
        <p:nvPicPr>
          <p:cNvPr id="33" name="Picture 32" descr="Logo&#10;&#10;Description automatically generated">
            <a:extLst>
              <a:ext uri="{FF2B5EF4-FFF2-40B4-BE49-F238E27FC236}">
                <a16:creationId xmlns:a16="http://schemas.microsoft.com/office/drawing/2014/main" id="{1FE56AA1-6C07-232E-331A-157764775A77}"/>
              </a:ext>
            </a:extLst>
          </p:cNvPr>
          <p:cNvPicPr>
            <a:picLocks noChangeAspect="1"/>
          </p:cNvPicPr>
          <p:nvPr userDrawn="1"/>
        </p:nvPicPr>
        <p:blipFill rotWithShape="1">
          <a:blip r:embed="rId313"/>
          <a:srcRect l="12229" t="22237" r="11435" b="22043"/>
          <a:stretch/>
        </p:blipFill>
        <p:spPr>
          <a:xfrm>
            <a:off x="985302" y="2046846"/>
            <a:ext cx="583371" cy="217125"/>
          </a:xfrm>
          <a:prstGeom prst="rect">
            <a:avLst/>
          </a:prstGeom>
        </p:spPr>
      </p:pic>
      <p:pic>
        <p:nvPicPr>
          <p:cNvPr id="34" name="Picture 33">
            <a:extLst>
              <a:ext uri="{FF2B5EF4-FFF2-40B4-BE49-F238E27FC236}">
                <a16:creationId xmlns:a16="http://schemas.microsoft.com/office/drawing/2014/main" id="{5E19DC3D-7C47-7DC1-7A71-9010945143F7}"/>
              </a:ext>
            </a:extLst>
          </p:cNvPr>
          <p:cNvPicPr>
            <a:picLocks noChangeAspect="1"/>
          </p:cNvPicPr>
          <p:nvPr userDrawn="1"/>
        </p:nvPicPr>
        <p:blipFill>
          <a:blip r:embed="rId314" cstate="print">
            <a:extLst>
              <a:ext uri="{28A0092B-C50C-407E-A947-70E740481C1C}">
                <a14:useLocalDpi xmlns:a14="http://schemas.microsoft.com/office/drawing/2010/main" val="0"/>
              </a:ext>
            </a:extLst>
          </a:blip>
          <a:stretch>
            <a:fillRect/>
          </a:stretch>
        </p:blipFill>
        <p:spPr>
          <a:xfrm>
            <a:off x="293260" y="2830147"/>
            <a:ext cx="463016" cy="369792"/>
          </a:xfrm>
          <a:prstGeom prst="rect">
            <a:avLst/>
          </a:prstGeom>
        </p:spPr>
      </p:pic>
      <p:pic>
        <p:nvPicPr>
          <p:cNvPr id="35" name="Graphic 34">
            <a:extLst>
              <a:ext uri="{FF2B5EF4-FFF2-40B4-BE49-F238E27FC236}">
                <a16:creationId xmlns:a16="http://schemas.microsoft.com/office/drawing/2014/main" id="{B6A38F86-951A-99D1-1889-6EDC4BC64909}"/>
              </a:ext>
            </a:extLst>
          </p:cNvPr>
          <p:cNvPicPr>
            <a:picLocks noChangeAspect="1"/>
          </p:cNvPicPr>
          <p:nvPr userDrawn="1"/>
        </p:nvPicPr>
        <p:blipFill>
          <a:blip r:embed="rId315">
            <a:extLst>
              <a:ext uri="{96DAC541-7B7A-43D3-8B79-37D633B846F1}">
                <asvg:svgBlip xmlns:asvg="http://schemas.microsoft.com/office/drawing/2016/SVG/main" r:embed="rId316"/>
              </a:ext>
            </a:extLst>
          </a:blip>
          <a:stretch>
            <a:fillRect/>
          </a:stretch>
        </p:blipFill>
        <p:spPr>
          <a:xfrm>
            <a:off x="862733" y="3050411"/>
            <a:ext cx="695458" cy="132137"/>
          </a:xfrm>
          <a:prstGeom prst="rect">
            <a:avLst/>
          </a:prstGeom>
        </p:spPr>
      </p:pic>
      <p:pic>
        <p:nvPicPr>
          <p:cNvPr id="36" name="Graphic 35">
            <a:extLst>
              <a:ext uri="{FF2B5EF4-FFF2-40B4-BE49-F238E27FC236}">
                <a16:creationId xmlns:a16="http://schemas.microsoft.com/office/drawing/2014/main" id="{465A51B2-CD31-7BBC-55E3-BA95F083FE47}"/>
              </a:ext>
            </a:extLst>
          </p:cNvPr>
          <p:cNvPicPr>
            <a:picLocks noChangeAspect="1"/>
          </p:cNvPicPr>
          <p:nvPr userDrawn="1"/>
        </p:nvPicPr>
        <p:blipFill>
          <a:blip r:embed="rId317">
            <a:extLst>
              <a:ext uri="{96DAC541-7B7A-43D3-8B79-37D633B846F1}">
                <asvg:svgBlip xmlns:asvg="http://schemas.microsoft.com/office/drawing/2016/SVG/main" r:embed="rId318"/>
              </a:ext>
            </a:extLst>
          </a:blip>
          <a:stretch>
            <a:fillRect/>
          </a:stretch>
        </p:blipFill>
        <p:spPr>
          <a:xfrm>
            <a:off x="351332" y="1451315"/>
            <a:ext cx="423831" cy="163012"/>
          </a:xfrm>
          <a:prstGeom prst="rect">
            <a:avLst/>
          </a:prstGeom>
        </p:spPr>
      </p:pic>
      <p:pic>
        <p:nvPicPr>
          <p:cNvPr id="37" name="Graphic 36">
            <a:extLst>
              <a:ext uri="{FF2B5EF4-FFF2-40B4-BE49-F238E27FC236}">
                <a16:creationId xmlns:a16="http://schemas.microsoft.com/office/drawing/2014/main" id="{DEA386B9-C325-8201-CBC0-A8CEB0F0363C}"/>
              </a:ext>
            </a:extLst>
          </p:cNvPr>
          <p:cNvPicPr>
            <a:picLocks noChangeAspect="1"/>
          </p:cNvPicPr>
          <p:nvPr userDrawn="1"/>
        </p:nvPicPr>
        <p:blipFill>
          <a:blip r:embed="rId319">
            <a:extLst>
              <a:ext uri="{96DAC541-7B7A-43D3-8B79-37D633B846F1}">
                <asvg:svgBlip xmlns:asvg="http://schemas.microsoft.com/office/drawing/2016/SVG/main" r:embed="rId320"/>
              </a:ext>
            </a:extLst>
          </a:blip>
          <a:stretch>
            <a:fillRect/>
          </a:stretch>
        </p:blipFill>
        <p:spPr>
          <a:xfrm>
            <a:off x="836496" y="2774232"/>
            <a:ext cx="684000" cy="85365"/>
          </a:xfrm>
          <a:prstGeom prst="rect">
            <a:avLst/>
          </a:prstGeom>
        </p:spPr>
      </p:pic>
      <p:pic>
        <p:nvPicPr>
          <p:cNvPr id="26" name="Picture 36">
            <a:extLst>
              <a:ext uri="{FF2B5EF4-FFF2-40B4-BE49-F238E27FC236}">
                <a16:creationId xmlns:a16="http://schemas.microsoft.com/office/drawing/2014/main" id="{3B7EC6E3-B411-E091-29B1-D720AAF9A80B}"/>
              </a:ext>
            </a:extLst>
          </p:cNvPr>
          <p:cNvPicPr>
            <a:picLocks noChangeAspect="1"/>
          </p:cNvPicPr>
          <p:nvPr userDrawn="1"/>
        </p:nvPicPr>
        <p:blipFill>
          <a:blip r:embed="rId321"/>
          <a:stretch>
            <a:fillRect/>
          </a:stretch>
        </p:blipFill>
        <p:spPr>
          <a:xfrm>
            <a:off x="7469326" y="3887532"/>
            <a:ext cx="1124406" cy="1229585"/>
          </a:xfrm>
          <a:prstGeom prst="rect">
            <a:avLst/>
          </a:prstGeom>
        </p:spPr>
      </p:pic>
      <p:pic>
        <p:nvPicPr>
          <p:cNvPr id="38" name="Grafik 37">
            <a:extLst>
              <a:ext uri="{FF2B5EF4-FFF2-40B4-BE49-F238E27FC236}">
                <a16:creationId xmlns:a16="http://schemas.microsoft.com/office/drawing/2014/main" id="{B29EF4FF-D3C9-D5B8-FACF-F520AEE643C8}"/>
              </a:ext>
            </a:extLst>
          </p:cNvPr>
          <p:cNvPicPr>
            <a:picLocks noChangeAspect="1"/>
          </p:cNvPicPr>
          <p:nvPr userDrawn="1"/>
        </p:nvPicPr>
        <p:blipFill>
          <a:blip r:embed="rId322"/>
          <a:stretch>
            <a:fillRect/>
          </a:stretch>
        </p:blipFill>
        <p:spPr>
          <a:xfrm>
            <a:off x="2547397" y="3944789"/>
            <a:ext cx="1128646" cy="1149167"/>
          </a:xfrm>
          <a:prstGeom prst="rect">
            <a:avLst/>
          </a:prstGeom>
        </p:spPr>
      </p:pic>
      <p:grpSp>
        <p:nvGrpSpPr>
          <p:cNvPr id="39" name="Gruppieren 38">
            <a:extLst>
              <a:ext uri="{FF2B5EF4-FFF2-40B4-BE49-F238E27FC236}">
                <a16:creationId xmlns:a16="http://schemas.microsoft.com/office/drawing/2014/main" id="{6C34F186-E3C8-1746-826E-F90E599D2BE7}"/>
              </a:ext>
            </a:extLst>
          </p:cNvPr>
          <p:cNvGrpSpPr>
            <a:grpSpLocks noChangeAspect="1"/>
          </p:cNvGrpSpPr>
          <p:nvPr userDrawn="1"/>
        </p:nvGrpSpPr>
        <p:grpSpPr>
          <a:xfrm>
            <a:off x="4149442" y="3887532"/>
            <a:ext cx="1128541" cy="1149525"/>
            <a:chOff x="6190596" y="792682"/>
            <a:chExt cx="5691173" cy="5797131"/>
          </a:xfrm>
        </p:grpSpPr>
        <p:grpSp>
          <p:nvGrpSpPr>
            <p:cNvPr id="40" name="Group 4">
              <a:extLst>
                <a:ext uri="{FF2B5EF4-FFF2-40B4-BE49-F238E27FC236}">
                  <a16:creationId xmlns:a16="http://schemas.microsoft.com/office/drawing/2014/main" id="{7BCAB9F5-603C-8515-5AD4-F9F205C2184B}"/>
                </a:ext>
              </a:extLst>
            </p:cNvPr>
            <p:cNvGrpSpPr>
              <a:grpSpLocks noChangeAspect="1"/>
            </p:cNvGrpSpPr>
            <p:nvPr/>
          </p:nvGrpSpPr>
          <p:grpSpPr>
            <a:xfrm>
              <a:off x="6190596" y="792682"/>
              <a:ext cx="5691173" cy="5797131"/>
              <a:chOff x="2940741" y="1700213"/>
              <a:chExt cx="4348519" cy="4429479"/>
            </a:xfrm>
          </p:grpSpPr>
          <p:sp>
            <p:nvSpPr>
              <p:cNvPr id="615" name="ee4p_AL_1_15912">
                <a:extLst>
                  <a:ext uri="{FF2B5EF4-FFF2-40B4-BE49-F238E27FC236}">
                    <a16:creationId xmlns:a16="http://schemas.microsoft.com/office/drawing/2014/main" id="{221E9B5F-FB14-BCCD-AA9D-67C7DE484A9E}"/>
                  </a:ext>
                </a:extLst>
              </p:cNvPr>
              <p:cNvSpPr>
                <a:spLocks noChangeAspect="1"/>
              </p:cNvSpPr>
              <p:nvPr>
                <p:custDataLst>
                  <p:tags r:id="rId237"/>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solidFill>
                <a:srgbClr val="FFFFFF">
                  <a:lumMod val="85000"/>
                </a:srgbClr>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16" name="ee4p_AD_1_15912">
                <a:extLst>
                  <a:ext uri="{FF2B5EF4-FFF2-40B4-BE49-F238E27FC236}">
                    <a16:creationId xmlns:a16="http://schemas.microsoft.com/office/drawing/2014/main" id="{0BAFB7EB-E321-75F3-3F59-7626C5E90121}"/>
                  </a:ext>
                </a:extLst>
              </p:cNvPr>
              <p:cNvSpPr>
                <a:spLocks noChangeAspect="1"/>
              </p:cNvSpPr>
              <p:nvPr>
                <p:custDataLst>
                  <p:tags r:id="rId238"/>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solidFill>
                <a:srgbClr val="6F7072"/>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17" name="ee4p_AT_1_15912">
                <a:extLst>
                  <a:ext uri="{FF2B5EF4-FFF2-40B4-BE49-F238E27FC236}">
                    <a16:creationId xmlns:a16="http://schemas.microsoft.com/office/drawing/2014/main" id="{4C370D2B-2644-507B-CE5C-D8CED2C6846A}"/>
                  </a:ext>
                </a:extLst>
              </p:cNvPr>
              <p:cNvSpPr>
                <a:spLocks noChangeAspect="1"/>
              </p:cNvSpPr>
              <p:nvPr>
                <p:custDataLst>
                  <p:tags r:id="rId239"/>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solidFill>
                <a:srgbClr val="AB5905"/>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18" name="ee4p_BE_1_15912">
                <a:extLst>
                  <a:ext uri="{FF2B5EF4-FFF2-40B4-BE49-F238E27FC236}">
                    <a16:creationId xmlns:a16="http://schemas.microsoft.com/office/drawing/2014/main" id="{852B3455-426F-82CB-A1CF-81CAA6200DF9}"/>
                  </a:ext>
                </a:extLst>
              </p:cNvPr>
              <p:cNvSpPr>
                <a:spLocks noChangeAspect="1"/>
              </p:cNvSpPr>
              <p:nvPr>
                <p:custDataLst>
                  <p:tags r:id="rId240"/>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solidFill>
                <a:srgbClr val="AB5905"/>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19" name="ee4p_BG_1_15912">
                <a:extLst>
                  <a:ext uri="{FF2B5EF4-FFF2-40B4-BE49-F238E27FC236}">
                    <a16:creationId xmlns:a16="http://schemas.microsoft.com/office/drawing/2014/main" id="{5D4AFAD5-FA6A-DB5E-4ABF-B5031BE2126E}"/>
                  </a:ext>
                </a:extLst>
              </p:cNvPr>
              <p:cNvSpPr>
                <a:spLocks noChangeAspect="1"/>
              </p:cNvSpPr>
              <p:nvPr>
                <p:custDataLst>
                  <p:tags r:id="rId241"/>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20" name="ee4p_BA_1_15912">
                <a:extLst>
                  <a:ext uri="{FF2B5EF4-FFF2-40B4-BE49-F238E27FC236}">
                    <a16:creationId xmlns:a16="http://schemas.microsoft.com/office/drawing/2014/main" id="{9D060F3F-2F46-BC75-361F-0CFF9BFBFE71}"/>
                  </a:ext>
                </a:extLst>
              </p:cNvPr>
              <p:cNvSpPr>
                <a:spLocks noChangeAspect="1"/>
              </p:cNvSpPr>
              <p:nvPr>
                <p:custDataLst>
                  <p:tags r:id="rId242"/>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solidFill>
                <a:srgbClr val="FFFFFF">
                  <a:lumMod val="85000"/>
                </a:srgbClr>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21" name="ee4p_CH_1_15912">
                <a:extLst>
                  <a:ext uri="{FF2B5EF4-FFF2-40B4-BE49-F238E27FC236}">
                    <a16:creationId xmlns:a16="http://schemas.microsoft.com/office/drawing/2014/main" id="{A14FF0CC-BF39-0F9D-204C-F2CA2DF731BD}"/>
                  </a:ext>
                </a:extLst>
              </p:cNvPr>
              <p:cNvSpPr>
                <a:spLocks noChangeAspect="1"/>
              </p:cNvSpPr>
              <p:nvPr>
                <p:custDataLst>
                  <p:tags r:id="rId243"/>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pattFill prst="dkUpDiag">
                <a:fgClr>
                  <a:srgbClr val="D9D9D9"/>
                </a:fgClr>
                <a:bgClr>
                  <a:srgbClr val="AB5905"/>
                </a:bgClr>
              </a:patt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22" name="ee4p_CZ_1_15912">
                <a:extLst>
                  <a:ext uri="{FF2B5EF4-FFF2-40B4-BE49-F238E27FC236}">
                    <a16:creationId xmlns:a16="http://schemas.microsoft.com/office/drawing/2014/main" id="{55B55E7C-4A59-DF56-4135-04CB24274AF3}"/>
                  </a:ext>
                </a:extLst>
              </p:cNvPr>
              <p:cNvSpPr>
                <a:spLocks noChangeAspect="1"/>
              </p:cNvSpPr>
              <p:nvPr>
                <p:custDataLst>
                  <p:tags r:id="rId244"/>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solidFill>
                <a:srgbClr val="AB5905"/>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23" name="ee4p_DE_1_15912">
                <a:extLst>
                  <a:ext uri="{FF2B5EF4-FFF2-40B4-BE49-F238E27FC236}">
                    <a16:creationId xmlns:a16="http://schemas.microsoft.com/office/drawing/2014/main" id="{29A6187C-9EFB-4957-9F69-26885AA3D60A}"/>
                  </a:ext>
                </a:extLst>
              </p:cNvPr>
              <p:cNvSpPr>
                <a:spLocks noChangeAspect="1"/>
              </p:cNvSpPr>
              <p:nvPr>
                <p:custDataLst>
                  <p:tags r:id="rId245"/>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rgbClr val="AB5905"/>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24" name="ee4p_DK_1_15912">
                <a:extLst>
                  <a:ext uri="{FF2B5EF4-FFF2-40B4-BE49-F238E27FC236}">
                    <a16:creationId xmlns:a16="http://schemas.microsoft.com/office/drawing/2014/main" id="{B57E3B1D-7D88-F354-F486-0858E9C01EAA}"/>
                  </a:ext>
                </a:extLst>
              </p:cNvPr>
              <p:cNvSpPr>
                <a:spLocks noChangeAspect="1"/>
              </p:cNvSpPr>
              <p:nvPr>
                <p:custDataLst>
                  <p:tags r:id="rId246"/>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25" name="ee4p_ES_1_15912">
                <a:extLst>
                  <a:ext uri="{FF2B5EF4-FFF2-40B4-BE49-F238E27FC236}">
                    <a16:creationId xmlns:a16="http://schemas.microsoft.com/office/drawing/2014/main" id="{E231CFAF-66DB-0FC4-0662-E891918BF9A1}"/>
                  </a:ext>
                </a:extLst>
              </p:cNvPr>
              <p:cNvSpPr>
                <a:spLocks noChangeAspect="1"/>
              </p:cNvSpPr>
              <p:nvPr>
                <p:custDataLst>
                  <p:tags r:id="rId247"/>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26" name="ee4p_ES_2_15912">
                <a:extLst>
                  <a:ext uri="{FF2B5EF4-FFF2-40B4-BE49-F238E27FC236}">
                    <a16:creationId xmlns:a16="http://schemas.microsoft.com/office/drawing/2014/main" id="{C4CC6B3C-0627-CE27-E930-564AF98865F0}"/>
                  </a:ext>
                </a:extLst>
              </p:cNvPr>
              <p:cNvSpPr>
                <a:spLocks noChangeAspect="1"/>
              </p:cNvSpPr>
              <p:nvPr>
                <p:custDataLst>
                  <p:tags r:id="rId248"/>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solidFill>
                <a:srgbClr val="AB5905"/>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27" name="ee4p_EE_1_15912">
                <a:extLst>
                  <a:ext uri="{FF2B5EF4-FFF2-40B4-BE49-F238E27FC236}">
                    <a16:creationId xmlns:a16="http://schemas.microsoft.com/office/drawing/2014/main" id="{33684074-5655-2976-EB5A-F35A0C0F3978}"/>
                  </a:ext>
                </a:extLst>
              </p:cNvPr>
              <p:cNvSpPr>
                <a:spLocks noChangeAspect="1"/>
              </p:cNvSpPr>
              <p:nvPr>
                <p:custDataLst>
                  <p:tags r:id="rId249"/>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solidFill>
                <a:srgbClr val="AB5905"/>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28" name="ee4p_FI_1_15912">
                <a:extLst>
                  <a:ext uri="{FF2B5EF4-FFF2-40B4-BE49-F238E27FC236}">
                    <a16:creationId xmlns:a16="http://schemas.microsoft.com/office/drawing/2014/main" id="{1B80BC89-AC2B-751E-6BFB-A1EE1275DBB8}"/>
                  </a:ext>
                </a:extLst>
              </p:cNvPr>
              <p:cNvSpPr>
                <a:spLocks noChangeAspect="1"/>
              </p:cNvSpPr>
              <p:nvPr>
                <p:custDataLst>
                  <p:tags r:id="rId250"/>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29" name="ee4p_FR_1_15912">
                <a:extLst>
                  <a:ext uri="{FF2B5EF4-FFF2-40B4-BE49-F238E27FC236}">
                    <a16:creationId xmlns:a16="http://schemas.microsoft.com/office/drawing/2014/main" id="{30D65BF8-89BD-9C51-DC42-0B98E0A9A03D}"/>
                  </a:ext>
                </a:extLst>
              </p:cNvPr>
              <p:cNvSpPr>
                <a:spLocks noChangeAspect="1"/>
              </p:cNvSpPr>
              <p:nvPr>
                <p:custDataLst>
                  <p:tags r:id="rId251"/>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pattFill prst="pct10">
                <a:fgClr>
                  <a:srgbClr val="000000"/>
                </a:fgClr>
                <a:bgClr>
                  <a:srgbClr val="DC7306"/>
                </a:bgClr>
              </a:patt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30" name="ee4p_GR_1_15912">
                <a:extLst>
                  <a:ext uri="{FF2B5EF4-FFF2-40B4-BE49-F238E27FC236}">
                    <a16:creationId xmlns:a16="http://schemas.microsoft.com/office/drawing/2014/main" id="{D9CAA93D-3405-2A70-542D-0B09595D7371}"/>
                  </a:ext>
                </a:extLst>
              </p:cNvPr>
              <p:cNvSpPr>
                <a:spLocks noChangeAspect="1"/>
              </p:cNvSpPr>
              <p:nvPr>
                <p:custDataLst>
                  <p:tags r:id="rId252"/>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31" name="ee4p_HR_1_15912">
                <a:extLst>
                  <a:ext uri="{FF2B5EF4-FFF2-40B4-BE49-F238E27FC236}">
                    <a16:creationId xmlns:a16="http://schemas.microsoft.com/office/drawing/2014/main" id="{884ED0CC-B36E-3937-EFF3-380187D9C64E}"/>
                  </a:ext>
                </a:extLst>
              </p:cNvPr>
              <p:cNvSpPr>
                <a:spLocks noChangeAspect="1"/>
              </p:cNvSpPr>
              <p:nvPr>
                <p:custDataLst>
                  <p:tags r:id="rId253"/>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32" name="ee4p_HU_1_15912">
                <a:extLst>
                  <a:ext uri="{FF2B5EF4-FFF2-40B4-BE49-F238E27FC236}">
                    <a16:creationId xmlns:a16="http://schemas.microsoft.com/office/drawing/2014/main" id="{FE3A07D6-24E8-D359-1E9A-779F91048C44}"/>
                  </a:ext>
                </a:extLst>
              </p:cNvPr>
              <p:cNvSpPr>
                <a:spLocks noChangeAspect="1"/>
              </p:cNvSpPr>
              <p:nvPr>
                <p:custDataLst>
                  <p:tags r:id="rId254"/>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33" name="ee4p_IT_1_15912">
                <a:extLst>
                  <a:ext uri="{FF2B5EF4-FFF2-40B4-BE49-F238E27FC236}">
                    <a16:creationId xmlns:a16="http://schemas.microsoft.com/office/drawing/2014/main" id="{F68FC2B6-586D-0EC5-8149-6A27C3A8488E}"/>
                  </a:ext>
                </a:extLst>
              </p:cNvPr>
              <p:cNvSpPr>
                <a:spLocks noChangeAspect="1"/>
              </p:cNvSpPr>
              <p:nvPr>
                <p:custDataLst>
                  <p:tags r:id="rId255"/>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34" name="ee4p_SM_1_15912">
                <a:extLst>
                  <a:ext uri="{FF2B5EF4-FFF2-40B4-BE49-F238E27FC236}">
                    <a16:creationId xmlns:a16="http://schemas.microsoft.com/office/drawing/2014/main" id="{55E0B55B-06B6-4D53-1BB2-2C01DCCFA2E9}"/>
                  </a:ext>
                </a:extLst>
              </p:cNvPr>
              <p:cNvSpPr>
                <a:spLocks noChangeAspect="1"/>
              </p:cNvSpPr>
              <p:nvPr>
                <p:custDataLst>
                  <p:tags r:id="rId256"/>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solidFill>
                <a:srgbClr val="6F7072"/>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35" name="ee4p_XK_1_15912">
                <a:extLst>
                  <a:ext uri="{FF2B5EF4-FFF2-40B4-BE49-F238E27FC236}">
                    <a16:creationId xmlns:a16="http://schemas.microsoft.com/office/drawing/2014/main" id="{178C976E-1C52-CDE7-4CA1-07AD1BF80C2F}"/>
                  </a:ext>
                </a:extLst>
              </p:cNvPr>
              <p:cNvSpPr>
                <a:spLocks noChangeAspect="1"/>
              </p:cNvSpPr>
              <p:nvPr>
                <p:custDataLst>
                  <p:tags r:id="rId257"/>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solidFill>
                <a:srgbClr val="FFFFFF">
                  <a:lumMod val="85000"/>
                </a:srgbClr>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36" name="ee4p_LI_1_15912">
                <a:extLst>
                  <a:ext uri="{FF2B5EF4-FFF2-40B4-BE49-F238E27FC236}">
                    <a16:creationId xmlns:a16="http://schemas.microsoft.com/office/drawing/2014/main" id="{55577357-4901-FB95-BC4F-A3B38410C1E5}"/>
                  </a:ext>
                </a:extLst>
              </p:cNvPr>
              <p:cNvSpPr>
                <a:spLocks noChangeAspect="1"/>
              </p:cNvSpPr>
              <p:nvPr>
                <p:custDataLst>
                  <p:tags r:id="rId258"/>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solidFill>
                <a:srgbClr val="6F7072"/>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37" name="ee4p_LT_1_15912">
                <a:extLst>
                  <a:ext uri="{FF2B5EF4-FFF2-40B4-BE49-F238E27FC236}">
                    <a16:creationId xmlns:a16="http://schemas.microsoft.com/office/drawing/2014/main" id="{95F6CECC-446F-BA7A-02DF-7FA64837271A}"/>
                  </a:ext>
                </a:extLst>
              </p:cNvPr>
              <p:cNvSpPr>
                <a:spLocks noChangeAspect="1"/>
              </p:cNvSpPr>
              <p:nvPr>
                <p:custDataLst>
                  <p:tags r:id="rId259"/>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solidFill>
                <a:srgbClr val="AB5905"/>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38" name="ee4p_LU_1_15912">
                <a:extLst>
                  <a:ext uri="{FF2B5EF4-FFF2-40B4-BE49-F238E27FC236}">
                    <a16:creationId xmlns:a16="http://schemas.microsoft.com/office/drawing/2014/main" id="{51544FE3-CFF0-BDF8-6E78-D2592C99EBE3}"/>
                  </a:ext>
                </a:extLst>
              </p:cNvPr>
              <p:cNvSpPr>
                <a:spLocks noChangeAspect="1"/>
              </p:cNvSpPr>
              <p:nvPr>
                <p:custDataLst>
                  <p:tags r:id="rId260"/>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solidFill>
                <a:srgbClr val="AB5905"/>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39" name="ee4p_LV_1_15912">
                <a:extLst>
                  <a:ext uri="{FF2B5EF4-FFF2-40B4-BE49-F238E27FC236}">
                    <a16:creationId xmlns:a16="http://schemas.microsoft.com/office/drawing/2014/main" id="{362C6A57-CDC1-DBCE-B044-9DE2714B05EE}"/>
                  </a:ext>
                </a:extLst>
              </p:cNvPr>
              <p:cNvSpPr>
                <a:spLocks noChangeAspect="1"/>
              </p:cNvSpPr>
              <p:nvPr>
                <p:custDataLst>
                  <p:tags r:id="rId261"/>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solidFill>
                <a:srgbClr val="AB5905"/>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40" name="ee4p_MC_1_15912">
                <a:extLst>
                  <a:ext uri="{FF2B5EF4-FFF2-40B4-BE49-F238E27FC236}">
                    <a16:creationId xmlns:a16="http://schemas.microsoft.com/office/drawing/2014/main" id="{3C4745C7-B18E-67E4-F239-5019082A8E0A}"/>
                  </a:ext>
                </a:extLst>
              </p:cNvPr>
              <p:cNvSpPr>
                <a:spLocks noChangeAspect="1"/>
              </p:cNvSpPr>
              <p:nvPr>
                <p:custDataLst>
                  <p:tags r:id="rId262"/>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solidFill>
                <a:srgbClr val="6F7072"/>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41" name="ee4p_MK_1_15912">
                <a:extLst>
                  <a:ext uri="{FF2B5EF4-FFF2-40B4-BE49-F238E27FC236}">
                    <a16:creationId xmlns:a16="http://schemas.microsoft.com/office/drawing/2014/main" id="{EA5C84A2-54E5-C737-4CA0-DE38585F1CAB}"/>
                  </a:ext>
                </a:extLst>
              </p:cNvPr>
              <p:cNvSpPr>
                <a:spLocks noChangeAspect="1"/>
              </p:cNvSpPr>
              <p:nvPr>
                <p:custDataLst>
                  <p:tags r:id="rId263"/>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solidFill>
                <a:srgbClr val="AB5905">
                  <a:lumMod val="20000"/>
                  <a:lumOff val="80000"/>
                </a:srgbClr>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42" name="ee4p_MT_1_15912">
                <a:extLst>
                  <a:ext uri="{FF2B5EF4-FFF2-40B4-BE49-F238E27FC236}">
                    <a16:creationId xmlns:a16="http://schemas.microsoft.com/office/drawing/2014/main" id="{870F97BA-D3A7-43E0-D055-AEF178335C93}"/>
                  </a:ext>
                </a:extLst>
              </p:cNvPr>
              <p:cNvSpPr>
                <a:spLocks noChangeAspect="1"/>
              </p:cNvSpPr>
              <p:nvPr>
                <p:custDataLst>
                  <p:tags r:id="rId264"/>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solidFill>
                <a:srgbClr val="6F7072"/>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43" name="ee4p_MT_2_15912">
                <a:extLst>
                  <a:ext uri="{FF2B5EF4-FFF2-40B4-BE49-F238E27FC236}">
                    <a16:creationId xmlns:a16="http://schemas.microsoft.com/office/drawing/2014/main" id="{78953FD9-2184-E214-4DB9-C3B52BC465DA}"/>
                  </a:ext>
                </a:extLst>
              </p:cNvPr>
              <p:cNvSpPr>
                <a:spLocks noChangeAspect="1"/>
              </p:cNvSpPr>
              <p:nvPr>
                <p:custDataLst>
                  <p:tags r:id="rId265"/>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solidFill>
                <a:srgbClr val="6F7072"/>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44" name="ee4p_ME_1_15912">
                <a:extLst>
                  <a:ext uri="{FF2B5EF4-FFF2-40B4-BE49-F238E27FC236}">
                    <a16:creationId xmlns:a16="http://schemas.microsoft.com/office/drawing/2014/main" id="{C67018B4-6D37-EB0F-FDF5-9A40435052EB}"/>
                  </a:ext>
                </a:extLst>
              </p:cNvPr>
              <p:cNvSpPr>
                <a:spLocks noChangeAspect="1"/>
              </p:cNvSpPr>
              <p:nvPr>
                <p:custDataLst>
                  <p:tags r:id="rId266"/>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solidFill>
                <a:srgbClr val="FFFFFF">
                  <a:lumMod val="85000"/>
                </a:srgbClr>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45" name="ee4p_NL_1_15912">
                <a:extLst>
                  <a:ext uri="{FF2B5EF4-FFF2-40B4-BE49-F238E27FC236}">
                    <a16:creationId xmlns:a16="http://schemas.microsoft.com/office/drawing/2014/main" id="{3B9ED1D8-6E06-B24B-162E-B7F4C33C709F}"/>
                  </a:ext>
                </a:extLst>
              </p:cNvPr>
              <p:cNvSpPr>
                <a:spLocks noChangeAspect="1"/>
              </p:cNvSpPr>
              <p:nvPr>
                <p:custDataLst>
                  <p:tags r:id="rId267"/>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46" name="ee4p_NO_1_15912">
                <a:extLst>
                  <a:ext uri="{FF2B5EF4-FFF2-40B4-BE49-F238E27FC236}">
                    <a16:creationId xmlns:a16="http://schemas.microsoft.com/office/drawing/2014/main" id="{5E3B3587-5C6A-3732-8BB2-B1CC1C496C90}"/>
                  </a:ext>
                </a:extLst>
              </p:cNvPr>
              <p:cNvSpPr>
                <a:spLocks noChangeAspect="1"/>
              </p:cNvSpPr>
              <p:nvPr>
                <p:custDataLst>
                  <p:tags r:id="rId268"/>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47" name="ee4p_PL_1_15912">
                <a:extLst>
                  <a:ext uri="{FF2B5EF4-FFF2-40B4-BE49-F238E27FC236}">
                    <a16:creationId xmlns:a16="http://schemas.microsoft.com/office/drawing/2014/main" id="{E7815DF0-05F0-FB55-7F24-C43C64857F49}"/>
                  </a:ext>
                </a:extLst>
              </p:cNvPr>
              <p:cNvSpPr>
                <a:spLocks noChangeAspect="1"/>
              </p:cNvSpPr>
              <p:nvPr>
                <p:custDataLst>
                  <p:tags r:id="rId269"/>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48" name="ee4p_PT_1_15912">
                <a:extLst>
                  <a:ext uri="{FF2B5EF4-FFF2-40B4-BE49-F238E27FC236}">
                    <a16:creationId xmlns:a16="http://schemas.microsoft.com/office/drawing/2014/main" id="{0FC5FE58-9265-1E6D-2DE2-48CD7E93A3B4}"/>
                  </a:ext>
                </a:extLst>
              </p:cNvPr>
              <p:cNvSpPr>
                <a:spLocks noChangeAspect="1"/>
              </p:cNvSpPr>
              <p:nvPr>
                <p:custDataLst>
                  <p:tags r:id="rId270"/>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solidFill>
                <a:srgbClr val="AB5905"/>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49" name="ee4p_RO_1_15912">
                <a:extLst>
                  <a:ext uri="{FF2B5EF4-FFF2-40B4-BE49-F238E27FC236}">
                    <a16:creationId xmlns:a16="http://schemas.microsoft.com/office/drawing/2014/main" id="{FE2C6369-CB16-EA0D-FB44-B755270F86C7}"/>
                  </a:ext>
                </a:extLst>
              </p:cNvPr>
              <p:cNvSpPr>
                <a:spLocks noChangeAspect="1"/>
              </p:cNvSpPr>
              <p:nvPr>
                <p:custDataLst>
                  <p:tags r:id="rId271"/>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50" name="ee4p_IT_2_15912">
                <a:extLst>
                  <a:ext uri="{FF2B5EF4-FFF2-40B4-BE49-F238E27FC236}">
                    <a16:creationId xmlns:a16="http://schemas.microsoft.com/office/drawing/2014/main" id="{027626CA-4534-2D2C-ACFF-E3918EDAA512}"/>
                  </a:ext>
                </a:extLst>
              </p:cNvPr>
              <p:cNvSpPr>
                <a:spLocks noChangeAspect="1"/>
              </p:cNvSpPr>
              <p:nvPr>
                <p:custDataLst>
                  <p:tags r:id="rId272"/>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51" name="ee4p_RS_1_15912">
                <a:extLst>
                  <a:ext uri="{FF2B5EF4-FFF2-40B4-BE49-F238E27FC236}">
                    <a16:creationId xmlns:a16="http://schemas.microsoft.com/office/drawing/2014/main" id="{4898EB58-3787-0127-A580-6075CFD992AB}"/>
                  </a:ext>
                </a:extLst>
              </p:cNvPr>
              <p:cNvSpPr>
                <a:spLocks noChangeAspect="1"/>
              </p:cNvSpPr>
              <p:nvPr>
                <p:custDataLst>
                  <p:tags r:id="rId273"/>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solidFill>
                <a:srgbClr val="FDDEBE"/>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52" name="ee4p_SK_1_15912">
                <a:extLst>
                  <a:ext uri="{FF2B5EF4-FFF2-40B4-BE49-F238E27FC236}">
                    <a16:creationId xmlns:a16="http://schemas.microsoft.com/office/drawing/2014/main" id="{5D00293C-1402-24A8-B9E0-92CFE40702D8}"/>
                  </a:ext>
                </a:extLst>
              </p:cNvPr>
              <p:cNvSpPr>
                <a:spLocks noChangeAspect="1"/>
              </p:cNvSpPr>
              <p:nvPr>
                <p:custDataLst>
                  <p:tags r:id="rId274"/>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solidFill>
                <a:srgbClr val="AB5905"/>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53" name="ee4p_SI_1_15912">
                <a:extLst>
                  <a:ext uri="{FF2B5EF4-FFF2-40B4-BE49-F238E27FC236}">
                    <a16:creationId xmlns:a16="http://schemas.microsoft.com/office/drawing/2014/main" id="{B858CF57-2649-A0D9-CB6E-EA2C26773B36}"/>
                  </a:ext>
                </a:extLst>
              </p:cNvPr>
              <p:cNvSpPr>
                <a:spLocks noChangeAspect="1"/>
              </p:cNvSpPr>
              <p:nvPr>
                <p:custDataLst>
                  <p:tags r:id="rId275"/>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54" name="ee4p_SE_1_15912">
                <a:extLst>
                  <a:ext uri="{FF2B5EF4-FFF2-40B4-BE49-F238E27FC236}">
                    <a16:creationId xmlns:a16="http://schemas.microsoft.com/office/drawing/2014/main" id="{CAE42BE4-6538-D433-6986-7CF463F9EB5A}"/>
                  </a:ext>
                </a:extLst>
              </p:cNvPr>
              <p:cNvSpPr>
                <a:spLocks noChangeAspect="1"/>
              </p:cNvSpPr>
              <p:nvPr>
                <p:custDataLst>
                  <p:tags r:id="rId276"/>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solidFill>
                <a:srgbClr val="DC7306"/>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55" name="ee4p_UA_1_15912">
                <a:extLst>
                  <a:ext uri="{FF2B5EF4-FFF2-40B4-BE49-F238E27FC236}">
                    <a16:creationId xmlns:a16="http://schemas.microsoft.com/office/drawing/2014/main" id="{D74E47B7-9490-1A94-62BA-E7EB712CBF28}"/>
                  </a:ext>
                </a:extLst>
              </p:cNvPr>
              <p:cNvSpPr>
                <a:spLocks noChangeAspect="1"/>
              </p:cNvSpPr>
              <p:nvPr>
                <p:custDataLst>
                  <p:tags r:id="rId277"/>
                </p:custDataLst>
              </p:nvPr>
            </p:nvSpPr>
            <p:spPr>
              <a:xfrm>
                <a:off x="5711734" y="4258461"/>
                <a:ext cx="1577526" cy="895745"/>
              </a:xfrm>
              <a:custGeom>
                <a:avLst/>
                <a:gdLst>
                  <a:gd name="connsiteX0" fmla="*/ 207344 w 397940"/>
                  <a:gd name="connsiteY0" fmla="*/ 171473 h 225957"/>
                  <a:gd name="connsiteX1" fmla="*/ 209026 w 397940"/>
                  <a:gd name="connsiteY1" fmla="*/ 173412 h 225957"/>
                  <a:gd name="connsiteX2" fmla="*/ 210212 w 397940"/>
                  <a:gd name="connsiteY2" fmla="*/ 174260 h 225957"/>
                  <a:gd name="connsiteX3" fmla="*/ 218475 w 397940"/>
                  <a:gd name="connsiteY3" fmla="*/ 176160 h 225957"/>
                  <a:gd name="connsiteX4" fmla="*/ 221524 w 397940"/>
                  <a:gd name="connsiteY4" fmla="*/ 177522 h 225957"/>
                  <a:gd name="connsiteX5" fmla="*/ 218413 w 397940"/>
                  <a:gd name="connsiteY5" fmla="*/ 177159 h 225957"/>
                  <a:gd name="connsiteX6" fmla="*/ 211576 w 397940"/>
                  <a:gd name="connsiteY6" fmla="*/ 175879 h 225957"/>
                  <a:gd name="connsiteX7" fmla="*/ 208562 w 397940"/>
                  <a:gd name="connsiteY7" fmla="*/ 174670 h 225957"/>
                  <a:gd name="connsiteX8" fmla="*/ 207784 w 397940"/>
                  <a:gd name="connsiteY8" fmla="*/ 173318 h 225957"/>
                  <a:gd name="connsiteX9" fmla="*/ 246666 w 397940"/>
                  <a:gd name="connsiteY9" fmla="*/ 0 h 225957"/>
                  <a:gd name="connsiteX10" fmla="*/ 250309 w 397940"/>
                  <a:gd name="connsiteY10" fmla="*/ 587 h 225957"/>
                  <a:gd name="connsiteX11" fmla="*/ 253881 w 397940"/>
                  <a:gd name="connsiteY11" fmla="*/ 622 h 225957"/>
                  <a:gd name="connsiteX12" fmla="*/ 256576 w 397940"/>
                  <a:gd name="connsiteY12" fmla="*/ 261 h 225957"/>
                  <a:gd name="connsiteX13" fmla="*/ 258424 w 397940"/>
                  <a:gd name="connsiteY13" fmla="*/ 1126 h 225957"/>
                  <a:gd name="connsiteX14" fmla="*/ 260707 w 397940"/>
                  <a:gd name="connsiteY14" fmla="*/ 3030 h 225957"/>
                  <a:gd name="connsiteX15" fmla="*/ 262769 w 397940"/>
                  <a:gd name="connsiteY15" fmla="*/ 5862 h 225957"/>
                  <a:gd name="connsiteX16" fmla="*/ 264930 w 397940"/>
                  <a:gd name="connsiteY16" fmla="*/ 11080 h 225957"/>
                  <a:gd name="connsiteX17" fmla="*/ 271227 w 397940"/>
                  <a:gd name="connsiteY17" fmla="*/ 16962 h 225957"/>
                  <a:gd name="connsiteX18" fmla="*/ 271335 w 397940"/>
                  <a:gd name="connsiteY18" fmla="*/ 18109 h 225957"/>
                  <a:gd name="connsiteX19" fmla="*/ 270817 w 397940"/>
                  <a:gd name="connsiteY19" fmla="*/ 18846 h 225957"/>
                  <a:gd name="connsiteX20" fmla="*/ 267718 w 397940"/>
                  <a:gd name="connsiteY20" fmla="*/ 19561 h 225957"/>
                  <a:gd name="connsiteX21" fmla="*/ 265107 w 397940"/>
                  <a:gd name="connsiteY21" fmla="*/ 19946 h 225957"/>
                  <a:gd name="connsiteX22" fmla="*/ 264982 w 397940"/>
                  <a:gd name="connsiteY22" fmla="*/ 20953 h 225957"/>
                  <a:gd name="connsiteX23" fmla="*/ 265675 w 397940"/>
                  <a:gd name="connsiteY23" fmla="*/ 22042 h 225957"/>
                  <a:gd name="connsiteX24" fmla="*/ 266872 w 397940"/>
                  <a:gd name="connsiteY24" fmla="*/ 23635 h 225957"/>
                  <a:gd name="connsiteX25" fmla="*/ 267057 w 397940"/>
                  <a:gd name="connsiteY25" fmla="*/ 25685 h 225957"/>
                  <a:gd name="connsiteX26" fmla="*/ 266997 w 397940"/>
                  <a:gd name="connsiteY26" fmla="*/ 27569 h 225957"/>
                  <a:gd name="connsiteX27" fmla="*/ 267513 w 397940"/>
                  <a:gd name="connsiteY27" fmla="*/ 29233 h 225957"/>
                  <a:gd name="connsiteX28" fmla="*/ 268511 w 397940"/>
                  <a:gd name="connsiteY28" fmla="*/ 29909 h 225957"/>
                  <a:gd name="connsiteX29" fmla="*/ 268636 w 397940"/>
                  <a:gd name="connsiteY29" fmla="*/ 30745 h 225957"/>
                  <a:gd name="connsiteX30" fmla="*/ 267481 w 397940"/>
                  <a:gd name="connsiteY30" fmla="*/ 31766 h 225957"/>
                  <a:gd name="connsiteX31" fmla="*/ 267159 w 397940"/>
                  <a:gd name="connsiteY31" fmla="*/ 32396 h 225957"/>
                  <a:gd name="connsiteX32" fmla="*/ 267608 w 397940"/>
                  <a:gd name="connsiteY32" fmla="*/ 32735 h 225957"/>
                  <a:gd name="connsiteX33" fmla="*/ 273287 w 397940"/>
                  <a:gd name="connsiteY33" fmla="*/ 32932 h 225957"/>
                  <a:gd name="connsiteX34" fmla="*/ 276068 w 397940"/>
                  <a:gd name="connsiteY34" fmla="*/ 33926 h 225957"/>
                  <a:gd name="connsiteX35" fmla="*/ 278180 w 397940"/>
                  <a:gd name="connsiteY35" fmla="*/ 34831 h 225957"/>
                  <a:gd name="connsiteX36" fmla="*/ 279243 w 397940"/>
                  <a:gd name="connsiteY36" fmla="*/ 34915 h 225957"/>
                  <a:gd name="connsiteX37" fmla="*/ 281635 w 397940"/>
                  <a:gd name="connsiteY37" fmla="*/ 34333 h 225957"/>
                  <a:gd name="connsiteX38" fmla="*/ 284326 w 397940"/>
                  <a:gd name="connsiteY38" fmla="*/ 33966 h 225957"/>
                  <a:gd name="connsiteX39" fmla="*/ 285958 w 397940"/>
                  <a:gd name="connsiteY39" fmla="*/ 33917 h 225957"/>
                  <a:gd name="connsiteX40" fmla="*/ 286589 w 397940"/>
                  <a:gd name="connsiteY40" fmla="*/ 34584 h 225957"/>
                  <a:gd name="connsiteX41" fmla="*/ 287092 w 397940"/>
                  <a:gd name="connsiteY41" fmla="*/ 36334 h 225957"/>
                  <a:gd name="connsiteX42" fmla="*/ 288038 w 397940"/>
                  <a:gd name="connsiteY42" fmla="*/ 38084 h 225957"/>
                  <a:gd name="connsiteX43" fmla="*/ 288921 w 397940"/>
                  <a:gd name="connsiteY43" fmla="*/ 38584 h 225957"/>
                  <a:gd name="connsiteX44" fmla="*/ 290493 w 397940"/>
                  <a:gd name="connsiteY44" fmla="*/ 38500 h 225957"/>
                  <a:gd name="connsiteX45" fmla="*/ 291439 w 397940"/>
                  <a:gd name="connsiteY45" fmla="*/ 38584 h 225957"/>
                  <a:gd name="connsiteX46" fmla="*/ 291944 w 397940"/>
                  <a:gd name="connsiteY46" fmla="*/ 39249 h 225957"/>
                  <a:gd name="connsiteX47" fmla="*/ 291376 w 397940"/>
                  <a:gd name="connsiteY47" fmla="*/ 40249 h 225957"/>
                  <a:gd name="connsiteX48" fmla="*/ 291502 w 397940"/>
                  <a:gd name="connsiteY48" fmla="*/ 41329 h 225957"/>
                  <a:gd name="connsiteX49" fmla="*/ 292195 w 397940"/>
                  <a:gd name="connsiteY49" fmla="*/ 42660 h 225957"/>
                  <a:gd name="connsiteX50" fmla="*/ 293015 w 397940"/>
                  <a:gd name="connsiteY50" fmla="*/ 45733 h 225957"/>
                  <a:gd name="connsiteX51" fmla="*/ 293771 w 397940"/>
                  <a:gd name="connsiteY51" fmla="*/ 46646 h 225957"/>
                  <a:gd name="connsiteX52" fmla="*/ 294274 w 397940"/>
                  <a:gd name="connsiteY52" fmla="*/ 47808 h 225957"/>
                  <a:gd name="connsiteX53" fmla="*/ 294274 w 397940"/>
                  <a:gd name="connsiteY53" fmla="*/ 49135 h 225957"/>
                  <a:gd name="connsiteX54" fmla="*/ 293644 w 397940"/>
                  <a:gd name="connsiteY54" fmla="*/ 50295 h 225957"/>
                  <a:gd name="connsiteX55" fmla="*/ 293203 w 397940"/>
                  <a:gd name="connsiteY55" fmla="*/ 51205 h 225957"/>
                  <a:gd name="connsiteX56" fmla="*/ 293644 w 397940"/>
                  <a:gd name="connsiteY56" fmla="*/ 53275 h 225957"/>
                  <a:gd name="connsiteX57" fmla="*/ 295343 w 397940"/>
                  <a:gd name="connsiteY57" fmla="*/ 55592 h 225957"/>
                  <a:gd name="connsiteX58" fmla="*/ 296604 w 397940"/>
                  <a:gd name="connsiteY58" fmla="*/ 56170 h 225957"/>
                  <a:gd name="connsiteX59" fmla="*/ 297613 w 397940"/>
                  <a:gd name="connsiteY59" fmla="*/ 58236 h 225957"/>
                  <a:gd name="connsiteX60" fmla="*/ 299439 w 397940"/>
                  <a:gd name="connsiteY60" fmla="*/ 58896 h 225957"/>
                  <a:gd name="connsiteX61" fmla="*/ 302147 w 397940"/>
                  <a:gd name="connsiteY61" fmla="*/ 57163 h 225957"/>
                  <a:gd name="connsiteX62" fmla="*/ 304227 w 397940"/>
                  <a:gd name="connsiteY62" fmla="*/ 56254 h 225957"/>
                  <a:gd name="connsiteX63" fmla="*/ 306827 w 397940"/>
                  <a:gd name="connsiteY63" fmla="*/ 56759 h 225957"/>
                  <a:gd name="connsiteX64" fmla="*/ 309228 w 397940"/>
                  <a:gd name="connsiteY64" fmla="*/ 57082 h 225957"/>
                  <a:gd name="connsiteX65" fmla="*/ 310843 w 397940"/>
                  <a:gd name="connsiteY65" fmla="*/ 58263 h 225957"/>
                  <a:gd name="connsiteX66" fmla="*/ 312035 w 397940"/>
                  <a:gd name="connsiteY66" fmla="*/ 59887 h 225957"/>
                  <a:gd name="connsiteX67" fmla="*/ 313422 w 397940"/>
                  <a:gd name="connsiteY67" fmla="*/ 60794 h 225957"/>
                  <a:gd name="connsiteX68" fmla="*/ 314810 w 397940"/>
                  <a:gd name="connsiteY68" fmla="*/ 60320 h 225957"/>
                  <a:gd name="connsiteX69" fmla="*/ 317706 w 397940"/>
                  <a:gd name="connsiteY69" fmla="*/ 60794 h 225957"/>
                  <a:gd name="connsiteX70" fmla="*/ 319029 w 397940"/>
                  <a:gd name="connsiteY70" fmla="*/ 62114 h 225957"/>
                  <a:gd name="connsiteX71" fmla="*/ 320351 w 397940"/>
                  <a:gd name="connsiteY71" fmla="*/ 62856 h 225957"/>
                  <a:gd name="connsiteX72" fmla="*/ 322052 w 397940"/>
                  <a:gd name="connsiteY72" fmla="*/ 61785 h 225957"/>
                  <a:gd name="connsiteX73" fmla="*/ 323439 w 397940"/>
                  <a:gd name="connsiteY73" fmla="*/ 60465 h 225957"/>
                  <a:gd name="connsiteX74" fmla="*/ 328511 w 397940"/>
                  <a:gd name="connsiteY74" fmla="*/ 59082 h 225957"/>
                  <a:gd name="connsiteX75" fmla="*/ 331668 w 397940"/>
                  <a:gd name="connsiteY75" fmla="*/ 58736 h 225957"/>
                  <a:gd name="connsiteX76" fmla="*/ 332549 w 397940"/>
                  <a:gd name="connsiteY76" fmla="*/ 58464 h 225957"/>
                  <a:gd name="connsiteX77" fmla="*/ 334402 w 397940"/>
                  <a:gd name="connsiteY77" fmla="*/ 57476 h 225957"/>
                  <a:gd name="connsiteX78" fmla="*/ 336354 w 397940"/>
                  <a:gd name="connsiteY78" fmla="*/ 56819 h 225957"/>
                  <a:gd name="connsiteX79" fmla="*/ 338116 w 397940"/>
                  <a:gd name="connsiteY79" fmla="*/ 56997 h 225957"/>
                  <a:gd name="connsiteX80" fmla="*/ 339852 w 397940"/>
                  <a:gd name="connsiteY80" fmla="*/ 59049 h 225957"/>
                  <a:gd name="connsiteX81" fmla="*/ 341643 w 397940"/>
                  <a:gd name="connsiteY81" fmla="*/ 60465 h 225957"/>
                  <a:gd name="connsiteX82" fmla="*/ 342146 w 397940"/>
                  <a:gd name="connsiteY82" fmla="*/ 62691 h 225957"/>
                  <a:gd name="connsiteX83" fmla="*/ 344337 w 397940"/>
                  <a:gd name="connsiteY83" fmla="*/ 65753 h 225957"/>
                  <a:gd name="connsiteX84" fmla="*/ 349779 w 397940"/>
                  <a:gd name="connsiteY84" fmla="*/ 69936 h 225957"/>
                  <a:gd name="connsiteX85" fmla="*/ 351915 w 397940"/>
                  <a:gd name="connsiteY85" fmla="*/ 71211 h 225957"/>
                  <a:gd name="connsiteX86" fmla="*/ 353366 w 397940"/>
                  <a:gd name="connsiteY86" fmla="*/ 70986 h 225957"/>
                  <a:gd name="connsiteX87" fmla="*/ 354124 w 397940"/>
                  <a:gd name="connsiteY87" fmla="*/ 70652 h 225957"/>
                  <a:gd name="connsiteX88" fmla="*/ 354476 w 397940"/>
                  <a:gd name="connsiteY88" fmla="*/ 70215 h 225957"/>
                  <a:gd name="connsiteX89" fmla="*/ 354804 w 397940"/>
                  <a:gd name="connsiteY89" fmla="*/ 68170 h 225957"/>
                  <a:gd name="connsiteX90" fmla="*/ 355493 w 397940"/>
                  <a:gd name="connsiteY90" fmla="*/ 67417 h 225957"/>
                  <a:gd name="connsiteX91" fmla="*/ 356596 w 397940"/>
                  <a:gd name="connsiteY91" fmla="*/ 67392 h 225957"/>
                  <a:gd name="connsiteX92" fmla="*/ 360855 w 397940"/>
                  <a:gd name="connsiteY92" fmla="*/ 69940 h 225957"/>
                  <a:gd name="connsiteX93" fmla="*/ 363083 w 397940"/>
                  <a:gd name="connsiteY93" fmla="*/ 70214 h 225957"/>
                  <a:gd name="connsiteX94" fmla="*/ 365201 w 397940"/>
                  <a:gd name="connsiteY94" fmla="*/ 70263 h 225957"/>
                  <a:gd name="connsiteX95" fmla="*/ 368052 w 397940"/>
                  <a:gd name="connsiteY95" fmla="*/ 72240 h 225957"/>
                  <a:gd name="connsiteX96" fmla="*/ 371185 w 397940"/>
                  <a:gd name="connsiteY96" fmla="*/ 73958 h 225957"/>
                  <a:gd name="connsiteX97" fmla="*/ 373603 w 397940"/>
                  <a:gd name="connsiteY97" fmla="*/ 74139 h 225957"/>
                  <a:gd name="connsiteX98" fmla="*/ 375532 w 397940"/>
                  <a:gd name="connsiteY98" fmla="*/ 73467 h 225957"/>
                  <a:gd name="connsiteX99" fmla="*/ 376856 w 397940"/>
                  <a:gd name="connsiteY99" fmla="*/ 73058 h 225957"/>
                  <a:gd name="connsiteX100" fmla="*/ 377674 w 397940"/>
                  <a:gd name="connsiteY100" fmla="*/ 73713 h 225957"/>
                  <a:gd name="connsiteX101" fmla="*/ 378430 w 397940"/>
                  <a:gd name="connsiteY101" fmla="*/ 75190 h 225957"/>
                  <a:gd name="connsiteX102" fmla="*/ 379689 w 397940"/>
                  <a:gd name="connsiteY102" fmla="*/ 76338 h 225957"/>
                  <a:gd name="connsiteX103" fmla="*/ 381138 w 397940"/>
                  <a:gd name="connsiteY103" fmla="*/ 76666 h 225957"/>
                  <a:gd name="connsiteX104" fmla="*/ 383223 w 397940"/>
                  <a:gd name="connsiteY104" fmla="*/ 76741 h 225957"/>
                  <a:gd name="connsiteX105" fmla="*/ 386845 w 397940"/>
                  <a:gd name="connsiteY105" fmla="*/ 78966 h 225957"/>
                  <a:gd name="connsiteX106" fmla="*/ 390250 w 397940"/>
                  <a:gd name="connsiteY106" fmla="*/ 81226 h 225957"/>
                  <a:gd name="connsiteX107" fmla="*/ 392379 w 397940"/>
                  <a:gd name="connsiteY107" fmla="*/ 81351 h 225957"/>
                  <a:gd name="connsiteX108" fmla="*/ 394185 w 397940"/>
                  <a:gd name="connsiteY108" fmla="*/ 80688 h 225957"/>
                  <a:gd name="connsiteX109" fmla="*/ 395780 w 397940"/>
                  <a:gd name="connsiteY109" fmla="*/ 80517 h 225957"/>
                  <a:gd name="connsiteX110" fmla="*/ 396886 w 397940"/>
                  <a:gd name="connsiteY110" fmla="*/ 81087 h 225957"/>
                  <a:gd name="connsiteX111" fmla="*/ 397201 w 397940"/>
                  <a:gd name="connsiteY111" fmla="*/ 82069 h 225957"/>
                  <a:gd name="connsiteX112" fmla="*/ 396381 w 397940"/>
                  <a:gd name="connsiteY112" fmla="*/ 83378 h 225957"/>
                  <a:gd name="connsiteX113" fmla="*/ 396381 w 397940"/>
                  <a:gd name="connsiteY113" fmla="*/ 85258 h 225957"/>
                  <a:gd name="connsiteX114" fmla="*/ 397892 w 397940"/>
                  <a:gd name="connsiteY114" fmla="*/ 87055 h 225957"/>
                  <a:gd name="connsiteX115" fmla="*/ 397940 w 397940"/>
                  <a:gd name="connsiteY115" fmla="*/ 88820 h 225957"/>
                  <a:gd name="connsiteX116" fmla="*/ 397508 w 397940"/>
                  <a:gd name="connsiteY116" fmla="*/ 90413 h 225957"/>
                  <a:gd name="connsiteX117" fmla="*/ 396651 w 397940"/>
                  <a:gd name="connsiteY117" fmla="*/ 91880 h 225957"/>
                  <a:gd name="connsiteX118" fmla="*/ 394580 w 397940"/>
                  <a:gd name="connsiteY118" fmla="*/ 93894 h 225957"/>
                  <a:gd name="connsiteX119" fmla="*/ 392664 w 397940"/>
                  <a:gd name="connsiteY119" fmla="*/ 95773 h 225957"/>
                  <a:gd name="connsiteX120" fmla="*/ 389784 w 397940"/>
                  <a:gd name="connsiteY120" fmla="*/ 96558 h 225957"/>
                  <a:gd name="connsiteX121" fmla="*/ 388171 w 397940"/>
                  <a:gd name="connsiteY121" fmla="*/ 97376 h 225957"/>
                  <a:gd name="connsiteX122" fmla="*/ 388594 w 397940"/>
                  <a:gd name="connsiteY122" fmla="*/ 98755 h 225957"/>
                  <a:gd name="connsiteX123" fmla="*/ 389648 w 397940"/>
                  <a:gd name="connsiteY123" fmla="*/ 100041 h 225957"/>
                  <a:gd name="connsiteX124" fmla="*/ 392090 w 397940"/>
                  <a:gd name="connsiteY124" fmla="*/ 101081 h 225957"/>
                  <a:gd name="connsiteX125" fmla="*/ 394863 w 397940"/>
                  <a:gd name="connsiteY125" fmla="*/ 101838 h 225957"/>
                  <a:gd name="connsiteX126" fmla="*/ 395182 w 397940"/>
                  <a:gd name="connsiteY126" fmla="*/ 102673 h 225957"/>
                  <a:gd name="connsiteX127" fmla="*/ 394759 w 397940"/>
                  <a:gd name="connsiteY127" fmla="*/ 103092 h 225957"/>
                  <a:gd name="connsiteX128" fmla="*/ 392982 w 397940"/>
                  <a:gd name="connsiteY128" fmla="*/ 103480 h 225957"/>
                  <a:gd name="connsiteX129" fmla="*/ 390522 w 397940"/>
                  <a:gd name="connsiteY129" fmla="*/ 103082 h 225957"/>
                  <a:gd name="connsiteX130" fmla="*/ 389704 w 397940"/>
                  <a:gd name="connsiteY130" fmla="*/ 103812 h 225957"/>
                  <a:gd name="connsiteX131" fmla="*/ 388570 w 397940"/>
                  <a:gd name="connsiteY131" fmla="*/ 105028 h 225957"/>
                  <a:gd name="connsiteX132" fmla="*/ 387815 w 397940"/>
                  <a:gd name="connsiteY132" fmla="*/ 107215 h 225957"/>
                  <a:gd name="connsiteX133" fmla="*/ 387246 w 397940"/>
                  <a:gd name="connsiteY133" fmla="*/ 109239 h 225957"/>
                  <a:gd name="connsiteX134" fmla="*/ 389916 w 397940"/>
                  <a:gd name="connsiteY134" fmla="*/ 109788 h 225957"/>
                  <a:gd name="connsiteX135" fmla="*/ 391468 w 397940"/>
                  <a:gd name="connsiteY135" fmla="*/ 110614 h 225957"/>
                  <a:gd name="connsiteX136" fmla="*/ 391952 w 397940"/>
                  <a:gd name="connsiteY136" fmla="*/ 112276 h 225957"/>
                  <a:gd name="connsiteX137" fmla="*/ 392507 w 397940"/>
                  <a:gd name="connsiteY137" fmla="*/ 114123 h 225957"/>
                  <a:gd name="connsiteX138" fmla="*/ 392667 w 397940"/>
                  <a:gd name="connsiteY138" fmla="*/ 115785 h 225957"/>
                  <a:gd name="connsiteX139" fmla="*/ 391783 w 397940"/>
                  <a:gd name="connsiteY139" fmla="*/ 116592 h 225957"/>
                  <a:gd name="connsiteX140" fmla="*/ 391730 w 397940"/>
                  <a:gd name="connsiteY140" fmla="*/ 117418 h 225957"/>
                  <a:gd name="connsiteX141" fmla="*/ 392146 w 397940"/>
                  <a:gd name="connsiteY141" fmla="*/ 117824 h 225957"/>
                  <a:gd name="connsiteX142" fmla="*/ 393293 w 397940"/>
                  <a:gd name="connsiteY142" fmla="*/ 118008 h 225957"/>
                  <a:gd name="connsiteX143" fmla="*/ 394172 w 397940"/>
                  <a:gd name="connsiteY143" fmla="*/ 118377 h 225957"/>
                  <a:gd name="connsiteX144" fmla="*/ 394241 w 397940"/>
                  <a:gd name="connsiteY144" fmla="*/ 119253 h 225957"/>
                  <a:gd name="connsiteX145" fmla="*/ 392561 w 397940"/>
                  <a:gd name="connsiteY145" fmla="*/ 121220 h 225957"/>
                  <a:gd name="connsiteX146" fmla="*/ 390989 w 397940"/>
                  <a:gd name="connsiteY146" fmla="*/ 124979 h 225957"/>
                  <a:gd name="connsiteX147" fmla="*/ 390144 w 397940"/>
                  <a:gd name="connsiteY147" fmla="*/ 126978 h 225957"/>
                  <a:gd name="connsiteX148" fmla="*/ 390209 w 397940"/>
                  <a:gd name="connsiteY148" fmla="*/ 129146 h 225957"/>
                  <a:gd name="connsiteX149" fmla="*/ 389263 w 397940"/>
                  <a:gd name="connsiteY149" fmla="*/ 130350 h 225957"/>
                  <a:gd name="connsiteX150" fmla="*/ 387551 w 397940"/>
                  <a:gd name="connsiteY150" fmla="*/ 130452 h 225957"/>
                  <a:gd name="connsiteX151" fmla="*/ 381636 w 397940"/>
                  <a:gd name="connsiteY151" fmla="*/ 130662 h 225957"/>
                  <a:gd name="connsiteX152" fmla="*/ 376495 w 397940"/>
                  <a:gd name="connsiteY152" fmla="*/ 130559 h 225957"/>
                  <a:gd name="connsiteX153" fmla="*/ 374269 w 397940"/>
                  <a:gd name="connsiteY153" fmla="*/ 130247 h 225957"/>
                  <a:gd name="connsiteX154" fmla="*/ 370785 w 397940"/>
                  <a:gd name="connsiteY154" fmla="*/ 130060 h 225957"/>
                  <a:gd name="connsiteX155" fmla="*/ 369060 w 397940"/>
                  <a:gd name="connsiteY155" fmla="*/ 130570 h 225957"/>
                  <a:gd name="connsiteX156" fmla="*/ 366776 w 397940"/>
                  <a:gd name="connsiteY156" fmla="*/ 134029 h 225957"/>
                  <a:gd name="connsiteX157" fmla="*/ 365044 w 397940"/>
                  <a:gd name="connsiteY157" fmla="*/ 135384 h 225957"/>
                  <a:gd name="connsiteX158" fmla="*/ 362176 w 397940"/>
                  <a:gd name="connsiteY158" fmla="*/ 136607 h 225957"/>
                  <a:gd name="connsiteX159" fmla="*/ 359034 w 397940"/>
                  <a:gd name="connsiteY159" fmla="*/ 136957 h 225957"/>
                  <a:gd name="connsiteX160" fmla="*/ 357233 w 397940"/>
                  <a:gd name="connsiteY160" fmla="*/ 138383 h 225957"/>
                  <a:gd name="connsiteX161" fmla="*/ 356601 w 397940"/>
                  <a:gd name="connsiteY161" fmla="*/ 140618 h 225957"/>
                  <a:gd name="connsiteX162" fmla="*/ 356551 w 397940"/>
                  <a:gd name="connsiteY162" fmla="*/ 142598 h 225957"/>
                  <a:gd name="connsiteX163" fmla="*/ 356257 w 397940"/>
                  <a:gd name="connsiteY163" fmla="*/ 143586 h 225957"/>
                  <a:gd name="connsiteX164" fmla="*/ 355575 w 397940"/>
                  <a:gd name="connsiteY164" fmla="*/ 144452 h 225957"/>
                  <a:gd name="connsiteX165" fmla="*/ 355331 w 397940"/>
                  <a:gd name="connsiteY165" fmla="*/ 145068 h 225957"/>
                  <a:gd name="connsiteX166" fmla="*/ 355477 w 397940"/>
                  <a:gd name="connsiteY166" fmla="*/ 145747 h 225957"/>
                  <a:gd name="connsiteX167" fmla="*/ 356208 w 397940"/>
                  <a:gd name="connsiteY167" fmla="*/ 145994 h 225957"/>
                  <a:gd name="connsiteX168" fmla="*/ 357086 w 397940"/>
                  <a:gd name="connsiteY168" fmla="*/ 146303 h 225957"/>
                  <a:gd name="connsiteX169" fmla="*/ 357086 w 397940"/>
                  <a:gd name="connsiteY169" fmla="*/ 146797 h 225957"/>
                  <a:gd name="connsiteX170" fmla="*/ 356745 w 397940"/>
                  <a:gd name="connsiteY170" fmla="*/ 147414 h 225957"/>
                  <a:gd name="connsiteX171" fmla="*/ 355769 w 397940"/>
                  <a:gd name="connsiteY171" fmla="*/ 148092 h 225957"/>
                  <a:gd name="connsiteX172" fmla="*/ 355331 w 397940"/>
                  <a:gd name="connsiteY172" fmla="*/ 149141 h 225957"/>
                  <a:gd name="connsiteX173" fmla="*/ 355430 w 397940"/>
                  <a:gd name="connsiteY173" fmla="*/ 150249 h 225957"/>
                  <a:gd name="connsiteX174" fmla="*/ 355618 w 397940"/>
                  <a:gd name="connsiteY174" fmla="*/ 151483 h 225957"/>
                  <a:gd name="connsiteX175" fmla="*/ 354821 w 397940"/>
                  <a:gd name="connsiteY175" fmla="*/ 151796 h 225957"/>
                  <a:gd name="connsiteX176" fmla="*/ 347091 w 397940"/>
                  <a:gd name="connsiteY176" fmla="*/ 151360 h 225957"/>
                  <a:gd name="connsiteX177" fmla="*/ 340781 w 397940"/>
                  <a:gd name="connsiteY177" fmla="*/ 151954 h 225957"/>
                  <a:gd name="connsiteX178" fmla="*/ 336281 w 397940"/>
                  <a:gd name="connsiteY178" fmla="*/ 156355 h 225957"/>
                  <a:gd name="connsiteX179" fmla="*/ 333599 w 397940"/>
                  <a:gd name="connsiteY179" fmla="*/ 156343 h 225957"/>
                  <a:gd name="connsiteX180" fmla="*/ 329818 w 397940"/>
                  <a:gd name="connsiteY180" fmla="*/ 157489 h 225957"/>
                  <a:gd name="connsiteX181" fmla="*/ 327263 w 397940"/>
                  <a:gd name="connsiteY181" fmla="*/ 158912 h 225957"/>
                  <a:gd name="connsiteX182" fmla="*/ 324229 w 397940"/>
                  <a:gd name="connsiteY182" fmla="*/ 161995 h 225957"/>
                  <a:gd name="connsiteX183" fmla="*/ 321882 w 397940"/>
                  <a:gd name="connsiteY183" fmla="*/ 160611 h 225957"/>
                  <a:gd name="connsiteX184" fmla="*/ 319010 w 397940"/>
                  <a:gd name="connsiteY184" fmla="*/ 160651 h 225957"/>
                  <a:gd name="connsiteX185" fmla="*/ 316207 w 397940"/>
                  <a:gd name="connsiteY185" fmla="*/ 161490 h 225957"/>
                  <a:gd name="connsiteX186" fmla="*/ 312834 w 397940"/>
                  <a:gd name="connsiteY186" fmla="*/ 163547 h 225957"/>
                  <a:gd name="connsiteX187" fmla="*/ 310958 w 397940"/>
                  <a:gd name="connsiteY187" fmla="*/ 163911 h 225957"/>
                  <a:gd name="connsiteX188" fmla="*/ 307205 w 397940"/>
                  <a:gd name="connsiteY188" fmla="*/ 163319 h 225957"/>
                  <a:gd name="connsiteX189" fmla="*/ 302832 w 397940"/>
                  <a:gd name="connsiteY189" fmla="*/ 164500 h 225957"/>
                  <a:gd name="connsiteX190" fmla="*/ 293391 w 397940"/>
                  <a:gd name="connsiteY190" fmla="*/ 171244 h 225957"/>
                  <a:gd name="connsiteX191" fmla="*/ 290217 w 397940"/>
                  <a:gd name="connsiteY191" fmla="*/ 176160 h 225957"/>
                  <a:gd name="connsiteX192" fmla="*/ 289061 w 397940"/>
                  <a:gd name="connsiteY192" fmla="*/ 177121 h 225957"/>
                  <a:gd name="connsiteX193" fmla="*/ 287468 w 397940"/>
                  <a:gd name="connsiteY193" fmla="*/ 178319 h 225957"/>
                  <a:gd name="connsiteX194" fmla="*/ 285764 w 397940"/>
                  <a:gd name="connsiteY194" fmla="*/ 178924 h 225957"/>
                  <a:gd name="connsiteX195" fmla="*/ 284864 w 397940"/>
                  <a:gd name="connsiteY195" fmla="*/ 178868 h 225957"/>
                  <a:gd name="connsiteX196" fmla="*/ 289357 w 397940"/>
                  <a:gd name="connsiteY196" fmla="*/ 175378 h 225957"/>
                  <a:gd name="connsiteX197" fmla="*/ 290737 w 397940"/>
                  <a:gd name="connsiteY197" fmla="*/ 174068 h 225957"/>
                  <a:gd name="connsiteX198" fmla="*/ 290975 w 397940"/>
                  <a:gd name="connsiteY198" fmla="*/ 173101 h 225957"/>
                  <a:gd name="connsiteX199" fmla="*/ 290998 w 397940"/>
                  <a:gd name="connsiteY199" fmla="*/ 171541 h 225957"/>
                  <a:gd name="connsiteX200" fmla="*/ 289636 w 397940"/>
                  <a:gd name="connsiteY200" fmla="*/ 169601 h 225957"/>
                  <a:gd name="connsiteX201" fmla="*/ 285958 w 397940"/>
                  <a:gd name="connsiteY201" fmla="*/ 174407 h 225957"/>
                  <a:gd name="connsiteX202" fmla="*/ 283868 w 397940"/>
                  <a:gd name="connsiteY202" fmla="*/ 175104 h 225957"/>
                  <a:gd name="connsiteX203" fmla="*/ 281216 w 397940"/>
                  <a:gd name="connsiteY203" fmla="*/ 176548 h 225957"/>
                  <a:gd name="connsiteX204" fmla="*/ 281087 w 397940"/>
                  <a:gd name="connsiteY204" fmla="*/ 179764 h 225957"/>
                  <a:gd name="connsiteX205" fmla="*/ 281387 w 397940"/>
                  <a:gd name="connsiteY205" fmla="*/ 182146 h 225957"/>
                  <a:gd name="connsiteX206" fmla="*/ 282477 w 397940"/>
                  <a:gd name="connsiteY206" fmla="*/ 185142 h 225957"/>
                  <a:gd name="connsiteX207" fmla="*/ 285047 w 397940"/>
                  <a:gd name="connsiteY207" fmla="*/ 190042 h 225957"/>
                  <a:gd name="connsiteX208" fmla="*/ 290295 w 397940"/>
                  <a:gd name="connsiteY208" fmla="*/ 197027 h 225957"/>
                  <a:gd name="connsiteX209" fmla="*/ 292810 w 397940"/>
                  <a:gd name="connsiteY209" fmla="*/ 199588 h 225957"/>
                  <a:gd name="connsiteX210" fmla="*/ 294659 w 397940"/>
                  <a:gd name="connsiteY210" fmla="*/ 200611 h 225957"/>
                  <a:gd name="connsiteX211" fmla="*/ 296881 w 397940"/>
                  <a:gd name="connsiteY211" fmla="*/ 200759 h 225957"/>
                  <a:gd name="connsiteX212" fmla="*/ 301147 w 397940"/>
                  <a:gd name="connsiteY212" fmla="*/ 198607 h 225957"/>
                  <a:gd name="connsiteX213" fmla="*/ 302972 w 397940"/>
                  <a:gd name="connsiteY213" fmla="*/ 198271 h 225957"/>
                  <a:gd name="connsiteX214" fmla="*/ 306939 w 397940"/>
                  <a:gd name="connsiteY214" fmla="*/ 199092 h 225957"/>
                  <a:gd name="connsiteX215" fmla="*/ 308360 w 397940"/>
                  <a:gd name="connsiteY215" fmla="*/ 197653 h 225957"/>
                  <a:gd name="connsiteX216" fmla="*/ 310424 w 397940"/>
                  <a:gd name="connsiteY216" fmla="*/ 196858 h 225957"/>
                  <a:gd name="connsiteX217" fmla="*/ 313074 w 397940"/>
                  <a:gd name="connsiteY217" fmla="*/ 196757 h 225957"/>
                  <a:gd name="connsiteX218" fmla="*/ 316097 w 397940"/>
                  <a:gd name="connsiteY218" fmla="*/ 197402 h 225957"/>
                  <a:gd name="connsiteX219" fmla="*/ 319368 w 397940"/>
                  <a:gd name="connsiteY219" fmla="*/ 198492 h 225957"/>
                  <a:gd name="connsiteX220" fmla="*/ 318025 w 397940"/>
                  <a:gd name="connsiteY220" fmla="*/ 200955 h 225957"/>
                  <a:gd name="connsiteX221" fmla="*/ 316622 w 397940"/>
                  <a:gd name="connsiteY221" fmla="*/ 202913 h 225957"/>
                  <a:gd name="connsiteX222" fmla="*/ 316127 w 397940"/>
                  <a:gd name="connsiteY222" fmla="*/ 205078 h 225957"/>
                  <a:gd name="connsiteX223" fmla="*/ 315352 w 397940"/>
                  <a:gd name="connsiteY223" fmla="*/ 207482 h 225957"/>
                  <a:gd name="connsiteX224" fmla="*/ 311737 w 397940"/>
                  <a:gd name="connsiteY224" fmla="*/ 208560 h 225957"/>
                  <a:gd name="connsiteX225" fmla="*/ 307865 w 397940"/>
                  <a:gd name="connsiteY225" fmla="*/ 208428 h 225957"/>
                  <a:gd name="connsiteX226" fmla="*/ 303782 w 397940"/>
                  <a:gd name="connsiteY226" fmla="*/ 209125 h 225957"/>
                  <a:gd name="connsiteX227" fmla="*/ 302311 w 397940"/>
                  <a:gd name="connsiteY227" fmla="*/ 208187 h 225957"/>
                  <a:gd name="connsiteX228" fmla="*/ 301335 w 397940"/>
                  <a:gd name="connsiteY228" fmla="*/ 207333 h 225957"/>
                  <a:gd name="connsiteX229" fmla="*/ 299524 w 397940"/>
                  <a:gd name="connsiteY229" fmla="*/ 206481 h 225957"/>
                  <a:gd name="connsiteX230" fmla="*/ 297135 w 397940"/>
                  <a:gd name="connsiteY230" fmla="*/ 206006 h 225957"/>
                  <a:gd name="connsiteX231" fmla="*/ 294991 w 397940"/>
                  <a:gd name="connsiteY231" fmla="*/ 206577 h 225957"/>
                  <a:gd name="connsiteX232" fmla="*/ 292454 w 397940"/>
                  <a:gd name="connsiteY232" fmla="*/ 209860 h 225957"/>
                  <a:gd name="connsiteX233" fmla="*/ 287965 w 397940"/>
                  <a:gd name="connsiteY233" fmla="*/ 212102 h 225957"/>
                  <a:gd name="connsiteX234" fmla="*/ 286481 w 397940"/>
                  <a:gd name="connsiteY234" fmla="*/ 214659 h 225957"/>
                  <a:gd name="connsiteX235" fmla="*/ 282061 w 397940"/>
                  <a:gd name="connsiteY235" fmla="*/ 214088 h 225957"/>
                  <a:gd name="connsiteX236" fmla="*/ 278282 w 397940"/>
                  <a:gd name="connsiteY236" fmla="*/ 214536 h 225957"/>
                  <a:gd name="connsiteX237" fmla="*/ 272821 w 397940"/>
                  <a:gd name="connsiteY237" fmla="*/ 216866 h 225957"/>
                  <a:gd name="connsiteX238" fmla="*/ 268660 w 397940"/>
                  <a:gd name="connsiteY238" fmla="*/ 221856 h 225957"/>
                  <a:gd name="connsiteX239" fmla="*/ 264075 w 397940"/>
                  <a:gd name="connsiteY239" fmla="*/ 224972 h 225957"/>
                  <a:gd name="connsiteX240" fmla="*/ 260439 w 397940"/>
                  <a:gd name="connsiteY240" fmla="*/ 225957 h 225957"/>
                  <a:gd name="connsiteX241" fmla="*/ 257027 w 397940"/>
                  <a:gd name="connsiteY241" fmla="*/ 225649 h 225957"/>
                  <a:gd name="connsiteX242" fmla="*/ 254820 w 397940"/>
                  <a:gd name="connsiteY242" fmla="*/ 224717 h 225957"/>
                  <a:gd name="connsiteX243" fmla="*/ 250283 w 397940"/>
                  <a:gd name="connsiteY243" fmla="*/ 221442 h 225957"/>
                  <a:gd name="connsiteX244" fmla="*/ 250549 w 397940"/>
                  <a:gd name="connsiteY244" fmla="*/ 220267 h 225957"/>
                  <a:gd name="connsiteX245" fmla="*/ 251182 w 397940"/>
                  <a:gd name="connsiteY245" fmla="*/ 219674 h 225957"/>
                  <a:gd name="connsiteX246" fmla="*/ 252039 w 397940"/>
                  <a:gd name="connsiteY246" fmla="*/ 217988 h 225957"/>
                  <a:gd name="connsiteX247" fmla="*/ 253855 w 397940"/>
                  <a:gd name="connsiteY247" fmla="*/ 211788 h 225957"/>
                  <a:gd name="connsiteX248" fmla="*/ 253611 w 397940"/>
                  <a:gd name="connsiteY248" fmla="*/ 209776 h 225957"/>
                  <a:gd name="connsiteX249" fmla="*/ 252594 w 397940"/>
                  <a:gd name="connsiteY249" fmla="*/ 206600 h 225957"/>
                  <a:gd name="connsiteX250" fmla="*/ 248996 w 397940"/>
                  <a:gd name="connsiteY250" fmla="*/ 204131 h 225957"/>
                  <a:gd name="connsiteX251" fmla="*/ 246100 w 397940"/>
                  <a:gd name="connsiteY251" fmla="*/ 204599 h 225957"/>
                  <a:gd name="connsiteX252" fmla="*/ 244451 w 397940"/>
                  <a:gd name="connsiteY252" fmla="*/ 203941 h 225957"/>
                  <a:gd name="connsiteX253" fmla="*/ 238519 w 397940"/>
                  <a:gd name="connsiteY253" fmla="*/ 199738 h 225957"/>
                  <a:gd name="connsiteX254" fmla="*/ 235291 w 397940"/>
                  <a:gd name="connsiteY254" fmla="*/ 199440 h 225957"/>
                  <a:gd name="connsiteX255" fmla="*/ 231723 w 397940"/>
                  <a:gd name="connsiteY255" fmla="*/ 200288 h 225957"/>
                  <a:gd name="connsiteX256" fmla="*/ 230408 w 397940"/>
                  <a:gd name="connsiteY256" fmla="*/ 199676 h 225957"/>
                  <a:gd name="connsiteX257" fmla="*/ 229439 w 397940"/>
                  <a:gd name="connsiteY257" fmla="*/ 198210 h 225957"/>
                  <a:gd name="connsiteX258" fmla="*/ 236515 w 397940"/>
                  <a:gd name="connsiteY258" fmla="*/ 193012 h 225957"/>
                  <a:gd name="connsiteX259" fmla="*/ 243464 w 397940"/>
                  <a:gd name="connsiteY259" fmla="*/ 188714 h 225957"/>
                  <a:gd name="connsiteX260" fmla="*/ 246511 w 397940"/>
                  <a:gd name="connsiteY260" fmla="*/ 188272 h 225957"/>
                  <a:gd name="connsiteX261" fmla="*/ 250627 w 397940"/>
                  <a:gd name="connsiteY261" fmla="*/ 186269 h 225957"/>
                  <a:gd name="connsiteX262" fmla="*/ 255019 w 397940"/>
                  <a:gd name="connsiteY262" fmla="*/ 183259 h 225957"/>
                  <a:gd name="connsiteX263" fmla="*/ 254397 w 397940"/>
                  <a:gd name="connsiteY263" fmla="*/ 180890 h 225957"/>
                  <a:gd name="connsiteX264" fmla="*/ 253455 w 397940"/>
                  <a:gd name="connsiteY264" fmla="*/ 179138 h 225957"/>
                  <a:gd name="connsiteX265" fmla="*/ 251348 w 397940"/>
                  <a:gd name="connsiteY265" fmla="*/ 179619 h 225957"/>
                  <a:gd name="connsiteX266" fmla="*/ 249823 w 397940"/>
                  <a:gd name="connsiteY266" fmla="*/ 180206 h 225957"/>
                  <a:gd name="connsiteX267" fmla="*/ 246144 w 397940"/>
                  <a:gd name="connsiteY267" fmla="*/ 178325 h 225957"/>
                  <a:gd name="connsiteX268" fmla="*/ 244790 w 397940"/>
                  <a:gd name="connsiteY268" fmla="*/ 176940 h 225957"/>
                  <a:gd name="connsiteX269" fmla="*/ 239031 w 397940"/>
                  <a:gd name="connsiteY269" fmla="*/ 178377 h 225957"/>
                  <a:gd name="connsiteX270" fmla="*/ 235826 w 397940"/>
                  <a:gd name="connsiteY270" fmla="*/ 178164 h 225957"/>
                  <a:gd name="connsiteX271" fmla="*/ 228748 w 397940"/>
                  <a:gd name="connsiteY271" fmla="*/ 179485 h 225957"/>
                  <a:gd name="connsiteX272" fmla="*/ 225500 w 397940"/>
                  <a:gd name="connsiteY272" fmla="*/ 178195 h 225957"/>
                  <a:gd name="connsiteX273" fmla="*/ 218996 w 397940"/>
                  <a:gd name="connsiteY273" fmla="*/ 174580 h 225957"/>
                  <a:gd name="connsiteX274" fmla="*/ 216551 w 397940"/>
                  <a:gd name="connsiteY274" fmla="*/ 173853 h 225957"/>
                  <a:gd name="connsiteX275" fmla="*/ 214474 w 397940"/>
                  <a:gd name="connsiteY275" fmla="*/ 174007 h 225957"/>
                  <a:gd name="connsiteX276" fmla="*/ 213340 w 397940"/>
                  <a:gd name="connsiteY276" fmla="*/ 172817 h 225957"/>
                  <a:gd name="connsiteX277" fmla="*/ 214731 w 397940"/>
                  <a:gd name="connsiteY277" fmla="*/ 172221 h 225957"/>
                  <a:gd name="connsiteX278" fmla="*/ 216346 w 397940"/>
                  <a:gd name="connsiteY278" fmla="*/ 172151 h 225957"/>
                  <a:gd name="connsiteX279" fmla="*/ 218022 w 397940"/>
                  <a:gd name="connsiteY279" fmla="*/ 171715 h 225957"/>
                  <a:gd name="connsiteX280" fmla="*/ 218495 w 397940"/>
                  <a:gd name="connsiteY280" fmla="*/ 171084 h 225957"/>
                  <a:gd name="connsiteX281" fmla="*/ 218394 w 397940"/>
                  <a:gd name="connsiteY281" fmla="*/ 169897 h 225957"/>
                  <a:gd name="connsiteX282" fmla="*/ 215016 w 397940"/>
                  <a:gd name="connsiteY282" fmla="*/ 168996 h 225957"/>
                  <a:gd name="connsiteX283" fmla="*/ 211874 w 397940"/>
                  <a:gd name="connsiteY283" fmla="*/ 168737 h 225957"/>
                  <a:gd name="connsiteX284" fmla="*/ 209883 w 397940"/>
                  <a:gd name="connsiteY284" fmla="*/ 167669 h 225957"/>
                  <a:gd name="connsiteX285" fmla="*/ 208363 w 397940"/>
                  <a:gd name="connsiteY285" fmla="*/ 166446 h 225957"/>
                  <a:gd name="connsiteX286" fmla="*/ 211926 w 397940"/>
                  <a:gd name="connsiteY286" fmla="*/ 166427 h 225957"/>
                  <a:gd name="connsiteX287" fmla="*/ 215506 w 397940"/>
                  <a:gd name="connsiteY287" fmla="*/ 167352 h 225957"/>
                  <a:gd name="connsiteX288" fmla="*/ 221112 w 397940"/>
                  <a:gd name="connsiteY288" fmla="*/ 167693 h 225957"/>
                  <a:gd name="connsiteX289" fmla="*/ 226195 w 397940"/>
                  <a:gd name="connsiteY289" fmla="*/ 168649 h 225957"/>
                  <a:gd name="connsiteX290" fmla="*/ 227469 w 397940"/>
                  <a:gd name="connsiteY290" fmla="*/ 167460 h 225957"/>
                  <a:gd name="connsiteX291" fmla="*/ 230423 w 397940"/>
                  <a:gd name="connsiteY291" fmla="*/ 165399 h 225957"/>
                  <a:gd name="connsiteX292" fmla="*/ 230987 w 397940"/>
                  <a:gd name="connsiteY292" fmla="*/ 164742 h 225957"/>
                  <a:gd name="connsiteX293" fmla="*/ 226035 w 397940"/>
                  <a:gd name="connsiteY293" fmla="*/ 166153 h 225957"/>
                  <a:gd name="connsiteX294" fmla="*/ 221019 w 397940"/>
                  <a:gd name="connsiteY294" fmla="*/ 165253 h 225957"/>
                  <a:gd name="connsiteX295" fmla="*/ 219186 w 397940"/>
                  <a:gd name="connsiteY295" fmla="*/ 163995 h 225957"/>
                  <a:gd name="connsiteX296" fmla="*/ 217637 w 397940"/>
                  <a:gd name="connsiteY296" fmla="*/ 162151 h 225957"/>
                  <a:gd name="connsiteX297" fmla="*/ 216987 w 397940"/>
                  <a:gd name="connsiteY297" fmla="*/ 160047 h 225957"/>
                  <a:gd name="connsiteX298" fmla="*/ 217411 w 397940"/>
                  <a:gd name="connsiteY298" fmla="*/ 158085 h 225957"/>
                  <a:gd name="connsiteX299" fmla="*/ 216869 w 397940"/>
                  <a:gd name="connsiteY299" fmla="*/ 154539 h 225957"/>
                  <a:gd name="connsiteX300" fmla="*/ 215215 w 397940"/>
                  <a:gd name="connsiteY300" fmla="*/ 151380 h 225957"/>
                  <a:gd name="connsiteX301" fmla="*/ 214628 w 397940"/>
                  <a:gd name="connsiteY301" fmla="*/ 149645 h 225957"/>
                  <a:gd name="connsiteX302" fmla="*/ 212880 w 397940"/>
                  <a:gd name="connsiteY302" fmla="*/ 148089 h 225957"/>
                  <a:gd name="connsiteX303" fmla="*/ 214599 w 397940"/>
                  <a:gd name="connsiteY303" fmla="*/ 151607 h 225957"/>
                  <a:gd name="connsiteX304" fmla="*/ 215241 w 397940"/>
                  <a:gd name="connsiteY304" fmla="*/ 153945 h 225957"/>
                  <a:gd name="connsiteX305" fmla="*/ 216275 w 397940"/>
                  <a:gd name="connsiteY305" fmla="*/ 156097 h 225957"/>
                  <a:gd name="connsiteX306" fmla="*/ 216031 w 397940"/>
                  <a:gd name="connsiteY306" fmla="*/ 161794 h 225957"/>
                  <a:gd name="connsiteX307" fmla="*/ 215394 w 397940"/>
                  <a:gd name="connsiteY307" fmla="*/ 163793 h 225957"/>
                  <a:gd name="connsiteX308" fmla="*/ 213332 w 397940"/>
                  <a:gd name="connsiteY308" fmla="*/ 164297 h 225957"/>
                  <a:gd name="connsiteX309" fmla="*/ 210622 w 397940"/>
                  <a:gd name="connsiteY309" fmla="*/ 163997 h 225957"/>
                  <a:gd name="connsiteX310" fmla="*/ 207860 w 397940"/>
                  <a:gd name="connsiteY310" fmla="*/ 163376 h 225957"/>
                  <a:gd name="connsiteX311" fmla="*/ 208551 w 397940"/>
                  <a:gd name="connsiteY311" fmla="*/ 160245 h 225957"/>
                  <a:gd name="connsiteX312" fmla="*/ 207080 w 397940"/>
                  <a:gd name="connsiteY312" fmla="*/ 161328 h 225957"/>
                  <a:gd name="connsiteX313" fmla="*/ 205003 w 397940"/>
                  <a:gd name="connsiteY313" fmla="*/ 164375 h 225957"/>
                  <a:gd name="connsiteX314" fmla="*/ 203176 w 397940"/>
                  <a:gd name="connsiteY314" fmla="*/ 164829 h 225957"/>
                  <a:gd name="connsiteX315" fmla="*/ 199119 w 397940"/>
                  <a:gd name="connsiteY315" fmla="*/ 164496 h 225957"/>
                  <a:gd name="connsiteX316" fmla="*/ 191589 w 397940"/>
                  <a:gd name="connsiteY316" fmla="*/ 166510 h 225957"/>
                  <a:gd name="connsiteX317" fmla="*/ 191071 w 397940"/>
                  <a:gd name="connsiteY317" fmla="*/ 168702 h 225957"/>
                  <a:gd name="connsiteX318" fmla="*/ 189939 w 397940"/>
                  <a:gd name="connsiteY318" fmla="*/ 171665 h 225957"/>
                  <a:gd name="connsiteX319" fmla="*/ 188847 w 397940"/>
                  <a:gd name="connsiteY319" fmla="*/ 173389 h 225957"/>
                  <a:gd name="connsiteX320" fmla="*/ 188503 w 397940"/>
                  <a:gd name="connsiteY320" fmla="*/ 174428 h 225957"/>
                  <a:gd name="connsiteX321" fmla="*/ 185292 w 397940"/>
                  <a:gd name="connsiteY321" fmla="*/ 178886 h 225957"/>
                  <a:gd name="connsiteX322" fmla="*/ 184882 w 397940"/>
                  <a:gd name="connsiteY322" fmla="*/ 179307 h 225957"/>
                  <a:gd name="connsiteX323" fmla="*/ 178825 w 397940"/>
                  <a:gd name="connsiteY323" fmla="*/ 185475 h 225957"/>
                  <a:gd name="connsiteX324" fmla="*/ 178054 w 397940"/>
                  <a:gd name="connsiteY324" fmla="*/ 185938 h 225957"/>
                  <a:gd name="connsiteX325" fmla="*/ 174128 w 397940"/>
                  <a:gd name="connsiteY325" fmla="*/ 187371 h 225957"/>
                  <a:gd name="connsiteX326" fmla="*/ 171807 w 397940"/>
                  <a:gd name="connsiteY326" fmla="*/ 188626 h 225957"/>
                  <a:gd name="connsiteX327" fmla="*/ 170028 w 397940"/>
                  <a:gd name="connsiteY327" fmla="*/ 189186 h 225957"/>
                  <a:gd name="connsiteX328" fmla="*/ 167017 w 397940"/>
                  <a:gd name="connsiteY328" fmla="*/ 188563 h 225957"/>
                  <a:gd name="connsiteX329" fmla="*/ 165765 w 397940"/>
                  <a:gd name="connsiteY329" fmla="*/ 189451 h 225957"/>
                  <a:gd name="connsiteX330" fmla="*/ 165173 w 397940"/>
                  <a:gd name="connsiteY330" fmla="*/ 190550 h 225957"/>
                  <a:gd name="connsiteX331" fmla="*/ 165162 w 397940"/>
                  <a:gd name="connsiteY331" fmla="*/ 192821 h 225957"/>
                  <a:gd name="connsiteX332" fmla="*/ 166691 w 397940"/>
                  <a:gd name="connsiteY332" fmla="*/ 194452 h 225957"/>
                  <a:gd name="connsiteX333" fmla="*/ 167944 w 397940"/>
                  <a:gd name="connsiteY333" fmla="*/ 199870 h 225957"/>
                  <a:gd name="connsiteX334" fmla="*/ 167477 w 397940"/>
                  <a:gd name="connsiteY334" fmla="*/ 202156 h 225957"/>
                  <a:gd name="connsiteX335" fmla="*/ 166285 w 397940"/>
                  <a:gd name="connsiteY335" fmla="*/ 200676 h 225957"/>
                  <a:gd name="connsiteX336" fmla="*/ 164422 w 397940"/>
                  <a:gd name="connsiteY336" fmla="*/ 199116 h 225957"/>
                  <a:gd name="connsiteX337" fmla="*/ 160796 w 397940"/>
                  <a:gd name="connsiteY337" fmla="*/ 197775 h 225957"/>
                  <a:gd name="connsiteX338" fmla="*/ 156812 w 397940"/>
                  <a:gd name="connsiteY338" fmla="*/ 198234 h 225957"/>
                  <a:gd name="connsiteX339" fmla="*/ 152476 w 397940"/>
                  <a:gd name="connsiteY339" fmla="*/ 200494 h 225957"/>
                  <a:gd name="connsiteX340" fmla="*/ 149533 w 397940"/>
                  <a:gd name="connsiteY340" fmla="*/ 201334 h 225957"/>
                  <a:gd name="connsiteX341" fmla="*/ 147984 w 397940"/>
                  <a:gd name="connsiteY341" fmla="*/ 200754 h 225957"/>
                  <a:gd name="connsiteX342" fmla="*/ 147043 w 397940"/>
                  <a:gd name="connsiteY342" fmla="*/ 200787 h 225957"/>
                  <a:gd name="connsiteX343" fmla="*/ 146708 w 397940"/>
                  <a:gd name="connsiteY343" fmla="*/ 201435 h 225957"/>
                  <a:gd name="connsiteX344" fmla="*/ 146780 w 397940"/>
                  <a:gd name="connsiteY344" fmla="*/ 201965 h 225957"/>
                  <a:gd name="connsiteX345" fmla="*/ 147257 w 397940"/>
                  <a:gd name="connsiteY345" fmla="*/ 202376 h 225957"/>
                  <a:gd name="connsiteX346" fmla="*/ 147187 w 397940"/>
                  <a:gd name="connsiteY346" fmla="*/ 202676 h 225957"/>
                  <a:gd name="connsiteX347" fmla="*/ 146579 w 397940"/>
                  <a:gd name="connsiteY347" fmla="*/ 202863 h 225957"/>
                  <a:gd name="connsiteX348" fmla="*/ 139736 w 397940"/>
                  <a:gd name="connsiteY348" fmla="*/ 201272 h 225957"/>
                  <a:gd name="connsiteX349" fmla="*/ 136782 w 397940"/>
                  <a:gd name="connsiteY349" fmla="*/ 199766 h 225957"/>
                  <a:gd name="connsiteX350" fmla="*/ 134456 w 397940"/>
                  <a:gd name="connsiteY350" fmla="*/ 196930 h 225957"/>
                  <a:gd name="connsiteX351" fmla="*/ 135613 w 397940"/>
                  <a:gd name="connsiteY351" fmla="*/ 196012 h 225957"/>
                  <a:gd name="connsiteX352" fmla="*/ 136620 w 397940"/>
                  <a:gd name="connsiteY352" fmla="*/ 195608 h 225957"/>
                  <a:gd name="connsiteX353" fmla="*/ 140181 w 397940"/>
                  <a:gd name="connsiteY353" fmla="*/ 195372 h 225957"/>
                  <a:gd name="connsiteX354" fmla="*/ 140792 w 397940"/>
                  <a:gd name="connsiteY354" fmla="*/ 195082 h 225957"/>
                  <a:gd name="connsiteX355" fmla="*/ 140852 w 397940"/>
                  <a:gd name="connsiteY355" fmla="*/ 194427 h 225957"/>
                  <a:gd name="connsiteX356" fmla="*/ 141118 w 397940"/>
                  <a:gd name="connsiteY356" fmla="*/ 193579 h 225957"/>
                  <a:gd name="connsiteX357" fmla="*/ 141023 w 397940"/>
                  <a:gd name="connsiteY357" fmla="*/ 192330 h 225957"/>
                  <a:gd name="connsiteX358" fmla="*/ 140627 w 397940"/>
                  <a:gd name="connsiteY358" fmla="*/ 191011 h 225957"/>
                  <a:gd name="connsiteX359" fmla="*/ 142191 w 397940"/>
                  <a:gd name="connsiteY359" fmla="*/ 189084 h 225957"/>
                  <a:gd name="connsiteX360" fmla="*/ 144519 w 397940"/>
                  <a:gd name="connsiteY360" fmla="*/ 187484 h 225957"/>
                  <a:gd name="connsiteX361" fmla="*/ 145883 w 397940"/>
                  <a:gd name="connsiteY361" fmla="*/ 185881 h 225957"/>
                  <a:gd name="connsiteX362" fmla="*/ 146093 w 397940"/>
                  <a:gd name="connsiteY362" fmla="*/ 183532 h 225957"/>
                  <a:gd name="connsiteX363" fmla="*/ 148542 w 397940"/>
                  <a:gd name="connsiteY363" fmla="*/ 182387 h 225957"/>
                  <a:gd name="connsiteX364" fmla="*/ 150714 w 397940"/>
                  <a:gd name="connsiteY364" fmla="*/ 180418 h 225957"/>
                  <a:gd name="connsiteX365" fmla="*/ 151247 w 397940"/>
                  <a:gd name="connsiteY365" fmla="*/ 178270 h 225957"/>
                  <a:gd name="connsiteX366" fmla="*/ 152007 w 397940"/>
                  <a:gd name="connsiteY366" fmla="*/ 176920 h 225957"/>
                  <a:gd name="connsiteX367" fmla="*/ 150625 w 397940"/>
                  <a:gd name="connsiteY367" fmla="*/ 173821 h 225957"/>
                  <a:gd name="connsiteX368" fmla="*/ 150334 w 397940"/>
                  <a:gd name="connsiteY368" fmla="*/ 171775 h 225957"/>
                  <a:gd name="connsiteX369" fmla="*/ 150265 w 397940"/>
                  <a:gd name="connsiteY369" fmla="*/ 170059 h 225957"/>
                  <a:gd name="connsiteX370" fmla="*/ 150949 w 397940"/>
                  <a:gd name="connsiteY370" fmla="*/ 169105 h 225957"/>
                  <a:gd name="connsiteX371" fmla="*/ 152973 w 397940"/>
                  <a:gd name="connsiteY371" fmla="*/ 168036 h 225957"/>
                  <a:gd name="connsiteX372" fmla="*/ 155104 w 397940"/>
                  <a:gd name="connsiteY372" fmla="*/ 167207 h 225957"/>
                  <a:gd name="connsiteX373" fmla="*/ 155987 w 397940"/>
                  <a:gd name="connsiteY373" fmla="*/ 167288 h 225957"/>
                  <a:gd name="connsiteX374" fmla="*/ 156309 w 397940"/>
                  <a:gd name="connsiteY374" fmla="*/ 167816 h 225957"/>
                  <a:gd name="connsiteX375" fmla="*/ 156393 w 397940"/>
                  <a:gd name="connsiteY375" fmla="*/ 171301 h 225957"/>
                  <a:gd name="connsiteX376" fmla="*/ 156819 w 397940"/>
                  <a:gd name="connsiteY376" fmla="*/ 171367 h 225957"/>
                  <a:gd name="connsiteX377" fmla="*/ 157499 w 397940"/>
                  <a:gd name="connsiteY377" fmla="*/ 170933 h 225957"/>
                  <a:gd name="connsiteX378" fmla="*/ 158611 w 397940"/>
                  <a:gd name="connsiteY378" fmla="*/ 168881 h 225957"/>
                  <a:gd name="connsiteX379" fmla="*/ 159377 w 397940"/>
                  <a:gd name="connsiteY379" fmla="*/ 169478 h 225957"/>
                  <a:gd name="connsiteX380" fmla="*/ 160556 w 397940"/>
                  <a:gd name="connsiteY380" fmla="*/ 169705 h 225957"/>
                  <a:gd name="connsiteX381" fmla="*/ 161440 w 397940"/>
                  <a:gd name="connsiteY381" fmla="*/ 169176 h 225957"/>
                  <a:gd name="connsiteX382" fmla="*/ 162014 w 397940"/>
                  <a:gd name="connsiteY382" fmla="*/ 169237 h 225957"/>
                  <a:gd name="connsiteX383" fmla="*/ 162726 w 397940"/>
                  <a:gd name="connsiteY383" fmla="*/ 169767 h 225957"/>
                  <a:gd name="connsiteX384" fmla="*/ 164143 w 397940"/>
                  <a:gd name="connsiteY384" fmla="*/ 170513 h 225957"/>
                  <a:gd name="connsiteX385" fmla="*/ 165467 w 397940"/>
                  <a:gd name="connsiteY385" fmla="*/ 170761 h 225957"/>
                  <a:gd name="connsiteX386" fmla="*/ 166564 w 397940"/>
                  <a:gd name="connsiteY386" fmla="*/ 170264 h 225957"/>
                  <a:gd name="connsiteX387" fmla="*/ 167499 w 397940"/>
                  <a:gd name="connsiteY387" fmla="*/ 169377 h 225957"/>
                  <a:gd name="connsiteX388" fmla="*/ 168497 w 397940"/>
                  <a:gd name="connsiteY388" fmla="*/ 169680 h 225957"/>
                  <a:gd name="connsiteX389" fmla="*/ 170397 w 397940"/>
                  <a:gd name="connsiteY389" fmla="*/ 172100 h 225957"/>
                  <a:gd name="connsiteX390" fmla="*/ 171284 w 397940"/>
                  <a:gd name="connsiteY390" fmla="*/ 171832 h 225957"/>
                  <a:gd name="connsiteX391" fmla="*/ 175655 w 397940"/>
                  <a:gd name="connsiteY391" fmla="*/ 171343 h 225957"/>
                  <a:gd name="connsiteX392" fmla="*/ 176359 w 397940"/>
                  <a:gd name="connsiteY392" fmla="*/ 170685 h 225957"/>
                  <a:gd name="connsiteX393" fmla="*/ 176879 w 397940"/>
                  <a:gd name="connsiteY393" fmla="*/ 170088 h 225957"/>
                  <a:gd name="connsiteX394" fmla="*/ 172308 w 397940"/>
                  <a:gd name="connsiteY394" fmla="*/ 166875 h 225957"/>
                  <a:gd name="connsiteX395" fmla="*/ 172539 w 397940"/>
                  <a:gd name="connsiteY395" fmla="*/ 164481 h 225957"/>
                  <a:gd name="connsiteX396" fmla="*/ 172710 w 397940"/>
                  <a:gd name="connsiteY396" fmla="*/ 161734 h 225957"/>
                  <a:gd name="connsiteX397" fmla="*/ 172170 w 397940"/>
                  <a:gd name="connsiteY397" fmla="*/ 160102 h 225957"/>
                  <a:gd name="connsiteX398" fmla="*/ 171280 w 397940"/>
                  <a:gd name="connsiteY398" fmla="*/ 158807 h 225957"/>
                  <a:gd name="connsiteX399" fmla="*/ 167784 w 397940"/>
                  <a:gd name="connsiteY399" fmla="*/ 157302 h 225957"/>
                  <a:gd name="connsiteX400" fmla="*/ 165087 w 397940"/>
                  <a:gd name="connsiteY400" fmla="*/ 155743 h 225957"/>
                  <a:gd name="connsiteX401" fmla="*/ 164517 w 397940"/>
                  <a:gd name="connsiteY401" fmla="*/ 155040 h 225957"/>
                  <a:gd name="connsiteX402" fmla="*/ 164443 w 397940"/>
                  <a:gd name="connsiteY402" fmla="*/ 154128 h 225957"/>
                  <a:gd name="connsiteX403" fmla="*/ 164329 w 397940"/>
                  <a:gd name="connsiteY403" fmla="*/ 152710 h 225957"/>
                  <a:gd name="connsiteX404" fmla="*/ 163258 w 397940"/>
                  <a:gd name="connsiteY404" fmla="*/ 151492 h 225957"/>
                  <a:gd name="connsiteX405" fmla="*/ 163167 w 397940"/>
                  <a:gd name="connsiteY405" fmla="*/ 150461 h 225957"/>
                  <a:gd name="connsiteX406" fmla="*/ 163850 w 397940"/>
                  <a:gd name="connsiteY406" fmla="*/ 148853 h 225957"/>
                  <a:gd name="connsiteX407" fmla="*/ 164016 w 397940"/>
                  <a:gd name="connsiteY407" fmla="*/ 147139 h 225957"/>
                  <a:gd name="connsiteX408" fmla="*/ 163791 w 397940"/>
                  <a:gd name="connsiteY408" fmla="*/ 146462 h 225957"/>
                  <a:gd name="connsiteX409" fmla="*/ 163161 w 397940"/>
                  <a:gd name="connsiteY409" fmla="*/ 145910 h 225957"/>
                  <a:gd name="connsiteX410" fmla="*/ 161945 w 397940"/>
                  <a:gd name="connsiteY410" fmla="*/ 145856 h 225957"/>
                  <a:gd name="connsiteX411" fmla="*/ 160347 w 397940"/>
                  <a:gd name="connsiteY411" fmla="*/ 144865 h 225957"/>
                  <a:gd name="connsiteX412" fmla="*/ 159250 w 397940"/>
                  <a:gd name="connsiteY412" fmla="*/ 143529 h 225957"/>
                  <a:gd name="connsiteX413" fmla="*/ 156305 w 397940"/>
                  <a:gd name="connsiteY413" fmla="*/ 141602 h 225957"/>
                  <a:gd name="connsiteX414" fmla="*/ 155402 w 397940"/>
                  <a:gd name="connsiteY414" fmla="*/ 141288 h 225957"/>
                  <a:gd name="connsiteX415" fmla="*/ 154851 w 397940"/>
                  <a:gd name="connsiteY415" fmla="*/ 140333 h 225957"/>
                  <a:gd name="connsiteX416" fmla="*/ 154588 w 397940"/>
                  <a:gd name="connsiteY416" fmla="*/ 139192 h 225957"/>
                  <a:gd name="connsiteX417" fmla="*/ 155206 w 397940"/>
                  <a:gd name="connsiteY417" fmla="*/ 137774 h 225957"/>
                  <a:gd name="connsiteX418" fmla="*/ 155983 w 397940"/>
                  <a:gd name="connsiteY418" fmla="*/ 135590 h 225957"/>
                  <a:gd name="connsiteX419" fmla="*/ 156529 w 397940"/>
                  <a:gd name="connsiteY419" fmla="*/ 133539 h 225957"/>
                  <a:gd name="connsiteX420" fmla="*/ 156538 w 397940"/>
                  <a:gd name="connsiteY420" fmla="*/ 132316 h 225957"/>
                  <a:gd name="connsiteX421" fmla="*/ 156177 w 397940"/>
                  <a:gd name="connsiteY421" fmla="*/ 129290 h 225957"/>
                  <a:gd name="connsiteX422" fmla="*/ 154642 w 397940"/>
                  <a:gd name="connsiteY422" fmla="*/ 126975 h 225957"/>
                  <a:gd name="connsiteX423" fmla="*/ 153925 w 397940"/>
                  <a:gd name="connsiteY423" fmla="*/ 126668 h 225957"/>
                  <a:gd name="connsiteX424" fmla="*/ 152686 w 397940"/>
                  <a:gd name="connsiteY424" fmla="*/ 127320 h 225957"/>
                  <a:gd name="connsiteX425" fmla="*/ 151279 w 397940"/>
                  <a:gd name="connsiteY425" fmla="*/ 127865 h 225957"/>
                  <a:gd name="connsiteX426" fmla="*/ 150170 w 397940"/>
                  <a:gd name="connsiteY426" fmla="*/ 127354 h 225957"/>
                  <a:gd name="connsiteX427" fmla="*/ 148902 w 397940"/>
                  <a:gd name="connsiteY427" fmla="*/ 126098 h 225957"/>
                  <a:gd name="connsiteX428" fmla="*/ 146868 w 397940"/>
                  <a:gd name="connsiteY428" fmla="*/ 122599 h 225957"/>
                  <a:gd name="connsiteX429" fmla="*/ 143061 w 397940"/>
                  <a:gd name="connsiteY429" fmla="*/ 121898 h 225957"/>
                  <a:gd name="connsiteX430" fmla="*/ 141487 w 397940"/>
                  <a:gd name="connsiteY430" fmla="*/ 121731 h 225957"/>
                  <a:gd name="connsiteX431" fmla="*/ 139997 w 397940"/>
                  <a:gd name="connsiteY431" fmla="*/ 123420 h 225957"/>
                  <a:gd name="connsiteX432" fmla="*/ 139531 w 397940"/>
                  <a:gd name="connsiteY432" fmla="*/ 122907 h 225957"/>
                  <a:gd name="connsiteX433" fmla="*/ 139112 w 397940"/>
                  <a:gd name="connsiteY433" fmla="*/ 121828 h 225957"/>
                  <a:gd name="connsiteX434" fmla="*/ 138326 w 397940"/>
                  <a:gd name="connsiteY434" fmla="*/ 121397 h 225957"/>
                  <a:gd name="connsiteX435" fmla="*/ 137287 w 397940"/>
                  <a:gd name="connsiteY435" fmla="*/ 121897 h 225957"/>
                  <a:gd name="connsiteX436" fmla="*/ 136987 w 397940"/>
                  <a:gd name="connsiteY436" fmla="*/ 121416 h 225957"/>
                  <a:gd name="connsiteX437" fmla="*/ 137434 w 397940"/>
                  <a:gd name="connsiteY437" fmla="*/ 119957 h 225957"/>
                  <a:gd name="connsiteX438" fmla="*/ 136192 w 397940"/>
                  <a:gd name="connsiteY438" fmla="*/ 119235 h 225957"/>
                  <a:gd name="connsiteX439" fmla="*/ 133268 w 397940"/>
                  <a:gd name="connsiteY439" fmla="*/ 119251 h 225957"/>
                  <a:gd name="connsiteX440" fmla="*/ 131714 w 397940"/>
                  <a:gd name="connsiteY440" fmla="*/ 118713 h 225957"/>
                  <a:gd name="connsiteX441" fmla="*/ 131528 w 397940"/>
                  <a:gd name="connsiteY441" fmla="*/ 117615 h 225957"/>
                  <a:gd name="connsiteX442" fmla="*/ 130608 w 397940"/>
                  <a:gd name="connsiteY442" fmla="*/ 116894 h 225957"/>
                  <a:gd name="connsiteX443" fmla="*/ 128947 w 397940"/>
                  <a:gd name="connsiteY443" fmla="*/ 116547 h 225957"/>
                  <a:gd name="connsiteX444" fmla="*/ 127339 w 397940"/>
                  <a:gd name="connsiteY444" fmla="*/ 115649 h 225957"/>
                  <a:gd name="connsiteX445" fmla="*/ 125778 w 397940"/>
                  <a:gd name="connsiteY445" fmla="*/ 114203 h 225957"/>
                  <a:gd name="connsiteX446" fmla="*/ 123443 w 397940"/>
                  <a:gd name="connsiteY446" fmla="*/ 113260 h 225957"/>
                  <a:gd name="connsiteX447" fmla="*/ 120331 w 397940"/>
                  <a:gd name="connsiteY447" fmla="*/ 112824 h 225957"/>
                  <a:gd name="connsiteX448" fmla="*/ 120077 w 397940"/>
                  <a:gd name="connsiteY448" fmla="*/ 112668 h 225957"/>
                  <a:gd name="connsiteX449" fmla="*/ 119790 w 397940"/>
                  <a:gd name="connsiteY449" fmla="*/ 112460 h 225957"/>
                  <a:gd name="connsiteX450" fmla="*/ 117781 w 397940"/>
                  <a:gd name="connsiteY450" fmla="*/ 113443 h 225957"/>
                  <a:gd name="connsiteX451" fmla="*/ 116574 w 397940"/>
                  <a:gd name="connsiteY451" fmla="*/ 114221 h 225957"/>
                  <a:gd name="connsiteX452" fmla="*/ 115095 w 397940"/>
                  <a:gd name="connsiteY452" fmla="*/ 113737 h 225957"/>
                  <a:gd name="connsiteX453" fmla="*/ 112698 w 397940"/>
                  <a:gd name="connsiteY453" fmla="*/ 115473 h 225957"/>
                  <a:gd name="connsiteX454" fmla="*/ 107833 w 397940"/>
                  <a:gd name="connsiteY454" fmla="*/ 115563 h 225957"/>
                  <a:gd name="connsiteX455" fmla="*/ 105447 w 397940"/>
                  <a:gd name="connsiteY455" fmla="*/ 115459 h 225957"/>
                  <a:gd name="connsiteX456" fmla="*/ 104263 w 397940"/>
                  <a:gd name="connsiteY456" fmla="*/ 115028 h 225957"/>
                  <a:gd name="connsiteX457" fmla="*/ 99694 w 397940"/>
                  <a:gd name="connsiteY457" fmla="*/ 117662 h 225957"/>
                  <a:gd name="connsiteX458" fmla="*/ 99219 w 397940"/>
                  <a:gd name="connsiteY458" fmla="*/ 118632 h 225957"/>
                  <a:gd name="connsiteX459" fmla="*/ 98191 w 397940"/>
                  <a:gd name="connsiteY459" fmla="*/ 118955 h 225957"/>
                  <a:gd name="connsiteX460" fmla="*/ 95315 w 397940"/>
                  <a:gd name="connsiteY460" fmla="*/ 119478 h 225957"/>
                  <a:gd name="connsiteX461" fmla="*/ 92292 w 397940"/>
                  <a:gd name="connsiteY461" fmla="*/ 120220 h 225957"/>
                  <a:gd name="connsiteX462" fmla="*/ 91657 w 397940"/>
                  <a:gd name="connsiteY462" fmla="*/ 122778 h 225957"/>
                  <a:gd name="connsiteX463" fmla="*/ 90756 w 397940"/>
                  <a:gd name="connsiteY463" fmla="*/ 124159 h 225957"/>
                  <a:gd name="connsiteX464" fmla="*/ 89131 w 397940"/>
                  <a:gd name="connsiteY464" fmla="*/ 126186 h 225957"/>
                  <a:gd name="connsiteX465" fmla="*/ 83514 w 397940"/>
                  <a:gd name="connsiteY465" fmla="*/ 126890 h 225957"/>
                  <a:gd name="connsiteX466" fmla="*/ 78662 w 397940"/>
                  <a:gd name="connsiteY466" fmla="*/ 127880 h 225957"/>
                  <a:gd name="connsiteX467" fmla="*/ 73687 w 397940"/>
                  <a:gd name="connsiteY467" fmla="*/ 128491 h 225957"/>
                  <a:gd name="connsiteX468" fmla="*/ 67171 w 397940"/>
                  <a:gd name="connsiteY468" fmla="*/ 130962 h 225957"/>
                  <a:gd name="connsiteX469" fmla="*/ 65053 w 397940"/>
                  <a:gd name="connsiteY469" fmla="*/ 133140 h 225957"/>
                  <a:gd name="connsiteX470" fmla="*/ 62959 w 397940"/>
                  <a:gd name="connsiteY470" fmla="*/ 133747 h 225957"/>
                  <a:gd name="connsiteX471" fmla="*/ 61063 w 397940"/>
                  <a:gd name="connsiteY471" fmla="*/ 133926 h 225957"/>
                  <a:gd name="connsiteX472" fmla="*/ 59836 w 397940"/>
                  <a:gd name="connsiteY472" fmla="*/ 132714 h 225957"/>
                  <a:gd name="connsiteX473" fmla="*/ 55703 w 397940"/>
                  <a:gd name="connsiteY473" fmla="*/ 129457 h 225957"/>
                  <a:gd name="connsiteX474" fmla="*/ 54109 w 397940"/>
                  <a:gd name="connsiteY474" fmla="*/ 127920 h 225957"/>
                  <a:gd name="connsiteX475" fmla="*/ 52013 w 397940"/>
                  <a:gd name="connsiteY475" fmla="*/ 127467 h 225957"/>
                  <a:gd name="connsiteX476" fmla="*/ 49733 w 397940"/>
                  <a:gd name="connsiteY476" fmla="*/ 127723 h 225957"/>
                  <a:gd name="connsiteX477" fmla="*/ 47543 w 397940"/>
                  <a:gd name="connsiteY477" fmla="*/ 128480 h 225957"/>
                  <a:gd name="connsiteX478" fmla="*/ 45239 w 397940"/>
                  <a:gd name="connsiteY478" fmla="*/ 128625 h 225957"/>
                  <a:gd name="connsiteX479" fmla="*/ 42630 w 397940"/>
                  <a:gd name="connsiteY479" fmla="*/ 127533 h 225957"/>
                  <a:gd name="connsiteX480" fmla="*/ 42356 w 397940"/>
                  <a:gd name="connsiteY480" fmla="*/ 127639 h 225957"/>
                  <a:gd name="connsiteX481" fmla="*/ 41350 w 397940"/>
                  <a:gd name="connsiteY481" fmla="*/ 127786 h 225957"/>
                  <a:gd name="connsiteX482" fmla="*/ 34874 w 397940"/>
                  <a:gd name="connsiteY482" fmla="*/ 126466 h 225957"/>
                  <a:gd name="connsiteX483" fmla="*/ 34278 w 397940"/>
                  <a:gd name="connsiteY483" fmla="*/ 126247 h 225957"/>
                  <a:gd name="connsiteX484" fmla="*/ 33991 w 397940"/>
                  <a:gd name="connsiteY484" fmla="*/ 126192 h 225957"/>
                  <a:gd name="connsiteX485" fmla="*/ 33099 w 397940"/>
                  <a:gd name="connsiteY485" fmla="*/ 126093 h 225957"/>
                  <a:gd name="connsiteX486" fmla="*/ 28223 w 397940"/>
                  <a:gd name="connsiteY486" fmla="*/ 126258 h 225957"/>
                  <a:gd name="connsiteX487" fmla="*/ 23677 w 397940"/>
                  <a:gd name="connsiteY487" fmla="*/ 123589 h 225957"/>
                  <a:gd name="connsiteX488" fmla="*/ 22280 w 397940"/>
                  <a:gd name="connsiteY488" fmla="*/ 123508 h 225957"/>
                  <a:gd name="connsiteX489" fmla="*/ 21205 w 397940"/>
                  <a:gd name="connsiteY489" fmla="*/ 124589 h 225957"/>
                  <a:gd name="connsiteX490" fmla="*/ 20408 w 397940"/>
                  <a:gd name="connsiteY490" fmla="*/ 125791 h 225957"/>
                  <a:gd name="connsiteX491" fmla="*/ 17270 w 397940"/>
                  <a:gd name="connsiteY491" fmla="*/ 126984 h 225957"/>
                  <a:gd name="connsiteX492" fmla="*/ 16469 w 397940"/>
                  <a:gd name="connsiteY492" fmla="*/ 127463 h 225957"/>
                  <a:gd name="connsiteX493" fmla="*/ 16014 w 397940"/>
                  <a:gd name="connsiteY493" fmla="*/ 127095 h 225957"/>
                  <a:gd name="connsiteX494" fmla="*/ 15802 w 397940"/>
                  <a:gd name="connsiteY494" fmla="*/ 126058 h 225957"/>
                  <a:gd name="connsiteX495" fmla="*/ 16040 w 397940"/>
                  <a:gd name="connsiteY495" fmla="*/ 125141 h 225957"/>
                  <a:gd name="connsiteX496" fmla="*/ 15575 w 397940"/>
                  <a:gd name="connsiteY496" fmla="*/ 124273 h 225957"/>
                  <a:gd name="connsiteX497" fmla="*/ 14381 w 397940"/>
                  <a:gd name="connsiteY497" fmla="*/ 123287 h 225957"/>
                  <a:gd name="connsiteX498" fmla="*/ 14092 w 397940"/>
                  <a:gd name="connsiteY498" fmla="*/ 122880 h 225957"/>
                  <a:gd name="connsiteX499" fmla="*/ 12598 w 397940"/>
                  <a:gd name="connsiteY499" fmla="*/ 122954 h 225957"/>
                  <a:gd name="connsiteX500" fmla="*/ 12190 w 397940"/>
                  <a:gd name="connsiteY500" fmla="*/ 123050 h 225957"/>
                  <a:gd name="connsiteX501" fmla="*/ 12040 w 397940"/>
                  <a:gd name="connsiteY501" fmla="*/ 123028 h 225957"/>
                  <a:gd name="connsiteX502" fmla="*/ 9963 w 397940"/>
                  <a:gd name="connsiteY502" fmla="*/ 122191 h 225957"/>
                  <a:gd name="connsiteX503" fmla="*/ 8585 w 397940"/>
                  <a:gd name="connsiteY503" fmla="*/ 120174 h 225957"/>
                  <a:gd name="connsiteX504" fmla="*/ 6456 w 397940"/>
                  <a:gd name="connsiteY504" fmla="*/ 119101 h 225957"/>
                  <a:gd name="connsiteX505" fmla="*/ 4828 w 397940"/>
                  <a:gd name="connsiteY505" fmla="*/ 118740 h 225957"/>
                  <a:gd name="connsiteX506" fmla="*/ 4087 w 397940"/>
                  <a:gd name="connsiteY506" fmla="*/ 117875 h 225957"/>
                  <a:gd name="connsiteX507" fmla="*/ 3610 w 397940"/>
                  <a:gd name="connsiteY507" fmla="*/ 116724 h 225957"/>
                  <a:gd name="connsiteX508" fmla="*/ 3102 w 397940"/>
                  <a:gd name="connsiteY508" fmla="*/ 115854 h 225957"/>
                  <a:gd name="connsiteX509" fmla="*/ 3042 w 397940"/>
                  <a:gd name="connsiteY509" fmla="*/ 115772 h 225957"/>
                  <a:gd name="connsiteX510" fmla="*/ 2695 w 397940"/>
                  <a:gd name="connsiteY510" fmla="*/ 114455 h 225957"/>
                  <a:gd name="connsiteX511" fmla="*/ 2196 w 397940"/>
                  <a:gd name="connsiteY511" fmla="*/ 114319 h 225957"/>
                  <a:gd name="connsiteX512" fmla="*/ 2107 w 397940"/>
                  <a:gd name="connsiteY512" fmla="*/ 114284 h 225957"/>
                  <a:gd name="connsiteX513" fmla="*/ 0 w 397940"/>
                  <a:gd name="connsiteY513" fmla="*/ 114513 h 225957"/>
                  <a:gd name="connsiteX514" fmla="*/ 244 w 397940"/>
                  <a:gd name="connsiteY514" fmla="*/ 109884 h 225957"/>
                  <a:gd name="connsiteX515" fmla="*/ 3612 w 397940"/>
                  <a:gd name="connsiteY515" fmla="*/ 106550 h 225957"/>
                  <a:gd name="connsiteX516" fmla="*/ 4439 w 397940"/>
                  <a:gd name="connsiteY516" fmla="*/ 104866 h 225957"/>
                  <a:gd name="connsiteX517" fmla="*/ 5696 w 397940"/>
                  <a:gd name="connsiteY517" fmla="*/ 101209 h 225957"/>
                  <a:gd name="connsiteX518" fmla="*/ 6638 w 397940"/>
                  <a:gd name="connsiteY518" fmla="*/ 99497 h 225957"/>
                  <a:gd name="connsiteX519" fmla="*/ 7769 w 397940"/>
                  <a:gd name="connsiteY519" fmla="*/ 98079 h 225957"/>
                  <a:gd name="connsiteX520" fmla="*/ 8674 w 397940"/>
                  <a:gd name="connsiteY520" fmla="*/ 96706 h 225957"/>
                  <a:gd name="connsiteX521" fmla="*/ 8996 w 397940"/>
                  <a:gd name="connsiteY521" fmla="*/ 95526 h 225957"/>
                  <a:gd name="connsiteX522" fmla="*/ 9909 w 397940"/>
                  <a:gd name="connsiteY522" fmla="*/ 95398 h 225957"/>
                  <a:gd name="connsiteX523" fmla="*/ 12591 w 397940"/>
                  <a:gd name="connsiteY523" fmla="*/ 96462 h 225957"/>
                  <a:gd name="connsiteX524" fmla="*/ 14990 w 397940"/>
                  <a:gd name="connsiteY524" fmla="*/ 97009 h 225957"/>
                  <a:gd name="connsiteX525" fmla="*/ 15653 w 397940"/>
                  <a:gd name="connsiteY525" fmla="*/ 96491 h 225957"/>
                  <a:gd name="connsiteX526" fmla="*/ 15925 w 397940"/>
                  <a:gd name="connsiteY526" fmla="*/ 95811 h 225957"/>
                  <a:gd name="connsiteX527" fmla="*/ 15815 w 397940"/>
                  <a:gd name="connsiteY527" fmla="*/ 95282 h 225957"/>
                  <a:gd name="connsiteX528" fmla="*/ 13893 w 397940"/>
                  <a:gd name="connsiteY528" fmla="*/ 93712 h 225957"/>
                  <a:gd name="connsiteX529" fmla="*/ 12688 w 397940"/>
                  <a:gd name="connsiteY529" fmla="*/ 92712 h 225957"/>
                  <a:gd name="connsiteX530" fmla="*/ 12615 w 397940"/>
                  <a:gd name="connsiteY530" fmla="*/ 92097 h 225957"/>
                  <a:gd name="connsiteX531" fmla="*/ 13049 w 397940"/>
                  <a:gd name="connsiteY531" fmla="*/ 90717 h 225957"/>
                  <a:gd name="connsiteX532" fmla="*/ 13280 w 397940"/>
                  <a:gd name="connsiteY532" fmla="*/ 89165 h 225957"/>
                  <a:gd name="connsiteX533" fmla="*/ 13003 w 397940"/>
                  <a:gd name="connsiteY533" fmla="*/ 87486 h 225957"/>
                  <a:gd name="connsiteX534" fmla="*/ 11693 w 397940"/>
                  <a:gd name="connsiteY534" fmla="*/ 83762 h 225957"/>
                  <a:gd name="connsiteX535" fmla="*/ 11444 w 397940"/>
                  <a:gd name="connsiteY535" fmla="*/ 82174 h 225957"/>
                  <a:gd name="connsiteX536" fmla="*/ 12699 w 397940"/>
                  <a:gd name="connsiteY536" fmla="*/ 80244 h 225957"/>
                  <a:gd name="connsiteX537" fmla="*/ 16780 w 397940"/>
                  <a:gd name="connsiteY537" fmla="*/ 75641 h 225957"/>
                  <a:gd name="connsiteX538" fmla="*/ 18141 w 397940"/>
                  <a:gd name="connsiteY538" fmla="*/ 73910 h 225957"/>
                  <a:gd name="connsiteX539" fmla="*/ 20000 w 397940"/>
                  <a:gd name="connsiteY539" fmla="*/ 71815 h 225957"/>
                  <a:gd name="connsiteX540" fmla="*/ 25044 w 397940"/>
                  <a:gd name="connsiteY540" fmla="*/ 66799 h 225957"/>
                  <a:gd name="connsiteX541" fmla="*/ 28232 w 397940"/>
                  <a:gd name="connsiteY541" fmla="*/ 63878 h 225957"/>
                  <a:gd name="connsiteX542" fmla="*/ 30389 w 397940"/>
                  <a:gd name="connsiteY542" fmla="*/ 62260 h 225957"/>
                  <a:gd name="connsiteX543" fmla="*/ 33548 w 397940"/>
                  <a:gd name="connsiteY543" fmla="*/ 59445 h 225957"/>
                  <a:gd name="connsiteX544" fmla="*/ 34934 w 397940"/>
                  <a:gd name="connsiteY544" fmla="*/ 57987 h 225957"/>
                  <a:gd name="connsiteX545" fmla="*/ 40704 w 397940"/>
                  <a:gd name="connsiteY545" fmla="*/ 57038 h 225957"/>
                  <a:gd name="connsiteX546" fmla="*/ 41419 w 397940"/>
                  <a:gd name="connsiteY546" fmla="*/ 55675 h 225957"/>
                  <a:gd name="connsiteX547" fmla="*/ 42473 w 397940"/>
                  <a:gd name="connsiteY547" fmla="*/ 54183 h 225957"/>
                  <a:gd name="connsiteX548" fmla="*/ 43297 w 397940"/>
                  <a:gd name="connsiteY548" fmla="*/ 53543 h 225957"/>
                  <a:gd name="connsiteX549" fmla="*/ 43403 w 397940"/>
                  <a:gd name="connsiteY549" fmla="*/ 51027 h 225957"/>
                  <a:gd name="connsiteX550" fmla="*/ 42332 w 397940"/>
                  <a:gd name="connsiteY550" fmla="*/ 47950 h 225957"/>
                  <a:gd name="connsiteX551" fmla="*/ 41471 w 397940"/>
                  <a:gd name="connsiteY551" fmla="*/ 46862 h 225957"/>
                  <a:gd name="connsiteX552" fmla="*/ 40832 w 397940"/>
                  <a:gd name="connsiteY552" fmla="*/ 46121 h 225957"/>
                  <a:gd name="connsiteX553" fmla="*/ 41244 w 397940"/>
                  <a:gd name="connsiteY553" fmla="*/ 45428 h 225957"/>
                  <a:gd name="connsiteX554" fmla="*/ 41883 w 397940"/>
                  <a:gd name="connsiteY554" fmla="*/ 45231 h 225957"/>
                  <a:gd name="connsiteX555" fmla="*/ 42671 w 397940"/>
                  <a:gd name="connsiteY555" fmla="*/ 45133 h 225957"/>
                  <a:gd name="connsiteX556" fmla="*/ 43647 w 397940"/>
                  <a:gd name="connsiteY556" fmla="*/ 44391 h 225957"/>
                  <a:gd name="connsiteX557" fmla="*/ 43427 w 397940"/>
                  <a:gd name="connsiteY557" fmla="*/ 43581 h 225957"/>
                  <a:gd name="connsiteX558" fmla="*/ 40994 w 397940"/>
                  <a:gd name="connsiteY558" fmla="*/ 41606 h 225957"/>
                  <a:gd name="connsiteX559" fmla="*/ 39940 w 397940"/>
                  <a:gd name="connsiteY559" fmla="*/ 40085 h 225957"/>
                  <a:gd name="connsiteX560" fmla="*/ 38290 w 397940"/>
                  <a:gd name="connsiteY560" fmla="*/ 36177 h 225957"/>
                  <a:gd name="connsiteX561" fmla="*/ 34945 w 397940"/>
                  <a:gd name="connsiteY561" fmla="*/ 32109 h 225957"/>
                  <a:gd name="connsiteX562" fmla="*/ 33889 w 397940"/>
                  <a:gd name="connsiteY562" fmla="*/ 30793 h 225957"/>
                  <a:gd name="connsiteX563" fmla="*/ 33738 w 397940"/>
                  <a:gd name="connsiteY563" fmla="*/ 29548 h 225957"/>
                  <a:gd name="connsiteX564" fmla="*/ 34226 w 397940"/>
                  <a:gd name="connsiteY564" fmla="*/ 28303 h 225957"/>
                  <a:gd name="connsiteX565" fmla="*/ 33766 w 397940"/>
                  <a:gd name="connsiteY565" fmla="*/ 26716 h 225957"/>
                  <a:gd name="connsiteX566" fmla="*/ 32581 w 397940"/>
                  <a:gd name="connsiteY566" fmla="*/ 24690 h 225957"/>
                  <a:gd name="connsiteX567" fmla="*/ 32768 w 397940"/>
                  <a:gd name="connsiteY567" fmla="*/ 24471 h 225957"/>
                  <a:gd name="connsiteX568" fmla="*/ 32654 w 397940"/>
                  <a:gd name="connsiteY568" fmla="*/ 21968 h 225957"/>
                  <a:gd name="connsiteX569" fmla="*/ 33496 w 397940"/>
                  <a:gd name="connsiteY569" fmla="*/ 21427 h 225957"/>
                  <a:gd name="connsiteX570" fmla="*/ 34826 w 397940"/>
                  <a:gd name="connsiteY570" fmla="*/ 21061 h 225957"/>
                  <a:gd name="connsiteX571" fmla="*/ 36703 w 397940"/>
                  <a:gd name="connsiteY571" fmla="*/ 21184 h 225957"/>
                  <a:gd name="connsiteX572" fmla="*/ 38307 w 397940"/>
                  <a:gd name="connsiteY572" fmla="*/ 21571 h 225957"/>
                  <a:gd name="connsiteX573" fmla="*/ 40229 w 397940"/>
                  <a:gd name="connsiteY573" fmla="*/ 22716 h 225957"/>
                  <a:gd name="connsiteX574" fmla="*/ 40829 w 397940"/>
                  <a:gd name="connsiteY574" fmla="*/ 22532 h 225957"/>
                  <a:gd name="connsiteX575" fmla="*/ 44114 w 397940"/>
                  <a:gd name="connsiteY575" fmla="*/ 20373 h 225957"/>
                  <a:gd name="connsiteX576" fmla="*/ 47502 w 397940"/>
                  <a:gd name="connsiteY576" fmla="*/ 17130 h 225957"/>
                  <a:gd name="connsiteX577" fmla="*/ 48467 w 397940"/>
                  <a:gd name="connsiteY577" fmla="*/ 15251 h 225957"/>
                  <a:gd name="connsiteX578" fmla="*/ 49311 w 397940"/>
                  <a:gd name="connsiteY578" fmla="*/ 14392 h 225957"/>
                  <a:gd name="connsiteX579" fmla="*/ 52259 w 397940"/>
                  <a:gd name="connsiteY579" fmla="*/ 13933 h 225957"/>
                  <a:gd name="connsiteX580" fmla="*/ 54826 w 397940"/>
                  <a:gd name="connsiteY580" fmla="*/ 13743 h 225957"/>
                  <a:gd name="connsiteX581" fmla="*/ 56459 w 397940"/>
                  <a:gd name="connsiteY581" fmla="*/ 13779 h 225957"/>
                  <a:gd name="connsiteX582" fmla="*/ 60467 w 397940"/>
                  <a:gd name="connsiteY582" fmla="*/ 13459 h 225957"/>
                  <a:gd name="connsiteX583" fmla="*/ 62842 w 397940"/>
                  <a:gd name="connsiteY583" fmla="*/ 13104 h 225957"/>
                  <a:gd name="connsiteX584" fmla="*/ 64896 w 397940"/>
                  <a:gd name="connsiteY584" fmla="*/ 12531 h 225957"/>
                  <a:gd name="connsiteX585" fmla="*/ 69329 w 397940"/>
                  <a:gd name="connsiteY585" fmla="*/ 12318 h 225957"/>
                  <a:gd name="connsiteX586" fmla="*/ 76252 w 397940"/>
                  <a:gd name="connsiteY586" fmla="*/ 12702 h 225957"/>
                  <a:gd name="connsiteX587" fmla="*/ 80795 w 397940"/>
                  <a:gd name="connsiteY587" fmla="*/ 12729 h 225957"/>
                  <a:gd name="connsiteX588" fmla="*/ 83881 w 397940"/>
                  <a:gd name="connsiteY588" fmla="*/ 13034 h 225957"/>
                  <a:gd name="connsiteX589" fmla="*/ 91439 w 397940"/>
                  <a:gd name="connsiteY589" fmla="*/ 14761 h 225957"/>
                  <a:gd name="connsiteX590" fmla="*/ 94252 w 397940"/>
                  <a:gd name="connsiteY590" fmla="*/ 15074 h 225957"/>
                  <a:gd name="connsiteX591" fmla="*/ 95559 w 397940"/>
                  <a:gd name="connsiteY591" fmla="*/ 15988 h 225957"/>
                  <a:gd name="connsiteX592" fmla="*/ 98068 w 397940"/>
                  <a:gd name="connsiteY592" fmla="*/ 16328 h 225957"/>
                  <a:gd name="connsiteX593" fmla="*/ 102635 w 397940"/>
                  <a:gd name="connsiteY593" fmla="*/ 17248 h 225957"/>
                  <a:gd name="connsiteX594" fmla="*/ 106602 w 397940"/>
                  <a:gd name="connsiteY594" fmla="*/ 17741 h 225957"/>
                  <a:gd name="connsiteX595" fmla="*/ 109284 w 397940"/>
                  <a:gd name="connsiteY595" fmla="*/ 17539 h 225957"/>
                  <a:gd name="connsiteX596" fmla="*/ 110785 w 397940"/>
                  <a:gd name="connsiteY596" fmla="*/ 17798 h 225957"/>
                  <a:gd name="connsiteX597" fmla="*/ 113618 w 397940"/>
                  <a:gd name="connsiteY597" fmla="*/ 21877 h 225957"/>
                  <a:gd name="connsiteX598" fmla="*/ 114196 w 397940"/>
                  <a:gd name="connsiteY598" fmla="*/ 22353 h 225957"/>
                  <a:gd name="connsiteX599" fmla="*/ 115332 w 397940"/>
                  <a:gd name="connsiteY599" fmla="*/ 22449 h 225957"/>
                  <a:gd name="connsiteX600" fmla="*/ 117647 w 397940"/>
                  <a:gd name="connsiteY600" fmla="*/ 22097 h 225957"/>
                  <a:gd name="connsiteX601" fmla="*/ 120943 w 397940"/>
                  <a:gd name="connsiteY601" fmla="*/ 22229 h 225957"/>
                  <a:gd name="connsiteX602" fmla="*/ 122897 w 397940"/>
                  <a:gd name="connsiteY602" fmla="*/ 23088 h 225957"/>
                  <a:gd name="connsiteX603" fmla="*/ 122610 w 397940"/>
                  <a:gd name="connsiteY603" fmla="*/ 25513 h 225957"/>
                  <a:gd name="connsiteX604" fmla="*/ 123123 w 397940"/>
                  <a:gd name="connsiteY604" fmla="*/ 25864 h 225957"/>
                  <a:gd name="connsiteX605" fmla="*/ 124037 w 397940"/>
                  <a:gd name="connsiteY605" fmla="*/ 25729 h 225957"/>
                  <a:gd name="connsiteX606" fmla="*/ 125088 w 397940"/>
                  <a:gd name="connsiteY606" fmla="*/ 24360 h 225957"/>
                  <a:gd name="connsiteX607" fmla="*/ 125972 w 397940"/>
                  <a:gd name="connsiteY607" fmla="*/ 22940 h 225957"/>
                  <a:gd name="connsiteX608" fmla="*/ 126630 w 397940"/>
                  <a:gd name="connsiteY608" fmla="*/ 22501 h 225957"/>
                  <a:gd name="connsiteX609" fmla="*/ 129995 w 397940"/>
                  <a:gd name="connsiteY609" fmla="*/ 23460 h 225957"/>
                  <a:gd name="connsiteX610" fmla="*/ 131532 w 397940"/>
                  <a:gd name="connsiteY610" fmla="*/ 23305 h 225957"/>
                  <a:gd name="connsiteX611" fmla="*/ 132951 w 397940"/>
                  <a:gd name="connsiteY611" fmla="*/ 22228 h 225957"/>
                  <a:gd name="connsiteX612" fmla="*/ 133821 w 397940"/>
                  <a:gd name="connsiteY612" fmla="*/ 22045 h 225957"/>
                  <a:gd name="connsiteX613" fmla="*/ 136205 w 397940"/>
                  <a:gd name="connsiteY613" fmla="*/ 22811 h 225957"/>
                  <a:gd name="connsiteX614" fmla="*/ 139146 w 397940"/>
                  <a:gd name="connsiteY614" fmla="*/ 23347 h 225957"/>
                  <a:gd name="connsiteX615" fmla="*/ 141522 w 397940"/>
                  <a:gd name="connsiteY615" fmla="*/ 23381 h 225957"/>
                  <a:gd name="connsiteX616" fmla="*/ 143003 w 397940"/>
                  <a:gd name="connsiteY616" fmla="*/ 23964 h 225957"/>
                  <a:gd name="connsiteX617" fmla="*/ 144080 w 397940"/>
                  <a:gd name="connsiteY617" fmla="*/ 26494 h 225957"/>
                  <a:gd name="connsiteX618" fmla="*/ 145020 w 397940"/>
                  <a:gd name="connsiteY618" fmla="*/ 27013 h 225957"/>
                  <a:gd name="connsiteX619" fmla="*/ 145927 w 397940"/>
                  <a:gd name="connsiteY619" fmla="*/ 27174 h 225957"/>
                  <a:gd name="connsiteX620" fmla="*/ 147298 w 397940"/>
                  <a:gd name="connsiteY620" fmla="*/ 24913 h 225957"/>
                  <a:gd name="connsiteX621" fmla="*/ 148542 w 397940"/>
                  <a:gd name="connsiteY621" fmla="*/ 24036 h 225957"/>
                  <a:gd name="connsiteX622" fmla="*/ 150267 w 397940"/>
                  <a:gd name="connsiteY622" fmla="*/ 23390 h 225957"/>
                  <a:gd name="connsiteX623" fmla="*/ 151377 w 397940"/>
                  <a:gd name="connsiteY623" fmla="*/ 23107 h 225957"/>
                  <a:gd name="connsiteX624" fmla="*/ 152158 w 397940"/>
                  <a:gd name="connsiteY624" fmla="*/ 22308 h 225957"/>
                  <a:gd name="connsiteX625" fmla="*/ 153212 w 397940"/>
                  <a:gd name="connsiteY625" fmla="*/ 21528 h 225957"/>
                  <a:gd name="connsiteX626" fmla="*/ 154126 w 397940"/>
                  <a:gd name="connsiteY626" fmla="*/ 21466 h 225957"/>
                  <a:gd name="connsiteX627" fmla="*/ 154868 w 397940"/>
                  <a:gd name="connsiteY627" fmla="*/ 21768 h 225957"/>
                  <a:gd name="connsiteX628" fmla="*/ 155721 w 397940"/>
                  <a:gd name="connsiteY628" fmla="*/ 22847 h 225957"/>
                  <a:gd name="connsiteX629" fmla="*/ 156965 w 397940"/>
                  <a:gd name="connsiteY629" fmla="*/ 25305 h 225957"/>
                  <a:gd name="connsiteX630" fmla="*/ 158477 w 397940"/>
                  <a:gd name="connsiteY630" fmla="*/ 27771 h 225957"/>
                  <a:gd name="connsiteX631" fmla="*/ 159531 w 397940"/>
                  <a:gd name="connsiteY631" fmla="*/ 28666 h 225957"/>
                  <a:gd name="connsiteX632" fmla="*/ 162254 w 397940"/>
                  <a:gd name="connsiteY632" fmla="*/ 27909 h 225957"/>
                  <a:gd name="connsiteX633" fmla="*/ 164100 w 397940"/>
                  <a:gd name="connsiteY633" fmla="*/ 27139 h 225957"/>
                  <a:gd name="connsiteX634" fmla="*/ 167482 w 397940"/>
                  <a:gd name="connsiteY634" fmla="*/ 26993 h 225957"/>
                  <a:gd name="connsiteX635" fmla="*/ 171964 w 397940"/>
                  <a:gd name="connsiteY635" fmla="*/ 26451 h 225957"/>
                  <a:gd name="connsiteX636" fmla="*/ 175392 w 397940"/>
                  <a:gd name="connsiteY636" fmla="*/ 25745 h 225957"/>
                  <a:gd name="connsiteX637" fmla="*/ 177536 w 397940"/>
                  <a:gd name="connsiteY637" fmla="*/ 25867 h 225957"/>
                  <a:gd name="connsiteX638" fmla="*/ 178836 w 397940"/>
                  <a:gd name="connsiteY638" fmla="*/ 26650 h 225957"/>
                  <a:gd name="connsiteX639" fmla="*/ 180814 w 397940"/>
                  <a:gd name="connsiteY639" fmla="*/ 28166 h 225957"/>
                  <a:gd name="connsiteX640" fmla="*/ 181354 w 397940"/>
                  <a:gd name="connsiteY640" fmla="*/ 30339 h 225957"/>
                  <a:gd name="connsiteX641" fmla="*/ 183921 w 397940"/>
                  <a:gd name="connsiteY641" fmla="*/ 31841 h 225957"/>
                  <a:gd name="connsiteX642" fmla="*/ 186022 w 397940"/>
                  <a:gd name="connsiteY642" fmla="*/ 32112 h 225957"/>
                  <a:gd name="connsiteX643" fmla="*/ 186739 w 397940"/>
                  <a:gd name="connsiteY643" fmla="*/ 30549 h 225957"/>
                  <a:gd name="connsiteX644" fmla="*/ 187968 w 397940"/>
                  <a:gd name="connsiteY644" fmla="*/ 29462 h 225957"/>
                  <a:gd name="connsiteX645" fmla="*/ 187508 w 397940"/>
                  <a:gd name="connsiteY645" fmla="*/ 27968 h 225957"/>
                  <a:gd name="connsiteX646" fmla="*/ 187301 w 397940"/>
                  <a:gd name="connsiteY646" fmla="*/ 26062 h 225957"/>
                  <a:gd name="connsiteX647" fmla="*/ 186380 w 397940"/>
                  <a:gd name="connsiteY647" fmla="*/ 24291 h 225957"/>
                  <a:gd name="connsiteX648" fmla="*/ 185767 w 397940"/>
                  <a:gd name="connsiteY648" fmla="*/ 22384 h 225957"/>
                  <a:gd name="connsiteX649" fmla="*/ 186892 w 397940"/>
                  <a:gd name="connsiteY649" fmla="*/ 19657 h 225957"/>
                  <a:gd name="connsiteX650" fmla="*/ 188121 w 397940"/>
                  <a:gd name="connsiteY650" fmla="*/ 17267 h 225957"/>
                  <a:gd name="connsiteX651" fmla="*/ 188736 w 397940"/>
                  <a:gd name="connsiteY651" fmla="*/ 15968 h 225957"/>
                  <a:gd name="connsiteX652" fmla="*/ 190682 w 397940"/>
                  <a:gd name="connsiteY652" fmla="*/ 13576 h 225957"/>
                  <a:gd name="connsiteX653" fmla="*/ 192682 w 397940"/>
                  <a:gd name="connsiteY653" fmla="*/ 11865 h 225957"/>
                  <a:gd name="connsiteX654" fmla="*/ 195666 w 397940"/>
                  <a:gd name="connsiteY654" fmla="*/ 9111 h 225957"/>
                  <a:gd name="connsiteX655" fmla="*/ 197847 w 397940"/>
                  <a:gd name="connsiteY655" fmla="*/ 8201 h 225957"/>
                  <a:gd name="connsiteX656" fmla="*/ 199818 w 397940"/>
                  <a:gd name="connsiteY656" fmla="*/ 8616 h 225957"/>
                  <a:gd name="connsiteX657" fmla="*/ 200913 w 397940"/>
                  <a:gd name="connsiteY657" fmla="*/ 8992 h 225957"/>
                  <a:gd name="connsiteX658" fmla="*/ 203744 w 397940"/>
                  <a:gd name="connsiteY658" fmla="*/ 7360 h 225957"/>
                  <a:gd name="connsiteX659" fmla="*/ 208780 w 397940"/>
                  <a:gd name="connsiteY659" fmla="*/ 7279 h 225957"/>
                  <a:gd name="connsiteX660" fmla="*/ 212973 w 397940"/>
                  <a:gd name="connsiteY660" fmla="*/ 7487 h 225957"/>
                  <a:gd name="connsiteX661" fmla="*/ 213394 w 397940"/>
                  <a:gd name="connsiteY661" fmla="*/ 7536 h 225957"/>
                  <a:gd name="connsiteX662" fmla="*/ 215455 w 397940"/>
                  <a:gd name="connsiteY662" fmla="*/ 8380 h 225957"/>
                  <a:gd name="connsiteX663" fmla="*/ 217627 w 397940"/>
                  <a:gd name="connsiteY663" fmla="*/ 9098 h 225957"/>
                  <a:gd name="connsiteX664" fmla="*/ 219125 w 397940"/>
                  <a:gd name="connsiteY664" fmla="*/ 9146 h 225957"/>
                  <a:gd name="connsiteX665" fmla="*/ 220909 w 397940"/>
                  <a:gd name="connsiteY665" fmla="*/ 8981 h 225957"/>
                  <a:gd name="connsiteX666" fmla="*/ 223000 w 397940"/>
                  <a:gd name="connsiteY666" fmla="*/ 8024 h 225957"/>
                  <a:gd name="connsiteX667" fmla="*/ 224459 w 397940"/>
                  <a:gd name="connsiteY667" fmla="*/ 7104 h 225957"/>
                  <a:gd name="connsiteX668" fmla="*/ 226232 w 397940"/>
                  <a:gd name="connsiteY668" fmla="*/ 2418 h 225957"/>
                  <a:gd name="connsiteX669" fmla="*/ 226858 w 397940"/>
                  <a:gd name="connsiteY669" fmla="*/ 1744 h 225957"/>
                  <a:gd name="connsiteX670" fmla="*/ 227834 w 397940"/>
                  <a:gd name="connsiteY670" fmla="*/ 1376 h 225957"/>
                  <a:gd name="connsiteX671" fmla="*/ 229437 w 397940"/>
                  <a:gd name="connsiteY671" fmla="*/ 1337 h 225957"/>
                  <a:gd name="connsiteX672" fmla="*/ 232477 w 397940"/>
                  <a:gd name="connsiteY672" fmla="*/ 2211 h 225957"/>
                  <a:gd name="connsiteX673" fmla="*/ 236038 w 397940"/>
                  <a:gd name="connsiteY673" fmla="*/ 2996 h 225957"/>
                  <a:gd name="connsiteX674" fmla="*/ 238100 w 397940"/>
                  <a:gd name="connsiteY674" fmla="*/ 2886 h 225957"/>
                  <a:gd name="connsiteX675" fmla="*/ 243600 w 397940"/>
                  <a:gd name="connsiteY675" fmla="*/ 390 h 2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397940" h="225957">
                    <a:moveTo>
                      <a:pt x="207344" y="171473"/>
                    </a:moveTo>
                    <a:lnTo>
                      <a:pt x="209026" y="173412"/>
                    </a:lnTo>
                    <a:lnTo>
                      <a:pt x="210212" y="174260"/>
                    </a:lnTo>
                    <a:lnTo>
                      <a:pt x="218475" y="176160"/>
                    </a:lnTo>
                    <a:lnTo>
                      <a:pt x="221524" y="177522"/>
                    </a:lnTo>
                    <a:lnTo>
                      <a:pt x="218413" y="177159"/>
                    </a:lnTo>
                    <a:lnTo>
                      <a:pt x="211576" y="175879"/>
                    </a:lnTo>
                    <a:lnTo>
                      <a:pt x="208562" y="174670"/>
                    </a:lnTo>
                    <a:lnTo>
                      <a:pt x="207784" y="173318"/>
                    </a:lnTo>
                    <a:close/>
                    <a:moveTo>
                      <a:pt x="246666" y="0"/>
                    </a:moveTo>
                    <a:lnTo>
                      <a:pt x="250309" y="587"/>
                    </a:lnTo>
                    <a:lnTo>
                      <a:pt x="253881" y="622"/>
                    </a:lnTo>
                    <a:lnTo>
                      <a:pt x="256576" y="261"/>
                    </a:lnTo>
                    <a:lnTo>
                      <a:pt x="258424" y="1126"/>
                    </a:lnTo>
                    <a:lnTo>
                      <a:pt x="260707" y="3030"/>
                    </a:lnTo>
                    <a:lnTo>
                      <a:pt x="262769" y="5862"/>
                    </a:lnTo>
                    <a:lnTo>
                      <a:pt x="264930" y="11080"/>
                    </a:lnTo>
                    <a:lnTo>
                      <a:pt x="271227" y="16962"/>
                    </a:lnTo>
                    <a:lnTo>
                      <a:pt x="271335" y="18109"/>
                    </a:lnTo>
                    <a:lnTo>
                      <a:pt x="270817" y="18846"/>
                    </a:lnTo>
                    <a:lnTo>
                      <a:pt x="267718" y="19561"/>
                    </a:lnTo>
                    <a:lnTo>
                      <a:pt x="265107" y="19946"/>
                    </a:lnTo>
                    <a:lnTo>
                      <a:pt x="264982" y="20953"/>
                    </a:lnTo>
                    <a:lnTo>
                      <a:pt x="265675" y="22042"/>
                    </a:lnTo>
                    <a:lnTo>
                      <a:pt x="266872" y="23635"/>
                    </a:lnTo>
                    <a:lnTo>
                      <a:pt x="267057" y="25685"/>
                    </a:lnTo>
                    <a:lnTo>
                      <a:pt x="266997" y="27569"/>
                    </a:lnTo>
                    <a:lnTo>
                      <a:pt x="267513" y="29233"/>
                    </a:lnTo>
                    <a:lnTo>
                      <a:pt x="268511" y="29909"/>
                    </a:lnTo>
                    <a:lnTo>
                      <a:pt x="268636" y="30745"/>
                    </a:lnTo>
                    <a:lnTo>
                      <a:pt x="267481" y="31766"/>
                    </a:lnTo>
                    <a:lnTo>
                      <a:pt x="267159" y="32396"/>
                    </a:lnTo>
                    <a:lnTo>
                      <a:pt x="267608" y="32735"/>
                    </a:lnTo>
                    <a:lnTo>
                      <a:pt x="273287" y="32932"/>
                    </a:lnTo>
                    <a:lnTo>
                      <a:pt x="276068" y="33926"/>
                    </a:lnTo>
                    <a:lnTo>
                      <a:pt x="278180" y="34831"/>
                    </a:lnTo>
                    <a:lnTo>
                      <a:pt x="279243" y="34915"/>
                    </a:lnTo>
                    <a:lnTo>
                      <a:pt x="281635" y="34333"/>
                    </a:lnTo>
                    <a:lnTo>
                      <a:pt x="284326" y="33966"/>
                    </a:lnTo>
                    <a:lnTo>
                      <a:pt x="285958" y="33917"/>
                    </a:lnTo>
                    <a:lnTo>
                      <a:pt x="286589" y="34584"/>
                    </a:lnTo>
                    <a:lnTo>
                      <a:pt x="287092" y="36334"/>
                    </a:lnTo>
                    <a:lnTo>
                      <a:pt x="288038" y="38084"/>
                    </a:lnTo>
                    <a:lnTo>
                      <a:pt x="288921" y="38584"/>
                    </a:lnTo>
                    <a:lnTo>
                      <a:pt x="290493" y="38500"/>
                    </a:lnTo>
                    <a:lnTo>
                      <a:pt x="291439" y="38584"/>
                    </a:lnTo>
                    <a:lnTo>
                      <a:pt x="291944" y="39249"/>
                    </a:lnTo>
                    <a:lnTo>
                      <a:pt x="291376" y="40249"/>
                    </a:lnTo>
                    <a:lnTo>
                      <a:pt x="291502" y="41329"/>
                    </a:lnTo>
                    <a:lnTo>
                      <a:pt x="292195" y="42660"/>
                    </a:lnTo>
                    <a:lnTo>
                      <a:pt x="293015" y="45733"/>
                    </a:lnTo>
                    <a:lnTo>
                      <a:pt x="293771" y="46646"/>
                    </a:lnTo>
                    <a:lnTo>
                      <a:pt x="294274" y="47808"/>
                    </a:lnTo>
                    <a:lnTo>
                      <a:pt x="294274" y="49135"/>
                    </a:lnTo>
                    <a:lnTo>
                      <a:pt x="293644" y="50295"/>
                    </a:lnTo>
                    <a:lnTo>
                      <a:pt x="293203" y="51205"/>
                    </a:lnTo>
                    <a:lnTo>
                      <a:pt x="293644" y="53275"/>
                    </a:lnTo>
                    <a:lnTo>
                      <a:pt x="295343" y="55592"/>
                    </a:lnTo>
                    <a:lnTo>
                      <a:pt x="296604" y="56170"/>
                    </a:lnTo>
                    <a:lnTo>
                      <a:pt x="297613" y="58236"/>
                    </a:lnTo>
                    <a:lnTo>
                      <a:pt x="299439" y="58896"/>
                    </a:lnTo>
                    <a:lnTo>
                      <a:pt x="302147" y="57163"/>
                    </a:lnTo>
                    <a:lnTo>
                      <a:pt x="304227" y="56254"/>
                    </a:lnTo>
                    <a:lnTo>
                      <a:pt x="306827" y="56759"/>
                    </a:lnTo>
                    <a:lnTo>
                      <a:pt x="309228" y="57082"/>
                    </a:lnTo>
                    <a:lnTo>
                      <a:pt x="310843" y="58263"/>
                    </a:lnTo>
                    <a:lnTo>
                      <a:pt x="312035" y="59887"/>
                    </a:lnTo>
                    <a:lnTo>
                      <a:pt x="313422" y="60794"/>
                    </a:lnTo>
                    <a:lnTo>
                      <a:pt x="314810" y="60320"/>
                    </a:lnTo>
                    <a:lnTo>
                      <a:pt x="317706" y="60794"/>
                    </a:lnTo>
                    <a:lnTo>
                      <a:pt x="319029" y="62114"/>
                    </a:lnTo>
                    <a:lnTo>
                      <a:pt x="320351" y="62856"/>
                    </a:lnTo>
                    <a:lnTo>
                      <a:pt x="322052" y="61785"/>
                    </a:lnTo>
                    <a:lnTo>
                      <a:pt x="323439" y="60465"/>
                    </a:lnTo>
                    <a:lnTo>
                      <a:pt x="328511" y="59082"/>
                    </a:lnTo>
                    <a:lnTo>
                      <a:pt x="331668" y="58736"/>
                    </a:lnTo>
                    <a:lnTo>
                      <a:pt x="332549" y="58464"/>
                    </a:lnTo>
                    <a:lnTo>
                      <a:pt x="334402" y="57476"/>
                    </a:lnTo>
                    <a:lnTo>
                      <a:pt x="336354" y="56819"/>
                    </a:lnTo>
                    <a:lnTo>
                      <a:pt x="338116" y="56997"/>
                    </a:lnTo>
                    <a:lnTo>
                      <a:pt x="339852" y="59049"/>
                    </a:lnTo>
                    <a:lnTo>
                      <a:pt x="341643" y="60465"/>
                    </a:lnTo>
                    <a:lnTo>
                      <a:pt x="342146" y="62691"/>
                    </a:lnTo>
                    <a:lnTo>
                      <a:pt x="344337" y="65753"/>
                    </a:lnTo>
                    <a:lnTo>
                      <a:pt x="349779" y="69936"/>
                    </a:lnTo>
                    <a:lnTo>
                      <a:pt x="351915" y="71211"/>
                    </a:lnTo>
                    <a:lnTo>
                      <a:pt x="353366" y="70986"/>
                    </a:lnTo>
                    <a:lnTo>
                      <a:pt x="354124" y="70652"/>
                    </a:lnTo>
                    <a:lnTo>
                      <a:pt x="354476" y="70215"/>
                    </a:lnTo>
                    <a:lnTo>
                      <a:pt x="354804" y="68170"/>
                    </a:lnTo>
                    <a:lnTo>
                      <a:pt x="355493" y="67417"/>
                    </a:lnTo>
                    <a:lnTo>
                      <a:pt x="356596" y="67392"/>
                    </a:lnTo>
                    <a:lnTo>
                      <a:pt x="360855" y="69940"/>
                    </a:lnTo>
                    <a:lnTo>
                      <a:pt x="363083" y="70214"/>
                    </a:lnTo>
                    <a:lnTo>
                      <a:pt x="365201" y="70263"/>
                    </a:lnTo>
                    <a:lnTo>
                      <a:pt x="368052" y="72240"/>
                    </a:lnTo>
                    <a:lnTo>
                      <a:pt x="371185" y="73958"/>
                    </a:lnTo>
                    <a:lnTo>
                      <a:pt x="373603" y="74139"/>
                    </a:lnTo>
                    <a:lnTo>
                      <a:pt x="375532" y="73467"/>
                    </a:lnTo>
                    <a:lnTo>
                      <a:pt x="376856" y="73058"/>
                    </a:lnTo>
                    <a:lnTo>
                      <a:pt x="377674" y="73713"/>
                    </a:lnTo>
                    <a:lnTo>
                      <a:pt x="378430" y="75190"/>
                    </a:lnTo>
                    <a:lnTo>
                      <a:pt x="379689" y="76338"/>
                    </a:lnTo>
                    <a:lnTo>
                      <a:pt x="381138" y="76666"/>
                    </a:lnTo>
                    <a:lnTo>
                      <a:pt x="383223" y="76741"/>
                    </a:lnTo>
                    <a:lnTo>
                      <a:pt x="386845" y="78966"/>
                    </a:lnTo>
                    <a:lnTo>
                      <a:pt x="390250" y="81226"/>
                    </a:lnTo>
                    <a:lnTo>
                      <a:pt x="392379" y="81351"/>
                    </a:lnTo>
                    <a:lnTo>
                      <a:pt x="394185" y="80688"/>
                    </a:lnTo>
                    <a:lnTo>
                      <a:pt x="395780" y="80517"/>
                    </a:lnTo>
                    <a:lnTo>
                      <a:pt x="396886" y="81087"/>
                    </a:lnTo>
                    <a:lnTo>
                      <a:pt x="397201" y="82069"/>
                    </a:lnTo>
                    <a:lnTo>
                      <a:pt x="396381" y="83378"/>
                    </a:lnTo>
                    <a:lnTo>
                      <a:pt x="396381" y="85258"/>
                    </a:lnTo>
                    <a:lnTo>
                      <a:pt x="397892" y="87055"/>
                    </a:lnTo>
                    <a:lnTo>
                      <a:pt x="397940" y="88820"/>
                    </a:lnTo>
                    <a:lnTo>
                      <a:pt x="397508" y="90413"/>
                    </a:lnTo>
                    <a:lnTo>
                      <a:pt x="396651" y="91880"/>
                    </a:lnTo>
                    <a:lnTo>
                      <a:pt x="394580" y="93894"/>
                    </a:lnTo>
                    <a:lnTo>
                      <a:pt x="392664" y="95773"/>
                    </a:lnTo>
                    <a:lnTo>
                      <a:pt x="389784" y="96558"/>
                    </a:lnTo>
                    <a:lnTo>
                      <a:pt x="388171" y="97376"/>
                    </a:lnTo>
                    <a:lnTo>
                      <a:pt x="388594" y="98755"/>
                    </a:lnTo>
                    <a:lnTo>
                      <a:pt x="389648" y="100041"/>
                    </a:lnTo>
                    <a:lnTo>
                      <a:pt x="392090" y="101081"/>
                    </a:lnTo>
                    <a:lnTo>
                      <a:pt x="394863" y="101838"/>
                    </a:lnTo>
                    <a:lnTo>
                      <a:pt x="395182" y="102673"/>
                    </a:lnTo>
                    <a:lnTo>
                      <a:pt x="394759" y="103092"/>
                    </a:lnTo>
                    <a:lnTo>
                      <a:pt x="392982" y="103480"/>
                    </a:lnTo>
                    <a:lnTo>
                      <a:pt x="390522" y="103082"/>
                    </a:lnTo>
                    <a:lnTo>
                      <a:pt x="389704" y="103812"/>
                    </a:lnTo>
                    <a:lnTo>
                      <a:pt x="388570" y="105028"/>
                    </a:lnTo>
                    <a:lnTo>
                      <a:pt x="387815" y="107215"/>
                    </a:lnTo>
                    <a:lnTo>
                      <a:pt x="387246" y="109239"/>
                    </a:lnTo>
                    <a:lnTo>
                      <a:pt x="389916" y="109788"/>
                    </a:lnTo>
                    <a:lnTo>
                      <a:pt x="391468" y="110614"/>
                    </a:lnTo>
                    <a:lnTo>
                      <a:pt x="391952" y="112276"/>
                    </a:lnTo>
                    <a:lnTo>
                      <a:pt x="392507" y="114123"/>
                    </a:lnTo>
                    <a:lnTo>
                      <a:pt x="392667" y="115785"/>
                    </a:lnTo>
                    <a:lnTo>
                      <a:pt x="391783" y="116592"/>
                    </a:lnTo>
                    <a:lnTo>
                      <a:pt x="391730" y="117418"/>
                    </a:lnTo>
                    <a:lnTo>
                      <a:pt x="392146" y="117824"/>
                    </a:lnTo>
                    <a:lnTo>
                      <a:pt x="393293" y="118008"/>
                    </a:lnTo>
                    <a:lnTo>
                      <a:pt x="394172" y="118377"/>
                    </a:lnTo>
                    <a:lnTo>
                      <a:pt x="394241" y="119253"/>
                    </a:lnTo>
                    <a:lnTo>
                      <a:pt x="392561" y="121220"/>
                    </a:lnTo>
                    <a:lnTo>
                      <a:pt x="390989" y="124979"/>
                    </a:lnTo>
                    <a:lnTo>
                      <a:pt x="390144" y="126978"/>
                    </a:lnTo>
                    <a:lnTo>
                      <a:pt x="390209" y="129146"/>
                    </a:lnTo>
                    <a:lnTo>
                      <a:pt x="389263" y="130350"/>
                    </a:lnTo>
                    <a:lnTo>
                      <a:pt x="387551" y="130452"/>
                    </a:lnTo>
                    <a:lnTo>
                      <a:pt x="381636" y="130662"/>
                    </a:lnTo>
                    <a:lnTo>
                      <a:pt x="376495" y="130559"/>
                    </a:lnTo>
                    <a:lnTo>
                      <a:pt x="374269" y="130247"/>
                    </a:lnTo>
                    <a:lnTo>
                      <a:pt x="370785" y="130060"/>
                    </a:lnTo>
                    <a:lnTo>
                      <a:pt x="369060" y="130570"/>
                    </a:lnTo>
                    <a:lnTo>
                      <a:pt x="366776" y="134029"/>
                    </a:lnTo>
                    <a:lnTo>
                      <a:pt x="365044" y="135384"/>
                    </a:lnTo>
                    <a:lnTo>
                      <a:pt x="362176" y="136607"/>
                    </a:lnTo>
                    <a:lnTo>
                      <a:pt x="359034" y="136957"/>
                    </a:lnTo>
                    <a:lnTo>
                      <a:pt x="357233" y="138383"/>
                    </a:lnTo>
                    <a:lnTo>
                      <a:pt x="356601" y="140618"/>
                    </a:lnTo>
                    <a:lnTo>
                      <a:pt x="356551" y="142598"/>
                    </a:lnTo>
                    <a:lnTo>
                      <a:pt x="356257" y="143586"/>
                    </a:lnTo>
                    <a:lnTo>
                      <a:pt x="355575" y="144452"/>
                    </a:lnTo>
                    <a:lnTo>
                      <a:pt x="355331" y="145068"/>
                    </a:lnTo>
                    <a:lnTo>
                      <a:pt x="355477" y="145747"/>
                    </a:lnTo>
                    <a:lnTo>
                      <a:pt x="356208" y="145994"/>
                    </a:lnTo>
                    <a:lnTo>
                      <a:pt x="357086" y="146303"/>
                    </a:lnTo>
                    <a:lnTo>
                      <a:pt x="357086" y="146797"/>
                    </a:lnTo>
                    <a:lnTo>
                      <a:pt x="356745" y="147414"/>
                    </a:lnTo>
                    <a:lnTo>
                      <a:pt x="355769" y="148092"/>
                    </a:lnTo>
                    <a:lnTo>
                      <a:pt x="355331" y="149141"/>
                    </a:lnTo>
                    <a:lnTo>
                      <a:pt x="355430" y="150249"/>
                    </a:lnTo>
                    <a:lnTo>
                      <a:pt x="355618" y="151483"/>
                    </a:lnTo>
                    <a:lnTo>
                      <a:pt x="354821" y="151796"/>
                    </a:lnTo>
                    <a:lnTo>
                      <a:pt x="347091" y="151360"/>
                    </a:lnTo>
                    <a:lnTo>
                      <a:pt x="340781" y="151954"/>
                    </a:lnTo>
                    <a:lnTo>
                      <a:pt x="336281" y="156355"/>
                    </a:lnTo>
                    <a:lnTo>
                      <a:pt x="333599" y="156343"/>
                    </a:lnTo>
                    <a:lnTo>
                      <a:pt x="329818" y="157489"/>
                    </a:lnTo>
                    <a:lnTo>
                      <a:pt x="327263" y="158912"/>
                    </a:lnTo>
                    <a:lnTo>
                      <a:pt x="324229" y="161995"/>
                    </a:lnTo>
                    <a:lnTo>
                      <a:pt x="321882" y="160611"/>
                    </a:lnTo>
                    <a:lnTo>
                      <a:pt x="319010" y="160651"/>
                    </a:lnTo>
                    <a:lnTo>
                      <a:pt x="316207" y="161490"/>
                    </a:lnTo>
                    <a:lnTo>
                      <a:pt x="312834" y="163547"/>
                    </a:lnTo>
                    <a:lnTo>
                      <a:pt x="310958" y="163911"/>
                    </a:lnTo>
                    <a:lnTo>
                      <a:pt x="307205" y="163319"/>
                    </a:lnTo>
                    <a:lnTo>
                      <a:pt x="302832" y="164500"/>
                    </a:lnTo>
                    <a:lnTo>
                      <a:pt x="293391" y="171244"/>
                    </a:lnTo>
                    <a:lnTo>
                      <a:pt x="290217" y="176160"/>
                    </a:lnTo>
                    <a:lnTo>
                      <a:pt x="289061" y="177121"/>
                    </a:lnTo>
                    <a:lnTo>
                      <a:pt x="287468" y="178319"/>
                    </a:lnTo>
                    <a:lnTo>
                      <a:pt x="285764" y="178924"/>
                    </a:lnTo>
                    <a:lnTo>
                      <a:pt x="284864" y="178868"/>
                    </a:lnTo>
                    <a:lnTo>
                      <a:pt x="289357" y="175378"/>
                    </a:lnTo>
                    <a:lnTo>
                      <a:pt x="290737" y="174068"/>
                    </a:lnTo>
                    <a:lnTo>
                      <a:pt x="290975" y="173101"/>
                    </a:lnTo>
                    <a:lnTo>
                      <a:pt x="290998" y="171541"/>
                    </a:lnTo>
                    <a:lnTo>
                      <a:pt x="289636" y="169601"/>
                    </a:lnTo>
                    <a:lnTo>
                      <a:pt x="285958" y="174407"/>
                    </a:lnTo>
                    <a:lnTo>
                      <a:pt x="283868" y="175104"/>
                    </a:lnTo>
                    <a:lnTo>
                      <a:pt x="281216" y="176548"/>
                    </a:lnTo>
                    <a:lnTo>
                      <a:pt x="281087" y="179764"/>
                    </a:lnTo>
                    <a:lnTo>
                      <a:pt x="281387" y="182146"/>
                    </a:lnTo>
                    <a:lnTo>
                      <a:pt x="282477" y="185142"/>
                    </a:lnTo>
                    <a:lnTo>
                      <a:pt x="285047" y="190042"/>
                    </a:lnTo>
                    <a:lnTo>
                      <a:pt x="290295" y="197027"/>
                    </a:lnTo>
                    <a:lnTo>
                      <a:pt x="292810" y="199588"/>
                    </a:lnTo>
                    <a:lnTo>
                      <a:pt x="294659" y="200611"/>
                    </a:lnTo>
                    <a:lnTo>
                      <a:pt x="296881" y="200759"/>
                    </a:lnTo>
                    <a:lnTo>
                      <a:pt x="301147" y="198607"/>
                    </a:lnTo>
                    <a:lnTo>
                      <a:pt x="302972" y="198271"/>
                    </a:lnTo>
                    <a:lnTo>
                      <a:pt x="306939" y="199092"/>
                    </a:lnTo>
                    <a:lnTo>
                      <a:pt x="308360" y="197653"/>
                    </a:lnTo>
                    <a:lnTo>
                      <a:pt x="310424" y="196858"/>
                    </a:lnTo>
                    <a:lnTo>
                      <a:pt x="313074" y="196757"/>
                    </a:lnTo>
                    <a:lnTo>
                      <a:pt x="316097" y="197402"/>
                    </a:lnTo>
                    <a:lnTo>
                      <a:pt x="319368" y="198492"/>
                    </a:lnTo>
                    <a:lnTo>
                      <a:pt x="318025" y="200955"/>
                    </a:lnTo>
                    <a:lnTo>
                      <a:pt x="316622" y="202913"/>
                    </a:lnTo>
                    <a:lnTo>
                      <a:pt x="316127" y="205078"/>
                    </a:lnTo>
                    <a:lnTo>
                      <a:pt x="315352" y="207482"/>
                    </a:lnTo>
                    <a:lnTo>
                      <a:pt x="311737" y="208560"/>
                    </a:lnTo>
                    <a:lnTo>
                      <a:pt x="307865" y="208428"/>
                    </a:lnTo>
                    <a:lnTo>
                      <a:pt x="303782" y="209125"/>
                    </a:lnTo>
                    <a:lnTo>
                      <a:pt x="302311" y="208187"/>
                    </a:lnTo>
                    <a:lnTo>
                      <a:pt x="301335" y="207333"/>
                    </a:lnTo>
                    <a:lnTo>
                      <a:pt x="299524" y="206481"/>
                    </a:lnTo>
                    <a:lnTo>
                      <a:pt x="297135" y="206006"/>
                    </a:lnTo>
                    <a:lnTo>
                      <a:pt x="294991" y="206577"/>
                    </a:lnTo>
                    <a:lnTo>
                      <a:pt x="292454" y="209860"/>
                    </a:lnTo>
                    <a:lnTo>
                      <a:pt x="287965" y="212102"/>
                    </a:lnTo>
                    <a:lnTo>
                      <a:pt x="286481" y="214659"/>
                    </a:lnTo>
                    <a:lnTo>
                      <a:pt x="282061" y="214088"/>
                    </a:lnTo>
                    <a:lnTo>
                      <a:pt x="278282" y="214536"/>
                    </a:lnTo>
                    <a:lnTo>
                      <a:pt x="272821" y="216866"/>
                    </a:lnTo>
                    <a:lnTo>
                      <a:pt x="268660" y="221856"/>
                    </a:lnTo>
                    <a:lnTo>
                      <a:pt x="264075" y="224972"/>
                    </a:lnTo>
                    <a:lnTo>
                      <a:pt x="260439" y="225957"/>
                    </a:lnTo>
                    <a:lnTo>
                      <a:pt x="257027" y="225649"/>
                    </a:lnTo>
                    <a:lnTo>
                      <a:pt x="254820" y="224717"/>
                    </a:lnTo>
                    <a:lnTo>
                      <a:pt x="250283" y="221442"/>
                    </a:lnTo>
                    <a:lnTo>
                      <a:pt x="250549" y="220267"/>
                    </a:lnTo>
                    <a:lnTo>
                      <a:pt x="251182" y="219674"/>
                    </a:lnTo>
                    <a:lnTo>
                      <a:pt x="252039" y="217988"/>
                    </a:lnTo>
                    <a:lnTo>
                      <a:pt x="253855" y="211788"/>
                    </a:lnTo>
                    <a:lnTo>
                      <a:pt x="253611" y="209776"/>
                    </a:lnTo>
                    <a:lnTo>
                      <a:pt x="252594" y="206600"/>
                    </a:lnTo>
                    <a:lnTo>
                      <a:pt x="248996" y="204131"/>
                    </a:lnTo>
                    <a:lnTo>
                      <a:pt x="246100" y="204599"/>
                    </a:lnTo>
                    <a:lnTo>
                      <a:pt x="244451" y="203941"/>
                    </a:lnTo>
                    <a:lnTo>
                      <a:pt x="238519" y="199738"/>
                    </a:lnTo>
                    <a:lnTo>
                      <a:pt x="235291" y="199440"/>
                    </a:lnTo>
                    <a:lnTo>
                      <a:pt x="231723" y="200288"/>
                    </a:lnTo>
                    <a:lnTo>
                      <a:pt x="230408" y="199676"/>
                    </a:lnTo>
                    <a:lnTo>
                      <a:pt x="229439" y="198210"/>
                    </a:lnTo>
                    <a:lnTo>
                      <a:pt x="236515" y="193012"/>
                    </a:lnTo>
                    <a:lnTo>
                      <a:pt x="243464" y="188714"/>
                    </a:lnTo>
                    <a:lnTo>
                      <a:pt x="246511" y="188272"/>
                    </a:lnTo>
                    <a:lnTo>
                      <a:pt x="250627" y="186269"/>
                    </a:lnTo>
                    <a:lnTo>
                      <a:pt x="255019" y="183259"/>
                    </a:lnTo>
                    <a:lnTo>
                      <a:pt x="254397" y="180890"/>
                    </a:lnTo>
                    <a:lnTo>
                      <a:pt x="253455" y="179138"/>
                    </a:lnTo>
                    <a:lnTo>
                      <a:pt x="251348" y="179619"/>
                    </a:lnTo>
                    <a:lnTo>
                      <a:pt x="249823" y="180206"/>
                    </a:lnTo>
                    <a:lnTo>
                      <a:pt x="246144" y="178325"/>
                    </a:lnTo>
                    <a:lnTo>
                      <a:pt x="244790" y="176940"/>
                    </a:lnTo>
                    <a:lnTo>
                      <a:pt x="239031" y="178377"/>
                    </a:lnTo>
                    <a:lnTo>
                      <a:pt x="235826" y="178164"/>
                    </a:lnTo>
                    <a:lnTo>
                      <a:pt x="228748" y="179485"/>
                    </a:lnTo>
                    <a:lnTo>
                      <a:pt x="225500" y="178195"/>
                    </a:lnTo>
                    <a:lnTo>
                      <a:pt x="218996" y="174580"/>
                    </a:lnTo>
                    <a:lnTo>
                      <a:pt x="216551" y="173853"/>
                    </a:lnTo>
                    <a:lnTo>
                      <a:pt x="214474" y="174007"/>
                    </a:lnTo>
                    <a:lnTo>
                      <a:pt x="213340" y="172817"/>
                    </a:lnTo>
                    <a:lnTo>
                      <a:pt x="214731" y="172221"/>
                    </a:lnTo>
                    <a:lnTo>
                      <a:pt x="216346" y="172151"/>
                    </a:lnTo>
                    <a:lnTo>
                      <a:pt x="218022" y="171715"/>
                    </a:lnTo>
                    <a:lnTo>
                      <a:pt x="218495" y="171084"/>
                    </a:lnTo>
                    <a:lnTo>
                      <a:pt x="218394" y="169897"/>
                    </a:lnTo>
                    <a:lnTo>
                      <a:pt x="215016" y="168996"/>
                    </a:lnTo>
                    <a:lnTo>
                      <a:pt x="211874" y="168737"/>
                    </a:lnTo>
                    <a:lnTo>
                      <a:pt x="209883" y="167669"/>
                    </a:lnTo>
                    <a:lnTo>
                      <a:pt x="208363" y="166446"/>
                    </a:lnTo>
                    <a:lnTo>
                      <a:pt x="211926" y="166427"/>
                    </a:lnTo>
                    <a:lnTo>
                      <a:pt x="215506" y="167352"/>
                    </a:lnTo>
                    <a:lnTo>
                      <a:pt x="221112" y="167693"/>
                    </a:lnTo>
                    <a:lnTo>
                      <a:pt x="226195" y="168649"/>
                    </a:lnTo>
                    <a:lnTo>
                      <a:pt x="227469" y="167460"/>
                    </a:lnTo>
                    <a:lnTo>
                      <a:pt x="230423" y="165399"/>
                    </a:lnTo>
                    <a:lnTo>
                      <a:pt x="230987" y="164742"/>
                    </a:lnTo>
                    <a:lnTo>
                      <a:pt x="226035" y="166153"/>
                    </a:lnTo>
                    <a:lnTo>
                      <a:pt x="221019" y="165253"/>
                    </a:lnTo>
                    <a:lnTo>
                      <a:pt x="219186" y="163995"/>
                    </a:lnTo>
                    <a:lnTo>
                      <a:pt x="217637" y="162151"/>
                    </a:lnTo>
                    <a:lnTo>
                      <a:pt x="216987" y="160047"/>
                    </a:lnTo>
                    <a:lnTo>
                      <a:pt x="217411" y="158085"/>
                    </a:lnTo>
                    <a:lnTo>
                      <a:pt x="216869" y="154539"/>
                    </a:lnTo>
                    <a:lnTo>
                      <a:pt x="215215" y="151380"/>
                    </a:lnTo>
                    <a:lnTo>
                      <a:pt x="214628" y="149645"/>
                    </a:lnTo>
                    <a:lnTo>
                      <a:pt x="212880" y="148089"/>
                    </a:lnTo>
                    <a:lnTo>
                      <a:pt x="214599" y="151607"/>
                    </a:lnTo>
                    <a:lnTo>
                      <a:pt x="215241" y="153945"/>
                    </a:lnTo>
                    <a:lnTo>
                      <a:pt x="216275" y="156097"/>
                    </a:lnTo>
                    <a:lnTo>
                      <a:pt x="216031" y="161794"/>
                    </a:lnTo>
                    <a:lnTo>
                      <a:pt x="215394" y="163793"/>
                    </a:lnTo>
                    <a:lnTo>
                      <a:pt x="213332" y="164297"/>
                    </a:lnTo>
                    <a:lnTo>
                      <a:pt x="210622" y="163997"/>
                    </a:lnTo>
                    <a:lnTo>
                      <a:pt x="207860" y="163376"/>
                    </a:lnTo>
                    <a:lnTo>
                      <a:pt x="208551" y="160245"/>
                    </a:lnTo>
                    <a:lnTo>
                      <a:pt x="207080" y="161328"/>
                    </a:lnTo>
                    <a:lnTo>
                      <a:pt x="205003" y="164375"/>
                    </a:lnTo>
                    <a:lnTo>
                      <a:pt x="203176" y="164829"/>
                    </a:lnTo>
                    <a:lnTo>
                      <a:pt x="199119" y="164496"/>
                    </a:lnTo>
                    <a:lnTo>
                      <a:pt x="191589" y="166510"/>
                    </a:lnTo>
                    <a:lnTo>
                      <a:pt x="191071" y="168702"/>
                    </a:lnTo>
                    <a:lnTo>
                      <a:pt x="189939" y="171665"/>
                    </a:lnTo>
                    <a:lnTo>
                      <a:pt x="188847" y="173389"/>
                    </a:lnTo>
                    <a:lnTo>
                      <a:pt x="188503" y="174428"/>
                    </a:lnTo>
                    <a:lnTo>
                      <a:pt x="185292" y="178886"/>
                    </a:lnTo>
                    <a:lnTo>
                      <a:pt x="184882" y="179307"/>
                    </a:lnTo>
                    <a:lnTo>
                      <a:pt x="178825" y="185475"/>
                    </a:lnTo>
                    <a:lnTo>
                      <a:pt x="178054" y="185938"/>
                    </a:lnTo>
                    <a:lnTo>
                      <a:pt x="174128" y="187371"/>
                    </a:lnTo>
                    <a:lnTo>
                      <a:pt x="171807" y="188626"/>
                    </a:lnTo>
                    <a:lnTo>
                      <a:pt x="170028" y="189186"/>
                    </a:lnTo>
                    <a:lnTo>
                      <a:pt x="167017" y="188563"/>
                    </a:lnTo>
                    <a:lnTo>
                      <a:pt x="165765" y="189451"/>
                    </a:lnTo>
                    <a:lnTo>
                      <a:pt x="165173" y="190550"/>
                    </a:lnTo>
                    <a:lnTo>
                      <a:pt x="165162" y="192821"/>
                    </a:lnTo>
                    <a:lnTo>
                      <a:pt x="166691" y="194452"/>
                    </a:lnTo>
                    <a:lnTo>
                      <a:pt x="167944" y="199870"/>
                    </a:lnTo>
                    <a:lnTo>
                      <a:pt x="167477" y="202156"/>
                    </a:lnTo>
                    <a:lnTo>
                      <a:pt x="166285" y="200676"/>
                    </a:lnTo>
                    <a:lnTo>
                      <a:pt x="164422" y="199116"/>
                    </a:lnTo>
                    <a:lnTo>
                      <a:pt x="160796" y="197775"/>
                    </a:lnTo>
                    <a:lnTo>
                      <a:pt x="156812" y="198234"/>
                    </a:lnTo>
                    <a:lnTo>
                      <a:pt x="152476" y="200494"/>
                    </a:lnTo>
                    <a:lnTo>
                      <a:pt x="149533" y="201334"/>
                    </a:lnTo>
                    <a:lnTo>
                      <a:pt x="147984" y="200754"/>
                    </a:lnTo>
                    <a:lnTo>
                      <a:pt x="147043" y="200787"/>
                    </a:lnTo>
                    <a:lnTo>
                      <a:pt x="146708" y="201435"/>
                    </a:lnTo>
                    <a:lnTo>
                      <a:pt x="146780" y="201965"/>
                    </a:lnTo>
                    <a:lnTo>
                      <a:pt x="147257" y="202376"/>
                    </a:lnTo>
                    <a:lnTo>
                      <a:pt x="147187" y="202676"/>
                    </a:lnTo>
                    <a:lnTo>
                      <a:pt x="146579" y="202863"/>
                    </a:lnTo>
                    <a:lnTo>
                      <a:pt x="139736" y="201272"/>
                    </a:lnTo>
                    <a:lnTo>
                      <a:pt x="136782" y="199766"/>
                    </a:lnTo>
                    <a:lnTo>
                      <a:pt x="134456" y="196930"/>
                    </a:lnTo>
                    <a:lnTo>
                      <a:pt x="135613" y="196012"/>
                    </a:lnTo>
                    <a:lnTo>
                      <a:pt x="136620" y="195608"/>
                    </a:lnTo>
                    <a:lnTo>
                      <a:pt x="140181" y="195372"/>
                    </a:lnTo>
                    <a:lnTo>
                      <a:pt x="140792" y="195082"/>
                    </a:lnTo>
                    <a:lnTo>
                      <a:pt x="140852" y="194427"/>
                    </a:lnTo>
                    <a:lnTo>
                      <a:pt x="141118" y="193579"/>
                    </a:lnTo>
                    <a:lnTo>
                      <a:pt x="141023" y="192330"/>
                    </a:lnTo>
                    <a:lnTo>
                      <a:pt x="140627" y="191011"/>
                    </a:lnTo>
                    <a:lnTo>
                      <a:pt x="142191" y="189084"/>
                    </a:lnTo>
                    <a:lnTo>
                      <a:pt x="144519" y="187484"/>
                    </a:lnTo>
                    <a:lnTo>
                      <a:pt x="145883" y="185881"/>
                    </a:lnTo>
                    <a:lnTo>
                      <a:pt x="146093" y="183532"/>
                    </a:lnTo>
                    <a:lnTo>
                      <a:pt x="148542" y="182387"/>
                    </a:lnTo>
                    <a:lnTo>
                      <a:pt x="150714" y="180418"/>
                    </a:lnTo>
                    <a:lnTo>
                      <a:pt x="151247" y="178270"/>
                    </a:lnTo>
                    <a:lnTo>
                      <a:pt x="152007" y="176920"/>
                    </a:lnTo>
                    <a:lnTo>
                      <a:pt x="150625" y="173821"/>
                    </a:lnTo>
                    <a:lnTo>
                      <a:pt x="150334" y="171775"/>
                    </a:lnTo>
                    <a:lnTo>
                      <a:pt x="150265" y="170059"/>
                    </a:lnTo>
                    <a:lnTo>
                      <a:pt x="150949" y="169105"/>
                    </a:lnTo>
                    <a:lnTo>
                      <a:pt x="152973" y="168036"/>
                    </a:lnTo>
                    <a:lnTo>
                      <a:pt x="155104" y="167207"/>
                    </a:lnTo>
                    <a:lnTo>
                      <a:pt x="155987" y="167288"/>
                    </a:lnTo>
                    <a:lnTo>
                      <a:pt x="156309" y="167816"/>
                    </a:lnTo>
                    <a:lnTo>
                      <a:pt x="156393" y="171301"/>
                    </a:lnTo>
                    <a:lnTo>
                      <a:pt x="156819" y="171367"/>
                    </a:lnTo>
                    <a:lnTo>
                      <a:pt x="157499" y="170933"/>
                    </a:lnTo>
                    <a:lnTo>
                      <a:pt x="158611" y="168881"/>
                    </a:lnTo>
                    <a:lnTo>
                      <a:pt x="159377" y="169478"/>
                    </a:lnTo>
                    <a:lnTo>
                      <a:pt x="160556" y="169705"/>
                    </a:lnTo>
                    <a:lnTo>
                      <a:pt x="161440" y="169176"/>
                    </a:lnTo>
                    <a:lnTo>
                      <a:pt x="162014" y="169237"/>
                    </a:lnTo>
                    <a:lnTo>
                      <a:pt x="162726" y="169767"/>
                    </a:lnTo>
                    <a:lnTo>
                      <a:pt x="164143" y="170513"/>
                    </a:lnTo>
                    <a:lnTo>
                      <a:pt x="165467" y="170761"/>
                    </a:lnTo>
                    <a:lnTo>
                      <a:pt x="166564" y="170264"/>
                    </a:lnTo>
                    <a:lnTo>
                      <a:pt x="167499" y="169377"/>
                    </a:lnTo>
                    <a:lnTo>
                      <a:pt x="168497" y="169680"/>
                    </a:lnTo>
                    <a:lnTo>
                      <a:pt x="170397" y="172100"/>
                    </a:lnTo>
                    <a:lnTo>
                      <a:pt x="171284" y="171832"/>
                    </a:lnTo>
                    <a:lnTo>
                      <a:pt x="175655" y="171343"/>
                    </a:lnTo>
                    <a:lnTo>
                      <a:pt x="176359" y="170685"/>
                    </a:lnTo>
                    <a:lnTo>
                      <a:pt x="176879" y="170088"/>
                    </a:lnTo>
                    <a:lnTo>
                      <a:pt x="172308" y="166875"/>
                    </a:lnTo>
                    <a:lnTo>
                      <a:pt x="172539" y="164481"/>
                    </a:lnTo>
                    <a:lnTo>
                      <a:pt x="172710" y="161734"/>
                    </a:lnTo>
                    <a:lnTo>
                      <a:pt x="172170" y="160102"/>
                    </a:lnTo>
                    <a:lnTo>
                      <a:pt x="171280" y="158807"/>
                    </a:lnTo>
                    <a:lnTo>
                      <a:pt x="167784" y="157302"/>
                    </a:lnTo>
                    <a:lnTo>
                      <a:pt x="165087" y="155743"/>
                    </a:lnTo>
                    <a:lnTo>
                      <a:pt x="164517" y="155040"/>
                    </a:lnTo>
                    <a:lnTo>
                      <a:pt x="164443" y="154128"/>
                    </a:lnTo>
                    <a:lnTo>
                      <a:pt x="164329" y="152710"/>
                    </a:lnTo>
                    <a:lnTo>
                      <a:pt x="163258" y="151492"/>
                    </a:lnTo>
                    <a:lnTo>
                      <a:pt x="163167" y="150461"/>
                    </a:lnTo>
                    <a:lnTo>
                      <a:pt x="163850" y="148853"/>
                    </a:lnTo>
                    <a:lnTo>
                      <a:pt x="164016" y="147139"/>
                    </a:lnTo>
                    <a:lnTo>
                      <a:pt x="163791" y="146462"/>
                    </a:lnTo>
                    <a:lnTo>
                      <a:pt x="163161" y="145910"/>
                    </a:lnTo>
                    <a:lnTo>
                      <a:pt x="161945" y="145856"/>
                    </a:lnTo>
                    <a:lnTo>
                      <a:pt x="160347" y="144865"/>
                    </a:lnTo>
                    <a:lnTo>
                      <a:pt x="159250" y="143529"/>
                    </a:lnTo>
                    <a:lnTo>
                      <a:pt x="156305" y="141602"/>
                    </a:lnTo>
                    <a:lnTo>
                      <a:pt x="155402" y="141288"/>
                    </a:lnTo>
                    <a:lnTo>
                      <a:pt x="154851" y="140333"/>
                    </a:lnTo>
                    <a:lnTo>
                      <a:pt x="154588" y="139192"/>
                    </a:lnTo>
                    <a:lnTo>
                      <a:pt x="155206" y="137774"/>
                    </a:lnTo>
                    <a:lnTo>
                      <a:pt x="155983" y="135590"/>
                    </a:lnTo>
                    <a:lnTo>
                      <a:pt x="156529" y="133539"/>
                    </a:lnTo>
                    <a:lnTo>
                      <a:pt x="156538" y="132316"/>
                    </a:lnTo>
                    <a:lnTo>
                      <a:pt x="156177" y="129290"/>
                    </a:lnTo>
                    <a:lnTo>
                      <a:pt x="154642" y="126975"/>
                    </a:lnTo>
                    <a:lnTo>
                      <a:pt x="153925" y="126668"/>
                    </a:lnTo>
                    <a:lnTo>
                      <a:pt x="152686" y="127320"/>
                    </a:lnTo>
                    <a:lnTo>
                      <a:pt x="151279" y="127865"/>
                    </a:lnTo>
                    <a:lnTo>
                      <a:pt x="150170" y="127354"/>
                    </a:lnTo>
                    <a:lnTo>
                      <a:pt x="148902" y="126098"/>
                    </a:lnTo>
                    <a:lnTo>
                      <a:pt x="146868" y="122599"/>
                    </a:lnTo>
                    <a:lnTo>
                      <a:pt x="143061" y="121898"/>
                    </a:lnTo>
                    <a:lnTo>
                      <a:pt x="141487" y="121731"/>
                    </a:lnTo>
                    <a:lnTo>
                      <a:pt x="139997" y="123420"/>
                    </a:lnTo>
                    <a:lnTo>
                      <a:pt x="139531" y="122907"/>
                    </a:lnTo>
                    <a:lnTo>
                      <a:pt x="139112" y="121828"/>
                    </a:lnTo>
                    <a:lnTo>
                      <a:pt x="138326" y="121397"/>
                    </a:lnTo>
                    <a:lnTo>
                      <a:pt x="137287" y="121897"/>
                    </a:lnTo>
                    <a:lnTo>
                      <a:pt x="136987" y="121416"/>
                    </a:lnTo>
                    <a:lnTo>
                      <a:pt x="137434" y="119957"/>
                    </a:lnTo>
                    <a:lnTo>
                      <a:pt x="136192" y="119235"/>
                    </a:lnTo>
                    <a:lnTo>
                      <a:pt x="133268" y="119251"/>
                    </a:lnTo>
                    <a:lnTo>
                      <a:pt x="131714" y="118713"/>
                    </a:lnTo>
                    <a:lnTo>
                      <a:pt x="131528" y="117615"/>
                    </a:lnTo>
                    <a:lnTo>
                      <a:pt x="130608" y="116894"/>
                    </a:lnTo>
                    <a:lnTo>
                      <a:pt x="128947" y="116547"/>
                    </a:lnTo>
                    <a:lnTo>
                      <a:pt x="127339" y="115649"/>
                    </a:lnTo>
                    <a:lnTo>
                      <a:pt x="125778" y="114203"/>
                    </a:lnTo>
                    <a:lnTo>
                      <a:pt x="123443" y="113260"/>
                    </a:lnTo>
                    <a:lnTo>
                      <a:pt x="120331" y="112824"/>
                    </a:lnTo>
                    <a:lnTo>
                      <a:pt x="120077" y="112668"/>
                    </a:lnTo>
                    <a:lnTo>
                      <a:pt x="119790" y="112460"/>
                    </a:lnTo>
                    <a:lnTo>
                      <a:pt x="117781" y="113443"/>
                    </a:lnTo>
                    <a:lnTo>
                      <a:pt x="116574" y="114221"/>
                    </a:lnTo>
                    <a:lnTo>
                      <a:pt x="115095" y="113737"/>
                    </a:lnTo>
                    <a:lnTo>
                      <a:pt x="112698" y="115473"/>
                    </a:lnTo>
                    <a:lnTo>
                      <a:pt x="107833" y="115563"/>
                    </a:lnTo>
                    <a:lnTo>
                      <a:pt x="105447" y="115459"/>
                    </a:lnTo>
                    <a:lnTo>
                      <a:pt x="104263" y="115028"/>
                    </a:lnTo>
                    <a:lnTo>
                      <a:pt x="99694" y="117662"/>
                    </a:lnTo>
                    <a:lnTo>
                      <a:pt x="99219" y="118632"/>
                    </a:lnTo>
                    <a:lnTo>
                      <a:pt x="98191" y="118955"/>
                    </a:lnTo>
                    <a:lnTo>
                      <a:pt x="95315" y="119478"/>
                    </a:lnTo>
                    <a:lnTo>
                      <a:pt x="92292" y="120220"/>
                    </a:lnTo>
                    <a:lnTo>
                      <a:pt x="91657" y="122778"/>
                    </a:lnTo>
                    <a:lnTo>
                      <a:pt x="90756" y="124159"/>
                    </a:lnTo>
                    <a:lnTo>
                      <a:pt x="89131" y="126186"/>
                    </a:lnTo>
                    <a:lnTo>
                      <a:pt x="83514" y="126890"/>
                    </a:lnTo>
                    <a:lnTo>
                      <a:pt x="78662" y="127880"/>
                    </a:lnTo>
                    <a:lnTo>
                      <a:pt x="73687" y="128491"/>
                    </a:lnTo>
                    <a:lnTo>
                      <a:pt x="67171" y="130962"/>
                    </a:lnTo>
                    <a:lnTo>
                      <a:pt x="65053" y="133140"/>
                    </a:lnTo>
                    <a:lnTo>
                      <a:pt x="62959" y="133747"/>
                    </a:lnTo>
                    <a:lnTo>
                      <a:pt x="61063" y="133926"/>
                    </a:lnTo>
                    <a:lnTo>
                      <a:pt x="59836" y="132714"/>
                    </a:lnTo>
                    <a:lnTo>
                      <a:pt x="55703" y="129457"/>
                    </a:lnTo>
                    <a:lnTo>
                      <a:pt x="54109" y="127920"/>
                    </a:lnTo>
                    <a:lnTo>
                      <a:pt x="52013" y="127467"/>
                    </a:lnTo>
                    <a:lnTo>
                      <a:pt x="49733" y="127723"/>
                    </a:lnTo>
                    <a:lnTo>
                      <a:pt x="47543" y="128480"/>
                    </a:lnTo>
                    <a:lnTo>
                      <a:pt x="45239" y="128625"/>
                    </a:lnTo>
                    <a:lnTo>
                      <a:pt x="42630" y="127533"/>
                    </a:lnTo>
                    <a:lnTo>
                      <a:pt x="42356" y="127639"/>
                    </a:lnTo>
                    <a:lnTo>
                      <a:pt x="41350" y="127786"/>
                    </a:lnTo>
                    <a:lnTo>
                      <a:pt x="34874" y="126466"/>
                    </a:lnTo>
                    <a:lnTo>
                      <a:pt x="34278" y="126247"/>
                    </a:lnTo>
                    <a:lnTo>
                      <a:pt x="33991" y="126192"/>
                    </a:lnTo>
                    <a:lnTo>
                      <a:pt x="33099" y="126093"/>
                    </a:lnTo>
                    <a:lnTo>
                      <a:pt x="28223" y="126258"/>
                    </a:lnTo>
                    <a:lnTo>
                      <a:pt x="23677" y="123589"/>
                    </a:lnTo>
                    <a:lnTo>
                      <a:pt x="22280" y="123508"/>
                    </a:lnTo>
                    <a:lnTo>
                      <a:pt x="21205" y="124589"/>
                    </a:lnTo>
                    <a:lnTo>
                      <a:pt x="20408" y="125791"/>
                    </a:lnTo>
                    <a:lnTo>
                      <a:pt x="17270" y="126984"/>
                    </a:lnTo>
                    <a:lnTo>
                      <a:pt x="16469" y="127463"/>
                    </a:lnTo>
                    <a:lnTo>
                      <a:pt x="16014" y="127095"/>
                    </a:lnTo>
                    <a:lnTo>
                      <a:pt x="15802" y="126058"/>
                    </a:lnTo>
                    <a:lnTo>
                      <a:pt x="16040" y="125141"/>
                    </a:lnTo>
                    <a:lnTo>
                      <a:pt x="15575" y="124273"/>
                    </a:lnTo>
                    <a:lnTo>
                      <a:pt x="14381" y="123287"/>
                    </a:lnTo>
                    <a:lnTo>
                      <a:pt x="14092" y="122880"/>
                    </a:lnTo>
                    <a:lnTo>
                      <a:pt x="12598" y="122954"/>
                    </a:lnTo>
                    <a:lnTo>
                      <a:pt x="12190" y="123050"/>
                    </a:lnTo>
                    <a:lnTo>
                      <a:pt x="12040" y="123028"/>
                    </a:lnTo>
                    <a:lnTo>
                      <a:pt x="9963" y="122191"/>
                    </a:lnTo>
                    <a:lnTo>
                      <a:pt x="8585" y="120174"/>
                    </a:lnTo>
                    <a:lnTo>
                      <a:pt x="6456" y="119101"/>
                    </a:lnTo>
                    <a:lnTo>
                      <a:pt x="4828" y="118740"/>
                    </a:lnTo>
                    <a:lnTo>
                      <a:pt x="4087" y="117875"/>
                    </a:lnTo>
                    <a:lnTo>
                      <a:pt x="3610" y="116724"/>
                    </a:lnTo>
                    <a:lnTo>
                      <a:pt x="3102" y="115854"/>
                    </a:lnTo>
                    <a:lnTo>
                      <a:pt x="3042" y="115772"/>
                    </a:lnTo>
                    <a:lnTo>
                      <a:pt x="2695" y="114455"/>
                    </a:lnTo>
                    <a:lnTo>
                      <a:pt x="2196" y="114319"/>
                    </a:lnTo>
                    <a:lnTo>
                      <a:pt x="2107" y="114284"/>
                    </a:lnTo>
                    <a:lnTo>
                      <a:pt x="0" y="114513"/>
                    </a:lnTo>
                    <a:lnTo>
                      <a:pt x="244" y="109884"/>
                    </a:lnTo>
                    <a:lnTo>
                      <a:pt x="3612" y="106550"/>
                    </a:lnTo>
                    <a:lnTo>
                      <a:pt x="4439" y="104866"/>
                    </a:lnTo>
                    <a:lnTo>
                      <a:pt x="5696" y="101209"/>
                    </a:lnTo>
                    <a:lnTo>
                      <a:pt x="6638" y="99497"/>
                    </a:lnTo>
                    <a:lnTo>
                      <a:pt x="7769" y="98079"/>
                    </a:lnTo>
                    <a:lnTo>
                      <a:pt x="8674" y="96706"/>
                    </a:lnTo>
                    <a:lnTo>
                      <a:pt x="8996" y="95526"/>
                    </a:lnTo>
                    <a:lnTo>
                      <a:pt x="9909" y="95398"/>
                    </a:lnTo>
                    <a:lnTo>
                      <a:pt x="12591" y="96462"/>
                    </a:lnTo>
                    <a:lnTo>
                      <a:pt x="14990" y="97009"/>
                    </a:lnTo>
                    <a:lnTo>
                      <a:pt x="15653" y="96491"/>
                    </a:lnTo>
                    <a:lnTo>
                      <a:pt x="15925" y="95811"/>
                    </a:lnTo>
                    <a:lnTo>
                      <a:pt x="15815" y="95282"/>
                    </a:lnTo>
                    <a:lnTo>
                      <a:pt x="13893" y="93712"/>
                    </a:lnTo>
                    <a:lnTo>
                      <a:pt x="12688" y="92712"/>
                    </a:lnTo>
                    <a:lnTo>
                      <a:pt x="12615" y="92097"/>
                    </a:lnTo>
                    <a:lnTo>
                      <a:pt x="13049" y="90717"/>
                    </a:lnTo>
                    <a:lnTo>
                      <a:pt x="13280" y="89165"/>
                    </a:lnTo>
                    <a:lnTo>
                      <a:pt x="13003" y="87486"/>
                    </a:lnTo>
                    <a:lnTo>
                      <a:pt x="11693" y="83762"/>
                    </a:lnTo>
                    <a:lnTo>
                      <a:pt x="11444" y="82174"/>
                    </a:lnTo>
                    <a:lnTo>
                      <a:pt x="12699" y="80244"/>
                    </a:lnTo>
                    <a:lnTo>
                      <a:pt x="16780" y="75641"/>
                    </a:lnTo>
                    <a:lnTo>
                      <a:pt x="18141" y="73910"/>
                    </a:lnTo>
                    <a:lnTo>
                      <a:pt x="20000" y="71815"/>
                    </a:lnTo>
                    <a:lnTo>
                      <a:pt x="25044" y="66799"/>
                    </a:lnTo>
                    <a:lnTo>
                      <a:pt x="28232" y="63878"/>
                    </a:lnTo>
                    <a:lnTo>
                      <a:pt x="30389" y="62260"/>
                    </a:lnTo>
                    <a:lnTo>
                      <a:pt x="33548" y="59445"/>
                    </a:lnTo>
                    <a:lnTo>
                      <a:pt x="34934" y="57987"/>
                    </a:lnTo>
                    <a:lnTo>
                      <a:pt x="40704" y="57038"/>
                    </a:lnTo>
                    <a:lnTo>
                      <a:pt x="41419" y="55675"/>
                    </a:lnTo>
                    <a:lnTo>
                      <a:pt x="42473" y="54183"/>
                    </a:lnTo>
                    <a:lnTo>
                      <a:pt x="43297" y="53543"/>
                    </a:lnTo>
                    <a:lnTo>
                      <a:pt x="43403" y="51027"/>
                    </a:lnTo>
                    <a:lnTo>
                      <a:pt x="42332" y="47950"/>
                    </a:lnTo>
                    <a:lnTo>
                      <a:pt x="41471" y="46862"/>
                    </a:lnTo>
                    <a:lnTo>
                      <a:pt x="40832" y="46121"/>
                    </a:lnTo>
                    <a:lnTo>
                      <a:pt x="41244" y="45428"/>
                    </a:lnTo>
                    <a:lnTo>
                      <a:pt x="41883" y="45231"/>
                    </a:lnTo>
                    <a:lnTo>
                      <a:pt x="42671" y="45133"/>
                    </a:lnTo>
                    <a:lnTo>
                      <a:pt x="43647" y="44391"/>
                    </a:lnTo>
                    <a:lnTo>
                      <a:pt x="43427" y="43581"/>
                    </a:lnTo>
                    <a:lnTo>
                      <a:pt x="40994" y="41606"/>
                    </a:lnTo>
                    <a:lnTo>
                      <a:pt x="39940" y="40085"/>
                    </a:lnTo>
                    <a:lnTo>
                      <a:pt x="38290" y="36177"/>
                    </a:lnTo>
                    <a:lnTo>
                      <a:pt x="34945" y="32109"/>
                    </a:lnTo>
                    <a:lnTo>
                      <a:pt x="33889" y="30793"/>
                    </a:lnTo>
                    <a:lnTo>
                      <a:pt x="33738" y="29548"/>
                    </a:lnTo>
                    <a:lnTo>
                      <a:pt x="34226" y="28303"/>
                    </a:lnTo>
                    <a:lnTo>
                      <a:pt x="33766" y="26716"/>
                    </a:lnTo>
                    <a:lnTo>
                      <a:pt x="32581" y="24690"/>
                    </a:lnTo>
                    <a:lnTo>
                      <a:pt x="32768" y="24471"/>
                    </a:lnTo>
                    <a:lnTo>
                      <a:pt x="32654" y="21968"/>
                    </a:lnTo>
                    <a:lnTo>
                      <a:pt x="33496" y="21427"/>
                    </a:lnTo>
                    <a:lnTo>
                      <a:pt x="34826" y="21061"/>
                    </a:lnTo>
                    <a:lnTo>
                      <a:pt x="36703" y="21184"/>
                    </a:lnTo>
                    <a:lnTo>
                      <a:pt x="38307" y="21571"/>
                    </a:lnTo>
                    <a:lnTo>
                      <a:pt x="40229" y="22716"/>
                    </a:lnTo>
                    <a:lnTo>
                      <a:pt x="40829" y="22532"/>
                    </a:lnTo>
                    <a:lnTo>
                      <a:pt x="44114" y="20373"/>
                    </a:lnTo>
                    <a:lnTo>
                      <a:pt x="47502" y="17130"/>
                    </a:lnTo>
                    <a:lnTo>
                      <a:pt x="48467" y="15251"/>
                    </a:lnTo>
                    <a:lnTo>
                      <a:pt x="49311" y="14392"/>
                    </a:lnTo>
                    <a:lnTo>
                      <a:pt x="52259" y="13933"/>
                    </a:lnTo>
                    <a:lnTo>
                      <a:pt x="54826" y="13743"/>
                    </a:lnTo>
                    <a:lnTo>
                      <a:pt x="56459" y="13779"/>
                    </a:lnTo>
                    <a:lnTo>
                      <a:pt x="60467" y="13459"/>
                    </a:lnTo>
                    <a:lnTo>
                      <a:pt x="62842" y="13104"/>
                    </a:lnTo>
                    <a:lnTo>
                      <a:pt x="64896" y="12531"/>
                    </a:lnTo>
                    <a:lnTo>
                      <a:pt x="69329" y="12318"/>
                    </a:lnTo>
                    <a:lnTo>
                      <a:pt x="76252" y="12702"/>
                    </a:lnTo>
                    <a:lnTo>
                      <a:pt x="80795" y="12729"/>
                    </a:lnTo>
                    <a:lnTo>
                      <a:pt x="83881" y="13034"/>
                    </a:lnTo>
                    <a:lnTo>
                      <a:pt x="91439" y="14761"/>
                    </a:lnTo>
                    <a:lnTo>
                      <a:pt x="94252" y="15074"/>
                    </a:lnTo>
                    <a:lnTo>
                      <a:pt x="95559" y="15988"/>
                    </a:lnTo>
                    <a:lnTo>
                      <a:pt x="98068" y="16328"/>
                    </a:lnTo>
                    <a:lnTo>
                      <a:pt x="102635" y="17248"/>
                    </a:lnTo>
                    <a:lnTo>
                      <a:pt x="106602" y="17741"/>
                    </a:lnTo>
                    <a:lnTo>
                      <a:pt x="109284" y="17539"/>
                    </a:lnTo>
                    <a:lnTo>
                      <a:pt x="110785" y="17798"/>
                    </a:lnTo>
                    <a:lnTo>
                      <a:pt x="113618" y="21877"/>
                    </a:lnTo>
                    <a:lnTo>
                      <a:pt x="114196" y="22353"/>
                    </a:lnTo>
                    <a:lnTo>
                      <a:pt x="115332" y="22449"/>
                    </a:lnTo>
                    <a:lnTo>
                      <a:pt x="117647" y="22097"/>
                    </a:lnTo>
                    <a:lnTo>
                      <a:pt x="120943" y="22229"/>
                    </a:lnTo>
                    <a:lnTo>
                      <a:pt x="122897" y="23088"/>
                    </a:lnTo>
                    <a:lnTo>
                      <a:pt x="122610" y="25513"/>
                    </a:lnTo>
                    <a:lnTo>
                      <a:pt x="123123" y="25864"/>
                    </a:lnTo>
                    <a:lnTo>
                      <a:pt x="124037" y="25729"/>
                    </a:lnTo>
                    <a:lnTo>
                      <a:pt x="125088" y="24360"/>
                    </a:lnTo>
                    <a:lnTo>
                      <a:pt x="125972" y="22940"/>
                    </a:lnTo>
                    <a:lnTo>
                      <a:pt x="126630" y="22501"/>
                    </a:lnTo>
                    <a:lnTo>
                      <a:pt x="129995" y="23460"/>
                    </a:lnTo>
                    <a:lnTo>
                      <a:pt x="131532" y="23305"/>
                    </a:lnTo>
                    <a:lnTo>
                      <a:pt x="132951" y="22228"/>
                    </a:lnTo>
                    <a:lnTo>
                      <a:pt x="133821" y="22045"/>
                    </a:lnTo>
                    <a:lnTo>
                      <a:pt x="136205" y="22811"/>
                    </a:lnTo>
                    <a:lnTo>
                      <a:pt x="139146" y="23347"/>
                    </a:lnTo>
                    <a:lnTo>
                      <a:pt x="141522" y="23381"/>
                    </a:lnTo>
                    <a:lnTo>
                      <a:pt x="143003" y="23964"/>
                    </a:lnTo>
                    <a:lnTo>
                      <a:pt x="144080" y="26494"/>
                    </a:lnTo>
                    <a:lnTo>
                      <a:pt x="145020" y="27013"/>
                    </a:lnTo>
                    <a:lnTo>
                      <a:pt x="145927" y="27174"/>
                    </a:lnTo>
                    <a:lnTo>
                      <a:pt x="147298" y="24913"/>
                    </a:lnTo>
                    <a:lnTo>
                      <a:pt x="148542" y="24036"/>
                    </a:lnTo>
                    <a:lnTo>
                      <a:pt x="150267" y="23390"/>
                    </a:lnTo>
                    <a:lnTo>
                      <a:pt x="151377" y="23107"/>
                    </a:lnTo>
                    <a:lnTo>
                      <a:pt x="152158" y="22308"/>
                    </a:lnTo>
                    <a:lnTo>
                      <a:pt x="153212" y="21528"/>
                    </a:lnTo>
                    <a:lnTo>
                      <a:pt x="154126" y="21466"/>
                    </a:lnTo>
                    <a:lnTo>
                      <a:pt x="154868" y="21768"/>
                    </a:lnTo>
                    <a:lnTo>
                      <a:pt x="155721" y="22847"/>
                    </a:lnTo>
                    <a:lnTo>
                      <a:pt x="156965" y="25305"/>
                    </a:lnTo>
                    <a:lnTo>
                      <a:pt x="158477" y="27771"/>
                    </a:lnTo>
                    <a:lnTo>
                      <a:pt x="159531" y="28666"/>
                    </a:lnTo>
                    <a:lnTo>
                      <a:pt x="162254" y="27909"/>
                    </a:lnTo>
                    <a:lnTo>
                      <a:pt x="164100" y="27139"/>
                    </a:lnTo>
                    <a:lnTo>
                      <a:pt x="167482" y="26993"/>
                    </a:lnTo>
                    <a:lnTo>
                      <a:pt x="171964" y="26451"/>
                    </a:lnTo>
                    <a:lnTo>
                      <a:pt x="175392" y="25745"/>
                    </a:lnTo>
                    <a:lnTo>
                      <a:pt x="177536" y="25867"/>
                    </a:lnTo>
                    <a:lnTo>
                      <a:pt x="178836" y="26650"/>
                    </a:lnTo>
                    <a:lnTo>
                      <a:pt x="180814" y="28166"/>
                    </a:lnTo>
                    <a:lnTo>
                      <a:pt x="181354" y="30339"/>
                    </a:lnTo>
                    <a:lnTo>
                      <a:pt x="183921" y="31841"/>
                    </a:lnTo>
                    <a:lnTo>
                      <a:pt x="186022" y="32112"/>
                    </a:lnTo>
                    <a:lnTo>
                      <a:pt x="186739" y="30549"/>
                    </a:lnTo>
                    <a:lnTo>
                      <a:pt x="187968" y="29462"/>
                    </a:lnTo>
                    <a:lnTo>
                      <a:pt x="187508" y="27968"/>
                    </a:lnTo>
                    <a:lnTo>
                      <a:pt x="187301" y="26062"/>
                    </a:lnTo>
                    <a:lnTo>
                      <a:pt x="186380" y="24291"/>
                    </a:lnTo>
                    <a:lnTo>
                      <a:pt x="185767" y="22384"/>
                    </a:lnTo>
                    <a:lnTo>
                      <a:pt x="186892" y="19657"/>
                    </a:lnTo>
                    <a:lnTo>
                      <a:pt x="188121" y="17267"/>
                    </a:lnTo>
                    <a:lnTo>
                      <a:pt x="188736" y="15968"/>
                    </a:lnTo>
                    <a:lnTo>
                      <a:pt x="190682" y="13576"/>
                    </a:lnTo>
                    <a:lnTo>
                      <a:pt x="192682" y="11865"/>
                    </a:lnTo>
                    <a:lnTo>
                      <a:pt x="195666" y="9111"/>
                    </a:lnTo>
                    <a:lnTo>
                      <a:pt x="197847" y="8201"/>
                    </a:lnTo>
                    <a:lnTo>
                      <a:pt x="199818" y="8616"/>
                    </a:lnTo>
                    <a:lnTo>
                      <a:pt x="200913" y="8992"/>
                    </a:lnTo>
                    <a:lnTo>
                      <a:pt x="203744" y="7360"/>
                    </a:lnTo>
                    <a:lnTo>
                      <a:pt x="208780" y="7279"/>
                    </a:lnTo>
                    <a:lnTo>
                      <a:pt x="212973" y="7487"/>
                    </a:lnTo>
                    <a:lnTo>
                      <a:pt x="213394" y="7536"/>
                    </a:lnTo>
                    <a:lnTo>
                      <a:pt x="215455" y="8380"/>
                    </a:lnTo>
                    <a:lnTo>
                      <a:pt x="217627" y="9098"/>
                    </a:lnTo>
                    <a:lnTo>
                      <a:pt x="219125" y="9146"/>
                    </a:lnTo>
                    <a:lnTo>
                      <a:pt x="220909" y="8981"/>
                    </a:lnTo>
                    <a:lnTo>
                      <a:pt x="223000" y="8024"/>
                    </a:lnTo>
                    <a:lnTo>
                      <a:pt x="224459" y="7104"/>
                    </a:lnTo>
                    <a:lnTo>
                      <a:pt x="226232" y="2418"/>
                    </a:lnTo>
                    <a:lnTo>
                      <a:pt x="226858" y="1744"/>
                    </a:lnTo>
                    <a:lnTo>
                      <a:pt x="227834" y="1376"/>
                    </a:lnTo>
                    <a:lnTo>
                      <a:pt x="229437" y="1337"/>
                    </a:lnTo>
                    <a:lnTo>
                      <a:pt x="232477" y="2211"/>
                    </a:lnTo>
                    <a:lnTo>
                      <a:pt x="236038" y="2996"/>
                    </a:lnTo>
                    <a:lnTo>
                      <a:pt x="238100" y="2886"/>
                    </a:lnTo>
                    <a:lnTo>
                      <a:pt x="243600" y="390"/>
                    </a:lnTo>
                    <a:close/>
                  </a:path>
                </a:pathLst>
              </a:custGeom>
              <a:pattFill prst="dkUpDiag">
                <a:fgClr>
                  <a:srgbClr val="FDDEBE"/>
                </a:fgClr>
                <a:bgClr>
                  <a:srgbClr val="D9D9D9"/>
                </a:bgClr>
              </a:patt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56" name="ee4p_VA_1_15912">
                <a:extLst>
                  <a:ext uri="{FF2B5EF4-FFF2-40B4-BE49-F238E27FC236}">
                    <a16:creationId xmlns:a16="http://schemas.microsoft.com/office/drawing/2014/main" id="{4B27C79C-7C13-1485-CD4F-6FD495936830}"/>
                  </a:ext>
                </a:extLst>
              </p:cNvPr>
              <p:cNvSpPr>
                <a:spLocks noChangeAspect="1"/>
              </p:cNvSpPr>
              <p:nvPr>
                <p:custDataLst>
                  <p:tags r:id="rId278"/>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solidFill>
                <a:srgbClr val="6F7072"/>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grpSp>
        <p:sp>
          <p:nvSpPr>
            <p:cNvPr id="41" name="ee4p_IE_1_15912">
              <a:extLst>
                <a:ext uri="{FF2B5EF4-FFF2-40B4-BE49-F238E27FC236}">
                  <a16:creationId xmlns:a16="http://schemas.microsoft.com/office/drawing/2014/main" id="{297A52B3-3F90-5F2B-7D27-1B23367D8DC1}"/>
                </a:ext>
              </a:extLst>
            </p:cNvPr>
            <p:cNvSpPr>
              <a:spLocks noChangeAspect="1"/>
            </p:cNvSpPr>
            <p:nvPr>
              <p:custDataLst>
                <p:tags r:id="rId1"/>
              </p:custDataLst>
            </p:nvPr>
          </p:nvSpPr>
          <p:spPr>
            <a:xfrm>
              <a:off x="6224142" y="3682272"/>
              <a:ext cx="440866" cy="5900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solidFill>
              <a:srgbClr val="AB5905">
                <a:lumMod val="20000"/>
                <a:lumOff val="80000"/>
              </a:srgbClr>
            </a:solidFill>
            <a:ln w="3175" cap="rnd" cmpd="sng" algn="ctr">
              <a:solidFill>
                <a:srgbClr val="FFFFFF"/>
              </a:solidFill>
              <a:prstDash val="solid"/>
              <a:round/>
              <a:headEnd type="none" w="med" len="med"/>
              <a:tailEnd type="none" w="med" len="med"/>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grpSp>
          <p:nvGrpSpPr>
            <p:cNvPr id="42" name="Gruppieren 89">
              <a:extLst>
                <a:ext uri="{FF2B5EF4-FFF2-40B4-BE49-F238E27FC236}">
                  <a16:creationId xmlns:a16="http://schemas.microsoft.com/office/drawing/2014/main" id="{D9C417CC-07A3-6859-CAB5-8D537C8565D1}"/>
                </a:ext>
              </a:extLst>
            </p:cNvPr>
            <p:cNvGrpSpPr>
              <a:grpSpLocks/>
            </p:cNvGrpSpPr>
            <p:nvPr/>
          </p:nvGrpSpPr>
          <p:grpSpPr>
            <a:xfrm>
              <a:off x="6492542" y="3710426"/>
              <a:ext cx="273895" cy="199211"/>
              <a:chOff x="1303207" y="3604926"/>
              <a:chExt cx="592827" cy="476174"/>
            </a:xfrm>
            <a:solidFill>
              <a:srgbClr val="AB5905">
                <a:lumMod val="20000"/>
                <a:lumOff val="80000"/>
              </a:srgbClr>
            </a:solidFill>
          </p:grpSpPr>
          <p:sp>
            <p:nvSpPr>
              <p:cNvPr id="589" name="Freeform 82">
                <a:extLst>
                  <a:ext uri="{FF2B5EF4-FFF2-40B4-BE49-F238E27FC236}">
                    <a16:creationId xmlns:a16="http://schemas.microsoft.com/office/drawing/2014/main" id="{E2C314DB-CB23-DE04-0717-6EC3BEA15165}"/>
                  </a:ext>
                </a:extLst>
              </p:cNvPr>
              <p:cNvSpPr>
                <a:spLocks noChangeAspect="1"/>
              </p:cNvSpPr>
              <p:nvPr>
                <p:custDataLst>
                  <p:tags r:id="rId211"/>
                </p:custDataLst>
              </p:nvPr>
            </p:nvSpPr>
            <p:spPr>
              <a:xfrm>
                <a:off x="1760733" y="3848033"/>
                <a:ext cx="55463" cy="45889"/>
              </a:xfrm>
              <a:custGeom>
                <a:avLst/>
                <a:gdLst/>
                <a:ahLst/>
                <a:cxnLst/>
                <a:rect l="0" t="0" r="0" b="0"/>
                <a:pathLst>
                  <a:path w="56946" h="47116">
                    <a:moveTo>
                      <a:pt x="22622" y="6406"/>
                    </a:moveTo>
                    <a:lnTo>
                      <a:pt x="28203" y="1727"/>
                    </a:lnTo>
                    <a:lnTo>
                      <a:pt x="33829" y="6830"/>
                    </a:lnTo>
                    <a:lnTo>
                      <a:pt x="33828" y="6832"/>
                    </a:lnTo>
                    <a:lnTo>
                      <a:pt x="30789" y="12029"/>
                    </a:lnTo>
                    <a:lnTo>
                      <a:pt x="33395" y="13927"/>
                    </a:lnTo>
                    <a:lnTo>
                      <a:pt x="34203" y="17316"/>
                    </a:lnTo>
                    <a:lnTo>
                      <a:pt x="34299" y="20727"/>
                    </a:lnTo>
                    <a:lnTo>
                      <a:pt x="34808" y="22628"/>
                    </a:lnTo>
                    <a:lnTo>
                      <a:pt x="37560" y="23036"/>
                    </a:lnTo>
                    <a:lnTo>
                      <a:pt x="39310" y="21184"/>
                    </a:lnTo>
                    <a:lnTo>
                      <a:pt x="40564" y="18801"/>
                    </a:lnTo>
                    <a:lnTo>
                      <a:pt x="43076" y="16541"/>
                    </a:lnTo>
                    <a:lnTo>
                      <a:pt x="43200" y="16354"/>
                    </a:lnTo>
                    <a:lnTo>
                      <a:pt x="43207" y="16357"/>
                    </a:lnTo>
                    <a:lnTo>
                      <a:pt x="43365" y="16412"/>
                    </a:lnTo>
                    <a:lnTo>
                      <a:pt x="43378" y="16373"/>
                    </a:lnTo>
                    <a:lnTo>
                      <a:pt x="56945" y="20043"/>
                    </a:lnTo>
                    <a:lnTo>
                      <a:pt x="54826" y="28150"/>
                    </a:lnTo>
                    <a:lnTo>
                      <a:pt x="50041" y="27670"/>
                    </a:lnTo>
                    <a:lnTo>
                      <a:pt x="45135" y="30681"/>
                    </a:lnTo>
                    <a:lnTo>
                      <a:pt x="37285" y="31691"/>
                    </a:lnTo>
                    <a:lnTo>
                      <a:pt x="34524" y="34982"/>
                    </a:lnTo>
                    <a:lnTo>
                      <a:pt x="25009" y="39216"/>
                    </a:lnTo>
                    <a:lnTo>
                      <a:pt x="23626" y="41814"/>
                    </a:lnTo>
                    <a:lnTo>
                      <a:pt x="21467" y="43555"/>
                    </a:lnTo>
                    <a:lnTo>
                      <a:pt x="20478" y="47115"/>
                    </a:lnTo>
                    <a:lnTo>
                      <a:pt x="17855" y="46288"/>
                    </a:lnTo>
                    <a:lnTo>
                      <a:pt x="16348" y="38576"/>
                    </a:lnTo>
                    <a:lnTo>
                      <a:pt x="6962" y="31115"/>
                    </a:lnTo>
                    <a:lnTo>
                      <a:pt x="6773" y="26018"/>
                    </a:lnTo>
                    <a:lnTo>
                      <a:pt x="4895" y="20514"/>
                    </a:lnTo>
                    <a:lnTo>
                      <a:pt x="0" y="14817"/>
                    </a:lnTo>
                    <a:lnTo>
                      <a:pt x="4589" y="12332"/>
                    </a:lnTo>
                    <a:lnTo>
                      <a:pt x="1302" y="4670"/>
                    </a:lnTo>
                    <a:lnTo>
                      <a:pt x="2024" y="3412"/>
                    </a:lnTo>
                    <a:lnTo>
                      <a:pt x="6956" y="2963"/>
                    </a:lnTo>
                    <a:lnTo>
                      <a:pt x="10152" y="0"/>
                    </a:lnTo>
                    <a:lnTo>
                      <a:pt x="18680" y="97"/>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90" name="Freeform 83">
                <a:extLst>
                  <a:ext uri="{FF2B5EF4-FFF2-40B4-BE49-F238E27FC236}">
                    <a16:creationId xmlns:a16="http://schemas.microsoft.com/office/drawing/2014/main" id="{E089816A-1945-1D38-1F82-591DACBA7B78}"/>
                  </a:ext>
                </a:extLst>
              </p:cNvPr>
              <p:cNvSpPr>
                <a:spLocks noChangeAspect="1"/>
              </p:cNvSpPr>
              <p:nvPr>
                <p:custDataLst>
                  <p:tags r:id="rId212"/>
                </p:custDataLst>
              </p:nvPr>
            </p:nvSpPr>
            <p:spPr>
              <a:xfrm>
                <a:off x="1477058" y="3684722"/>
                <a:ext cx="84076" cy="99999"/>
              </a:xfrm>
              <a:custGeom>
                <a:avLst/>
                <a:gdLst/>
                <a:ahLst/>
                <a:cxnLst/>
                <a:rect l="0" t="0" r="0" b="0"/>
                <a:pathLst>
                  <a:path w="86324" h="102672">
                    <a:moveTo>
                      <a:pt x="60373" y="9036"/>
                    </a:moveTo>
                    <a:lnTo>
                      <a:pt x="60360" y="9056"/>
                    </a:lnTo>
                    <a:lnTo>
                      <a:pt x="60186" y="9333"/>
                    </a:lnTo>
                    <a:lnTo>
                      <a:pt x="54714" y="15270"/>
                    </a:lnTo>
                    <a:lnTo>
                      <a:pt x="59047" y="20704"/>
                    </a:lnTo>
                    <a:lnTo>
                      <a:pt x="63149" y="34204"/>
                    </a:lnTo>
                    <a:lnTo>
                      <a:pt x="66932" y="32911"/>
                    </a:lnTo>
                    <a:lnTo>
                      <a:pt x="72826" y="34625"/>
                    </a:lnTo>
                    <a:lnTo>
                      <a:pt x="70072" y="41698"/>
                    </a:lnTo>
                    <a:lnTo>
                      <a:pt x="70572" y="50763"/>
                    </a:lnTo>
                    <a:lnTo>
                      <a:pt x="72432" y="57228"/>
                    </a:lnTo>
                    <a:lnTo>
                      <a:pt x="78806" y="62564"/>
                    </a:lnTo>
                    <a:lnTo>
                      <a:pt x="80063" y="71450"/>
                    </a:lnTo>
                    <a:lnTo>
                      <a:pt x="82410" y="74440"/>
                    </a:lnTo>
                    <a:lnTo>
                      <a:pt x="80706" y="79027"/>
                    </a:lnTo>
                    <a:lnTo>
                      <a:pt x="80369" y="90391"/>
                    </a:lnTo>
                    <a:lnTo>
                      <a:pt x="86323" y="99617"/>
                    </a:lnTo>
                    <a:lnTo>
                      <a:pt x="78343" y="99848"/>
                    </a:lnTo>
                    <a:lnTo>
                      <a:pt x="73115" y="102671"/>
                    </a:lnTo>
                    <a:lnTo>
                      <a:pt x="64476" y="99124"/>
                    </a:lnTo>
                    <a:lnTo>
                      <a:pt x="63286" y="95125"/>
                    </a:lnTo>
                    <a:lnTo>
                      <a:pt x="53641" y="84309"/>
                    </a:lnTo>
                    <a:lnTo>
                      <a:pt x="46200" y="86253"/>
                    </a:lnTo>
                    <a:lnTo>
                      <a:pt x="43999" y="84957"/>
                    </a:lnTo>
                    <a:lnTo>
                      <a:pt x="46441" y="81795"/>
                    </a:lnTo>
                    <a:lnTo>
                      <a:pt x="43673" y="78560"/>
                    </a:lnTo>
                    <a:lnTo>
                      <a:pt x="43933" y="71335"/>
                    </a:lnTo>
                    <a:lnTo>
                      <a:pt x="29328" y="69172"/>
                    </a:lnTo>
                    <a:lnTo>
                      <a:pt x="28857" y="66585"/>
                    </a:lnTo>
                    <a:lnTo>
                      <a:pt x="33231" y="60446"/>
                    </a:lnTo>
                    <a:lnTo>
                      <a:pt x="32995" y="59148"/>
                    </a:lnTo>
                    <a:lnTo>
                      <a:pt x="21047" y="55204"/>
                    </a:lnTo>
                    <a:lnTo>
                      <a:pt x="14935" y="57512"/>
                    </a:lnTo>
                    <a:lnTo>
                      <a:pt x="8598" y="56206"/>
                    </a:lnTo>
                    <a:lnTo>
                      <a:pt x="5111" y="48768"/>
                    </a:lnTo>
                    <a:lnTo>
                      <a:pt x="209" y="45878"/>
                    </a:lnTo>
                    <a:lnTo>
                      <a:pt x="0" y="45618"/>
                    </a:lnTo>
                    <a:lnTo>
                      <a:pt x="1700" y="43133"/>
                    </a:lnTo>
                    <a:lnTo>
                      <a:pt x="2152" y="39974"/>
                    </a:lnTo>
                    <a:lnTo>
                      <a:pt x="1463" y="30162"/>
                    </a:lnTo>
                    <a:lnTo>
                      <a:pt x="2499" y="27511"/>
                    </a:lnTo>
                    <a:lnTo>
                      <a:pt x="3688" y="27164"/>
                    </a:lnTo>
                    <a:lnTo>
                      <a:pt x="4301" y="26546"/>
                    </a:lnTo>
                    <a:lnTo>
                      <a:pt x="3587" y="23162"/>
                    </a:lnTo>
                    <a:lnTo>
                      <a:pt x="10317" y="13852"/>
                    </a:lnTo>
                    <a:lnTo>
                      <a:pt x="12652" y="11431"/>
                    </a:lnTo>
                    <a:lnTo>
                      <a:pt x="15377" y="9527"/>
                    </a:lnTo>
                    <a:lnTo>
                      <a:pt x="29458" y="8137"/>
                    </a:lnTo>
                    <a:lnTo>
                      <a:pt x="31352" y="6245"/>
                    </a:lnTo>
                    <a:lnTo>
                      <a:pt x="33182" y="3656"/>
                    </a:lnTo>
                    <a:lnTo>
                      <a:pt x="35234" y="1355"/>
                    </a:lnTo>
                    <a:lnTo>
                      <a:pt x="39560" y="0"/>
                    </a:lnTo>
                    <a:lnTo>
                      <a:pt x="39559" y="3"/>
                    </a:lnTo>
                    <a:lnTo>
                      <a:pt x="37063" y="6999"/>
                    </a:lnTo>
                    <a:lnTo>
                      <a:pt x="40504" y="7343"/>
                    </a:lnTo>
                    <a:lnTo>
                      <a:pt x="50615" y="4917"/>
                    </a:lnTo>
                    <a:lnTo>
                      <a:pt x="54513" y="5547"/>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91" name="Freeform 84">
                <a:extLst>
                  <a:ext uri="{FF2B5EF4-FFF2-40B4-BE49-F238E27FC236}">
                    <a16:creationId xmlns:a16="http://schemas.microsoft.com/office/drawing/2014/main" id="{1566CA5D-83C1-E6D4-10B8-8A63C9CE2D4B}"/>
                  </a:ext>
                </a:extLst>
              </p:cNvPr>
              <p:cNvSpPr>
                <a:spLocks noChangeAspect="1"/>
              </p:cNvSpPr>
              <p:nvPr>
                <p:custDataLst>
                  <p:tags r:id="rId213"/>
                </p:custDataLst>
              </p:nvPr>
            </p:nvSpPr>
            <p:spPr>
              <a:xfrm>
                <a:off x="1410045" y="3796112"/>
                <a:ext cx="167447" cy="132361"/>
              </a:xfrm>
              <a:custGeom>
                <a:avLst/>
                <a:gdLst/>
                <a:ahLst/>
                <a:cxnLst/>
                <a:rect l="0" t="0" r="0" b="0"/>
                <a:pathLst>
                  <a:path w="171923" h="135899">
                    <a:moveTo>
                      <a:pt x="166598" y="4244"/>
                    </a:moveTo>
                    <a:lnTo>
                      <a:pt x="171922" y="4393"/>
                    </a:lnTo>
                    <a:lnTo>
                      <a:pt x="170095" y="10352"/>
                    </a:lnTo>
                    <a:lnTo>
                      <a:pt x="162614" y="13910"/>
                    </a:lnTo>
                    <a:lnTo>
                      <a:pt x="156836" y="17769"/>
                    </a:lnTo>
                    <a:lnTo>
                      <a:pt x="157703" y="32051"/>
                    </a:lnTo>
                    <a:lnTo>
                      <a:pt x="154583" y="39119"/>
                    </a:lnTo>
                    <a:lnTo>
                      <a:pt x="161278" y="43919"/>
                    </a:lnTo>
                    <a:lnTo>
                      <a:pt x="157948" y="47804"/>
                    </a:lnTo>
                    <a:lnTo>
                      <a:pt x="160162" y="51526"/>
                    </a:lnTo>
                    <a:lnTo>
                      <a:pt x="164360" y="65868"/>
                    </a:lnTo>
                    <a:lnTo>
                      <a:pt x="161269" y="76982"/>
                    </a:lnTo>
                    <a:lnTo>
                      <a:pt x="157841" y="83928"/>
                    </a:lnTo>
                    <a:lnTo>
                      <a:pt x="159557" y="87752"/>
                    </a:lnTo>
                    <a:lnTo>
                      <a:pt x="158010" y="91590"/>
                    </a:lnTo>
                    <a:lnTo>
                      <a:pt x="151296" y="97526"/>
                    </a:lnTo>
                    <a:lnTo>
                      <a:pt x="145714" y="98090"/>
                    </a:lnTo>
                    <a:lnTo>
                      <a:pt x="144279" y="103227"/>
                    </a:lnTo>
                    <a:lnTo>
                      <a:pt x="142931" y="104215"/>
                    </a:lnTo>
                    <a:lnTo>
                      <a:pt x="131054" y="107207"/>
                    </a:lnTo>
                    <a:lnTo>
                      <a:pt x="127875" y="113645"/>
                    </a:lnTo>
                    <a:lnTo>
                      <a:pt x="125679" y="115547"/>
                    </a:lnTo>
                    <a:lnTo>
                      <a:pt x="122855" y="116249"/>
                    </a:lnTo>
                    <a:lnTo>
                      <a:pt x="119714" y="113847"/>
                    </a:lnTo>
                    <a:lnTo>
                      <a:pt x="117763" y="115761"/>
                    </a:lnTo>
                    <a:lnTo>
                      <a:pt x="112979" y="115079"/>
                    </a:lnTo>
                    <a:lnTo>
                      <a:pt x="102399" y="118762"/>
                    </a:lnTo>
                    <a:lnTo>
                      <a:pt x="99029" y="122842"/>
                    </a:lnTo>
                    <a:lnTo>
                      <a:pt x="95389" y="123810"/>
                    </a:lnTo>
                    <a:lnTo>
                      <a:pt x="91635" y="122437"/>
                    </a:lnTo>
                    <a:lnTo>
                      <a:pt x="81103" y="126307"/>
                    </a:lnTo>
                    <a:lnTo>
                      <a:pt x="73359" y="125460"/>
                    </a:lnTo>
                    <a:lnTo>
                      <a:pt x="69014" y="128084"/>
                    </a:lnTo>
                    <a:lnTo>
                      <a:pt x="56688" y="125149"/>
                    </a:lnTo>
                    <a:lnTo>
                      <a:pt x="52124" y="129239"/>
                    </a:lnTo>
                    <a:lnTo>
                      <a:pt x="46341" y="129876"/>
                    </a:lnTo>
                    <a:lnTo>
                      <a:pt x="36591" y="135898"/>
                    </a:lnTo>
                    <a:lnTo>
                      <a:pt x="30756" y="131836"/>
                    </a:lnTo>
                    <a:lnTo>
                      <a:pt x="28216" y="126692"/>
                    </a:lnTo>
                    <a:lnTo>
                      <a:pt x="25776" y="126014"/>
                    </a:lnTo>
                    <a:lnTo>
                      <a:pt x="26273" y="115627"/>
                    </a:lnTo>
                    <a:lnTo>
                      <a:pt x="23255" y="105021"/>
                    </a:lnTo>
                    <a:lnTo>
                      <a:pt x="25191" y="100447"/>
                    </a:lnTo>
                    <a:lnTo>
                      <a:pt x="23190" y="96608"/>
                    </a:lnTo>
                    <a:lnTo>
                      <a:pt x="27912" y="82544"/>
                    </a:lnTo>
                    <a:lnTo>
                      <a:pt x="34064" y="81621"/>
                    </a:lnTo>
                    <a:lnTo>
                      <a:pt x="34161" y="79074"/>
                    </a:lnTo>
                    <a:lnTo>
                      <a:pt x="31115" y="74216"/>
                    </a:lnTo>
                    <a:lnTo>
                      <a:pt x="20280" y="75067"/>
                    </a:lnTo>
                    <a:lnTo>
                      <a:pt x="11599" y="67522"/>
                    </a:lnTo>
                    <a:lnTo>
                      <a:pt x="4647" y="67527"/>
                    </a:lnTo>
                    <a:lnTo>
                      <a:pt x="0" y="58746"/>
                    </a:lnTo>
                    <a:lnTo>
                      <a:pt x="9467" y="49843"/>
                    </a:lnTo>
                    <a:lnTo>
                      <a:pt x="18511" y="50921"/>
                    </a:lnTo>
                    <a:lnTo>
                      <a:pt x="30452" y="44727"/>
                    </a:lnTo>
                    <a:lnTo>
                      <a:pt x="33476" y="44579"/>
                    </a:lnTo>
                    <a:lnTo>
                      <a:pt x="33949" y="46842"/>
                    </a:lnTo>
                    <a:lnTo>
                      <a:pt x="41490" y="43140"/>
                    </a:lnTo>
                    <a:lnTo>
                      <a:pt x="47687" y="42334"/>
                    </a:lnTo>
                    <a:lnTo>
                      <a:pt x="51277" y="46143"/>
                    </a:lnTo>
                    <a:lnTo>
                      <a:pt x="56469" y="45709"/>
                    </a:lnTo>
                    <a:lnTo>
                      <a:pt x="57290" y="41068"/>
                    </a:lnTo>
                    <a:lnTo>
                      <a:pt x="63074" y="36611"/>
                    </a:lnTo>
                    <a:lnTo>
                      <a:pt x="68936" y="27707"/>
                    </a:lnTo>
                    <a:lnTo>
                      <a:pt x="82643" y="22090"/>
                    </a:lnTo>
                    <a:lnTo>
                      <a:pt x="87891" y="13767"/>
                    </a:lnTo>
                    <a:lnTo>
                      <a:pt x="93822" y="13037"/>
                    </a:lnTo>
                    <a:lnTo>
                      <a:pt x="96591" y="15316"/>
                    </a:lnTo>
                    <a:lnTo>
                      <a:pt x="102959" y="9711"/>
                    </a:lnTo>
                    <a:lnTo>
                      <a:pt x="110903" y="6948"/>
                    </a:lnTo>
                    <a:lnTo>
                      <a:pt x="131925" y="9554"/>
                    </a:lnTo>
                    <a:lnTo>
                      <a:pt x="138092" y="5310"/>
                    </a:lnTo>
                    <a:lnTo>
                      <a:pt x="151572" y="3142"/>
                    </a:lnTo>
                    <a:lnTo>
                      <a:pt x="156630" y="0"/>
                    </a:lnTo>
                    <a:lnTo>
                      <a:pt x="162534" y="953"/>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92" name="Freeform 85">
                <a:extLst>
                  <a:ext uri="{FF2B5EF4-FFF2-40B4-BE49-F238E27FC236}">
                    <a16:creationId xmlns:a16="http://schemas.microsoft.com/office/drawing/2014/main" id="{DFD9C54D-D601-9DF9-5552-B2EE51C9B682}"/>
                  </a:ext>
                </a:extLst>
              </p:cNvPr>
              <p:cNvSpPr>
                <a:spLocks noChangeAspect="1"/>
              </p:cNvSpPr>
              <p:nvPr>
                <p:custDataLst>
                  <p:tags r:id="rId214"/>
                </p:custDataLst>
              </p:nvPr>
            </p:nvSpPr>
            <p:spPr>
              <a:xfrm>
                <a:off x="1578709" y="3916081"/>
                <a:ext cx="113330" cy="108094"/>
              </a:xfrm>
              <a:custGeom>
                <a:avLst/>
                <a:gdLst/>
                <a:ahLst/>
                <a:cxnLst/>
                <a:rect l="0" t="0" r="0" b="0"/>
                <a:pathLst>
                  <a:path w="116359" h="110984">
                    <a:moveTo>
                      <a:pt x="62945" y="6081"/>
                    </a:moveTo>
                    <a:lnTo>
                      <a:pt x="67603" y="2675"/>
                    </a:lnTo>
                    <a:lnTo>
                      <a:pt x="73320" y="3150"/>
                    </a:lnTo>
                    <a:lnTo>
                      <a:pt x="76135" y="1340"/>
                    </a:lnTo>
                    <a:lnTo>
                      <a:pt x="85233" y="18980"/>
                    </a:lnTo>
                    <a:lnTo>
                      <a:pt x="90943" y="19765"/>
                    </a:lnTo>
                    <a:lnTo>
                      <a:pt x="90641" y="28034"/>
                    </a:lnTo>
                    <a:lnTo>
                      <a:pt x="95248" y="34718"/>
                    </a:lnTo>
                    <a:lnTo>
                      <a:pt x="101278" y="35413"/>
                    </a:lnTo>
                    <a:lnTo>
                      <a:pt x="108161" y="29324"/>
                    </a:lnTo>
                    <a:lnTo>
                      <a:pt x="108421" y="34869"/>
                    </a:lnTo>
                    <a:lnTo>
                      <a:pt x="111241" y="39762"/>
                    </a:lnTo>
                    <a:lnTo>
                      <a:pt x="111655" y="44564"/>
                    </a:lnTo>
                    <a:lnTo>
                      <a:pt x="114093" y="49874"/>
                    </a:lnTo>
                    <a:lnTo>
                      <a:pt x="112653" y="67979"/>
                    </a:lnTo>
                    <a:lnTo>
                      <a:pt x="116358" y="74400"/>
                    </a:lnTo>
                    <a:lnTo>
                      <a:pt x="113099" y="77980"/>
                    </a:lnTo>
                    <a:lnTo>
                      <a:pt x="107244" y="74233"/>
                    </a:lnTo>
                    <a:lnTo>
                      <a:pt x="103723" y="76850"/>
                    </a:lnTo>
                    <a:lnTo>
                      <a:pt x="97270" y="76889"/>
                    </a:lnTo>
                    <a:lnTo>
                      <a:pt x="92968" y="81486"/>
                    </a:lnTo>
                    <a:lnTo>
                      <a:pt x="87989" y="82110"/>
                    </a:lnTo>
                    <a:lnTo>
                      <a:pt x="85748" y="89139"/>
                    </a:lnTo>
                    <a:lnTo>
                      <a:pt x="83369" y="89666"/>
                    </a:lnTo>
                    <a:lnTo>
                      <a:pt x="81635" y="92457"/>
                    </a:lnTo>
                    <a:lnTo>
                      <a:pt x="76025" y="88809"/>
                    </a:lnTo>
                    <a:lnTo>
                      <a:pt x="69690" y="91510"/>
                    </a:lnTo>
                    <a:lnTo>
                      <a:pt x="66982" y="95205"/>
                    </a:lnTo>
                    <a:lnTo>
                      <a:pt x="60680" y="94386"/>
                    </a:lnTo>
                    <a:lnTo>
                      <a:pt x="53019" y="101588"/>
                    </a:lnTo>
                    <a:lnTo>
                      <a:pt x="50868" y="105660"/>
                    </a:lnTo>
                    <a:lnTo>
                      <a:pt x="51331" y="109695"/>
                    </a:lnTo>
                    <a:lnTo>
                      <a:pt x="50272" y="110983"/>
                    </a:lnTo>
                    <a:lnTo>
                      <a:pt x="47194" y="106953"/>
                    </a:lnTo>
                    <a:lnTo>
                      <a:pt x="42705" y="102712"/>
                    </a:lnTo>
                    <a:lnTo>
                      <a:pt x="40381" y="101219"/>
                    </a:lnTo>
                    <a:lnTo>
                      <a:pt x="37744" y="100741"/>
                    </a:lnTo>
                    <a:lnTo>
                      <a:pt x="35288" y="102070"/>
                    </a:lnTo>
                    <a:lnTo>
                      <a:pt x="33487" y="104474"/>
                    </a:lnTo>
                    <a:lnTo>
                      <a:pt x="31596" y="106324"/>
                    </a:lnTo>
                    <a:lnTo>
                      <a:pt x="28941" y="105960"/>
                    </a:lnTo>
                    <a:lnTo>
                      <a:pt x="24242" y="102613"/>
                    </a:lnTo>
                    <a:lnTo>
                      <a:pt x="19671" y="98321"/>
                    </a:lnTo>
                    <a:lnTo>
                      <a:pt x="15555" y="93022"/>
                    </a:lnTo>
                    <a:lnTo>
                      <a:pt x="12149" y="86728"/>
                    </a:lnTo>
                    <a:lnTo>
                      <a:pt x="11043" y="82839"/>
                    </a:lnTo>
                    <a:lnTo>
                      <a:pt x="10450" y="79092"/>
                    </a:lnTo>
                    <a:lnTo>
                      <a:pt x="9592" y="75828"/>
                    </a:lnTo>
                    <a:lnTo>
                      <a:pt x="7710" y="73462"/>
                    </a:lnTo>
                    <a:lnTo>
                      <a:pt x="0" y="68951"/>
                    </a:lnTo>
                    <a:lnTo>
                      <a:pt x="4006" y="67052"/>
                    </a:lnTo>
                    <a:lnTo>
                      <a:pt x="5978" y="63293"/>
                    </a:lnTo>
                    <a:lnTo>
                      <a:pt x="5857" y="57732"/>
                    </a:lnTo>
                    <a:lnTo>
                      <a:pt x="3623" y="50478"/>
                    </a:lnTo>
                    <a:lnTo>
                      <a:pt x="4234" y="49782"/>
                    </a:lnTo>
                    <a:lnTo>
                      <a:pt x="5206" y="49473"/>
                    </a:lnTo>
                    <a:lnTo>
                      <a:pt x="9561" y="48086"/>
                    </a:lnTo>
                    <a:lnTo>
                      <a:pt x="12808" y="45061"/>
                    </a:lnTo>
                    <a:lnTo>
                      <a:pt x="12511" y="38344"/>
                    </a:lnTo>
                    <a:lnTo>
                      <a:pt x="18953" y="30490"/>
                    </a:lnTo>
                    <a:lnTo>
                      <a:pt x="19575" y="27850"/>
                    </a:lnTo>
                    <a:lnTo>
                      <a:pt x="18292" y="22470"/>
                    </a:lnTo>
                    <a:lnTo>
                      <a:pt x="21713" y="18068"/>
                    </a:lnTo>
                    <a:lnTo>
                      <a:pt x="39011" y="22410"/>
                    </a:lnTo>
                    <a:lnTo>
                      <a:pt x="40484" y="21303"/>
                    </a:lnTo>
                    <a:lnTo>
                      <a:pt x="42015" y="14998"/>
                    </a:lnTo>
                    <a:lnTo>
                      <a:pt x="44316" y="12122"/>
                    </a:lnTo>
                    <a:lnTo>
                      <a:pt x="43259" y="9641"/>
                    </a:lnTo>
                    <a:lnTo>
                      <a:pt x="43802" y="7115"/>
                    </a:lnTo>
                    <a:lnTo>
                      <a:pt x="49109" y="4693"/>
                    </a:lnTo>
                    <a:lnTo>
                      <a:pt x="53215" y="0"/>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93" name="Freeform 86">
                <a:extLst>
                  <a:ext uri="{FF2B5EF4-FFF2-40B4-BE49-F238E27FC236}">
                    <a16:creationId xmlns:a16="http://schemas.microsoft.com/office/drawing/2014/main" id="{B5353DCE-AEB4-90B0-5967-C86013891CB4}"/>
                  </a:ext>
                </a:extLst>
              </p:cNvPr>
              <p:cNvSpPr>
                <a:spLocks noChangeAspect="1"/>
              </p:cNvSpPr>
              <p:nvPr>
                <p:custDataLst>
                  <p:tags r:id="rId215"/>
                </p:custDataLst>
              </p:nvPr>
            </p:nvSpPr>
            <p:spPr>
              <a:xfrm>
                <a:off x="1620627" y="3988381"/>
                <a:ext cx="177471" cy="92719"/>
              </a:xfrm>
              <a:custGeom>
                <a:avLst/>
                <a:gdLst/>
                <a:ahLst/>
                <a:cxnLst/>
                <a:rect l="0" t="0" r="0" b="0"/>
                <a:pathLst>
                  <a:path w="182215" h="95198">
                    <a:moveTo>
                      <a:pt x="76728" y="4776"/>
                    </a:moveTo>
                    <a:lnTo>
                      <a:pt x="81578" y="4445"/>
                    </a:lnTo>
                    <a:lnTo>
                      <a:pt x="85652" y="6410"/>
                    </a:lnTo>
                    <a:lnTo>
                      <a:pt x="90532" y="5345"/>
                    </a:lnTo>
                    <a:lnTo>
                      <a:pt x="110247" y="13469"/>
                    </a:lnTo>
                    <a:lnTo>
                      <a:pt x="115596" y="11763"/>
                    </a:lnTo>
                    <a:lnTo>
                      <a:pt x="118845" y="14440"/>
                    </a:lnTo>
                    <a:lnTo>
                      <a:pt x="127425" y="15621"/>
                    </a:lnTo>
                    <a:lnTo>
                      <a:pt x="136803" y="12045"/>
                    </a:lnTo>
                    <a:lnTo>
                      <a:pt x="143037" y="14513"/>
                    </a:lnTo>
                    <a:lnTo>
                      <a:pt x="135480" y="19110"/>
                    </a:lnTo>
                    <a:lnTo>
                      <a:pt x="138913" y="20425"/>
                    </a:lnTo>
                    <a:lnTo>
                      <a:pt x="140169" y="31618"/>
                    </a:lnTo>
                    <a:lnTo>
                      <a:pt x="144891" y="43473"/>
                    </a:lnTo>
                    <a:lnTo>
                      <a:pt x="146055" y="44050"/>
                    </a:lnTo>
                    <a:lnTo>
                      <a:pt x="151423" y="38192"/>
                    </a:lnTo>
                    <a:lnTo>
                      <a:pt x="156211" y="38160"/>
                    </a:lnTo>
                    <a:lnTo>
                      <a:pt x="159974" y="35432"/>
                    </a:lnTo>
                    <a:lnTo>
                      <a:pt x="168964" y="41377"/>
                    </a:lnTo>
                    <a:lnTo>
                      <a:pt x="176683" y="39211"/>
                    </a:lnTo>
                    <a:lnTo>
                      <a:pt x="180263" y="39671"/>
                    </a:lnTo>
                    <a:lnTo>
                      <a:pt x="182214" y="39818"/>
                    </a:lnTo>
                    <a:lnTo>
                      <a:pt x="182211" y="41213"/>
                    </a:lnTo>
                    <a:lnTo>
                      <a:pt x="181356" y="48511"/>
                    </a:lnTo>
                    <a:lnTo>
                      <a:pt x="179716" y="56405"/>
                    </a:lnTo>
                    <a:lnTo>
                      <a:pt x="177532" y="63890"/>
                    </a:lnTo>
                    <a:lnTo>
                      <a:pt x="174949" y="69944"/>
                    </a:lnTo>
                    <a:lnTo>
                      <a:pt x="170696" y="74913"/>
                    </a:lnTo>
                    <a:lnTo>
                      <a:pt x="161147" y="79394"/>
                    </a:lnTo>
                    <a:lnTo>
                      <a:pt x="153960" y="86541"/>
                    </a:lnTo>
                    <a:lnTo>
                      <a:pt x="144161" y="93476"/>
                    </a:lnTo>
                    <a:lnTo>
                      <a:pt x="141133" y="94811"/>
                    </a:lnTo>
                    <a:lnTo>
                      <a:pt x="132347" y="95197"/>
                    </a:lnTo>
                    <a:lnTo>
                      <a:pt x="128814" y="94379"/>
                    </a:lnTo>
                    <a:lnTo>
                      <a:pt x="125009" y="91353"/>
                    </a:lnTo>
                    <a:lnTo>
                      <a:pt x="125100" y="88976"/>
                    </a:lnTo>
                    <a:lnTo>
                      <a:pt x="129644" y="86941"/>
                    </a:lnTo>
                    <a:lnTo>
                      <a:pt x="131464" y="86605"/>
                    </a:lnTo>
                    <a:lnTo>
                      <a:pt x="114550" y="79543"/>
                    </a:lnTo>
                    <a:lnTo>
                      <a:pt x="111697" y="79213"/>
                    </a:lnTo>
                    <a:lnTo>
                      <a:pt x="109383" y="72089"/>
                    </a:lnTo>
                    <a:lnTo>
                      <a:pt x="103493" y="69645"/>
                    </a:lnTo>
                    <a:lnTo>
                      <a:pt x="96808" y="68881"/>
                    </a:lnTo>
                    <a:lnTo>
                      <a:pt x="92147" y="66809"/>
                    </a:lnTo>
                    <a:lnTo>
                      <a:pt x="90649" y="69332"/>
                    </a:lnTo>
                    <a:lnTo>
                      <a:pt x="87457" y="66411"/>
                    </a:lnTo>
                    <a:lnTo>
                      <a:pt x="84096" y="66727"/>
                    </a:lnTo>
                    <a:lnTo>
                      <a:pt x="80847" y="68254"/>
                    </a:lnTo>
                    <a:lnTo>
                      <a:pt x="77834" y="68821"/>
                    </a:lnTo>
                    <a:lnTo>
                      <a:pt x="75265" y="66778"/>
                    </a:lnTo>
                    <a:lnTo>
                      <a:pt x="73651" y="64063"/>
                    </a:lnTo>
                    <a:lnTo>
                      <a:pt x="71836" y="63690"/>
                    </a:lnTo>
                    <a:lnTo>
                      <a:pt x="68652" y="68656"/>
                    </a:lnTo>
                    <a:lnTo>
                      <a:pt x="68275" y="71012"/>
                    </a:lnTo>
                    <a:lnTo>
                      <a:pt x="68534" y="73967"/>
                    </a:lnTo>
                    <a:lnTo>
                      <a:pt x="68563" y="77151"/>
                    </a:lnTo>
                    <a:lnTo>
                      <a:pt x="67481" y="80288"/>
                    </a:lnTo>
                    <a:lnTo>
                      <a:pt x="66001" y="81570"/>
                    </a:lnTo>
                    <a:lnTo>
                      <a:pt x="60695" y="82255"/>
                    </a:lnTo>
                    <a:lnTo>
                      <a:pt x="54840" y="84101"/>
                    </a:lnTo>
                    <a:lnTo>
                      <a:pt x="53240" y="84071"/>
                    </a:lnTo>
                    <a:lnTo>
                      <a:pt x="51848" y="82983"/>
                    </a:lnTo>
                    <a:lnTo>
                      <a:pt x="50589" y="81229"/>
                    </a:lnTo>
                    <a:lnTo>
                      <a:pt x="49767" y="79574"/>
                    </a:lnTo>
                    <a:lnTo>
                      <a:pt x="49646" y="78896"/>
                    </a:lnTo>
                    <a:lnTo>
                      <a:pt x="43441" y="78904"/>
                    </a:lnTo>
                    <a:lnTo>
                      <a:pt x="23976" y="85219"/>
                    </a:lnTo>
                    <a:lnTo>
                      <a:pt x="22225" y="84923"/>
                    </a:lnTo>
                    <a:lnTo>
                      <a:pt x="18863" y="83309"/>
                    </a:lnTo>
                    <a:lnTo>
                      <a:pt x="17076" y="83583"/>
                    </a:lnTo>
                    <a:lnTo>
                      <a:pt x="15847" y="84853"/>
                    </a:lnTo>
                    <a:lnTo>
                      <a:pt x="14665" y="86511"/>
                    </a:lnTo>
                    <a:lnTo>
                      <a:pt x="13282" y="88453"/>
                    </a:lnTo>
                    <a:lnTo>
                      <a:pt x="12020" y="89147"/>
                    </a:lnTo>
                    <a:lnTo>
                      <a:pt x="8925" y="87265"/>
                    </a:lnTo>
                    <a:lnTo>
                      <a:pt x="3287" y="79613"/>
                    </a:lnTo>
                    <a:lnTo>
                      <a:pt x="0" y="76673"/>
                    </a:lnTo>
                    <a:lnTo>
                      <a:pt x="3873" y="67857"/>
                    </a:lnTo>
                    <a:lnTo>
                      <a:pt x="4361" y="63531"/>
                    </a:lnTo>
                    <a:lnTo>
                      <a:pt x="2180" y="59042"/>
                    </a:lnTo>
                    <a:lnTo>
                      <a:pt x="7506" y="52763"/>
                    </a:lnTo>
                    <a:lnTo>
                      <a:pt x="9928" y="45876"/>
                    </a:lnTo>
                    <a:lnTo>
                      <a:pt x="8946" y="38991"/>
                    </a:lnTo>
                    <a:lnTo>
                      <a:pt x="7233" y="36750"/>
                    </a:lnTo>
                    <a:lnTo>
                      <a:pt x="8292" y="35462"/>
                    </a:lnTo>
                    <a:lnTo>
                      <a:pt x="7829" y="31427"/>
                    </a:lnTo>
                    <a:lnTo>
                      <a:pt x="9980" y="27355"/>
                    </a:lnTo>
                    <a:lnTo>
                      <a:pt x="17641" y="20153"/>
                    </a:lnTo>
                    <a:lnTo>
                      <a:pt x="23943" y="20972"/>
                    </a:lnTo>
                    <a:lnTo>
                      <a:pt x="26651" y="17277"/>
                    </a:lnTo>
                    <a:lnTo>
                      <a:pt x="32986" y="14576"/>
                    </a:lnTo>
                    <a:lnTo>
                      <a:pt x="38596" y="18224"/>
                    </a:lnTo>
                    <a:lnTo>
                      <a:pt x="40330" y="15433"/>
                    </a:lnTo>
                    <a:lnTo>
                      <a:pt x="42709" y="14906"/>
                    </a:lnTo>
                    <a:lnTo>
                      <a:pt x="44950" y="7877"/>
                    </a:lnTo>
                    <a:lnTo>
                      <a:pt x="49929" y="7253"/>
                    </a:lnTo>
                    <a:lnTo>
                      <a:pt x="54231" y="2656"/>
                    </a:lnTo>
                    <a:lnTo>
                      <a:pt x="60684" y="2617"/>
                    </a:lnTo>
                    <a:lnTo>
                      <a:pt x="64205" y="0"/>
                    </a:lnTo>
                    <a:lnTo>
                      <a:pt x="70060" y="3747"/>
                    </a:lnTo>
                    <a:lnTo>
                      <a:pt x="73319" y="167"/>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94" name="Freeform 87">
                <a:extLst>
                  <a:ext uri="{FF2B5EF4-FFF2-40B4-BE49-F238E27FC236}">
                    <a16:creationId xmlns:a16="http://schemas.microsoft.com/office/drawing/2014/main" id="{B8E72635-7B8E-6379-8464-D11F1E207966}"/>
                  </a:ext>
                </a:extLst>
              </p:cNvPr>
              <p:cNvSpPr>
                <a:spLocks noChangeAspect="1"/>
              </p:cNvSpPr>
              <p:nvPr>
                <p:custDataLst>
                  <p:tags r:id="rId216"/>
                </p:custDataLst>
              </p:nvPr>
            </p:nvSpPr>
            <p:spPr>
              <a:xfrm>
                <a:off x="1684054" y="3928054"/>
                <a:ext cx="100846" cy="75543"/>
              </a:xfrm>
              <a:custGeom>
                <a:avLst/>
                <a:gdLst/>
                <a:ahLst/>
                <a:cxnLst/>
                <a:rect l="0" t="0" r="0" b="0"/>
                <a:pathLst>
                  <a:path w="103542" h="77562">
                    <a:moveTo>
                      <a:pt x="53877" y="3835"/>
                    </a:moveTo>
                    <a:lnTo>
                      <a:pt x="60268" y="2919"/>
                    </a:lnTo>
                    <a:lnTo>
                      <a:pt x="76941" y="14918"/>
                    </a:lnTo>
                    <a:lnTo>
                      <a:pt x="77265" y="16096"/>
                    </a:lnTo>
                    <a:lnTo>
                      <a:pt x="74836" y="18120"/>
                    </a:lnTo>
                    <a:lnTo>
                      <a:pt x="75736" y="22195"/>
                    </a:lnTo>
                    <a:lnTo>
                      <a:pt x="87799" y="27219"/>
                    </a:lnTo>
                    <a:lnTo>
                      <a:pt x="96672" y="24679"/>
                    </a:lnTo>
                    <a:lnTo>
                      <a:pt x="100924" y="26414"/>
                    </a:lnTo>
                    <a:lnTo>
                      <a:pt x="103541" y="31606"/>
                    </a:lnTo>
                    <a:lnTo>
                      <a:pt x="103111" y="32974"/>
                    </a:lnTo>
                    <a:lnTo>
                      <a:pt x="95897" y="40993"/>
                    </a:lnTo>
                    <a:lnTo>
                      <a:pt x="96349" y="48875"/>
                    </a:lnTo>
                    <a:lnTo>
                      <a:pt x="100329" y="60499"/>
                    </a:lnTo>
                    <a:lnTo>
                      <a:pt x="100043" y="61862"/>
                    </a:lnTo>
                    <a:lnTo>
                      <a:pt x="96221" y="62801"/>
                    </a:lnTo>
                    <a:lnTo>
                      <a:pt x="96510" y="66941"/>
                    </a:lnTo>
                    <a:lnTo>
                      <a:pt x="94008" y="70882"/>
                    </a:lnTo>
                    <a:lnTo>
                      <a:pt x="95318" y="75819"/>
                    </a:lnTo>
                    <a:lnTo>
                      <a:pt x="90479" y="77452"/>
                    </a:lnTo>
                    <a:lnTo>
                      <a:pt x="79826" y="70043"/>
                    </a:lnTo>
                    <a:lnTo>
                      <a:pt x="78571" y="70747"/>
                    </a:lnTo>
                    <a:lnTo>
                      <a:pt x="77915" y="76453"/>
                    </a:lnTo>
                    <a:lnTo>
                      <a:pt x="71681" y="73985"/>
                    </a:lnTo>
                    <a:lnTo>
                      <a:pt x="62303" y="77561"/>
                    </a:lnTo>
                    <a:lnTo>
                      <a:pt x="53723" y="76380"/>
                    </a:lnTo>
                    <a:lnTo>
                      <a:pt x="50474" y="73703"/>
                    </a:lnTo>
                    <a:lnTo>
                      <a:pt x="45125" y="75409"/>
                    </a:lnTo>
                    <a:lnTo>
                      <a:pt x="25410" y="67285"/>
                    </a:lnTo>
                    <a:lnTo>
                      <a:pt x="20530" y="68350"/>
                    </a:lnTo>
                    <a:lnTo>
                      <a:pt x="16456" y="66385"/>
                    </a:lnTo>
                    <a:lnTo>
                      <a:pt x="11606" y="66716"/>
                    </a:lnTo>
                    <a:lnTo>
                      <a:pt x="8197" y="62107"/>
                    </a:lnTo>
                    <a:lnTo>
                      <a:pt x="4492" y="55686"/>
                    </a:lnTo>
                    <a:lnTo>
                      <a:pt x="5932" y="37581"/>
                    </a:lnTo>
                    <a:lnTo>
                      <a:pt x="3494" y="32271"/>
                    </a:lnTo>
                    <a:lnTo>
                      <a:pt x="3080" y="27469"/>
                    </a:lnTo>
                    <a:lnTo>
                      <a:pt x="260" y="22576"/>
                    </a:lnTo>
                    <a:lnTo>
                      <a:pt x="0" y="17031"/>
                    </a:lnTo>
                    <a:lnTo>
                      <a:pt x="3137" y="14396"/>
                    </a:lnTo>
                    <a:lnTo>
                      <a:pt x="16689" y="18681"/>
                    </a:lnTo>
                    <a:lnTo>
                      <a:pt x="17802" y="18628"/>
                    </a:lnTo>
                    <a:lnTo>
                      <a:pt x="18090" y="16091"/>
                    </a:lnTo>
                    <a:lnTo>
                      <a:pt x="21927" y="17632"/>
                    </a:lnTo>
                    <a:lnTo>
                      <a:pt x="37280" y="17190"/>
                    </a:lnTo>
                    <a:lnTo>
                      <a:pt x="38412" y="13628"/>
                    </a:lnTo>
                    <a:lnTo>
                      <a:pt x="42634" y="11573"/>
                    </a:lnTo>
                    <a:lnTo>
                      <a:pt x="40510" y="7437"/>
                    </a:lnTo>
                    <a:lnTo>
                      <a:pt x="40851" y="3636"/>
                    </a:lnTo>
                    <a:lnTo>
                      <a:pt x="43891" y="3797"/>
                    </a:lnTo>
                    <a:lnTo>
                      <a:pt x="53843" y="0"/>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95" name="Freeform 88">
                <a:extLst>
                  <a:ext uri="{FF2B5EF4-FFF2-40B4-BE49-F238E27FC236}">
                    <a16:creationId xmlns:a16="http://schemas.microsoft.com/office/drawing/2014/main" id="{91AE1AC2-7C73-57F4-2B9A-222D20E24371}"/>
                  </a:ext>
                </a:extLst>
              </p:cNvPr>
              <p:cNvSpPr>
                <a:spLocks noChangeAspect="1"/>
              </p:cNvSpPr>
              <p:nvPr>
                <p:custDataLst>
                  <p:tags r:id="rId217"/>
                </p:custDataLst>
              </p:nvPr>
            </p:nvSpPr>
            <p:spPr>
              <a:xfrm>
                <a:off x="1647366" y="3864995"/>
                <a:ext cx="79438" cy="85578"/>
              </a:xfrm>
              <a:custGeom>
                <a:avLst/>
                <a:gdLst/>
                <a:ahLst/>
                <a:cxnLst/>
                <a:rect l="0" t="0" r="0" b="0"/>
                <a:pathLst>
                  <a:path w="81561" h="87866">
                    <a:moveTo>
                      <a:pt x="72125" y="7239"/>
                    </a:moveTo>
                    <a:lnTo>
                      <a:pt x="69206" y="13288"/>
                    </a:lnTo>
                    <a:lnTo>
                      <a:pt x="64605" y="15856"/>
                    </a:lnTo>
                    <a:lnTo>
                      <a:pt x="67226" y="17882"/>
                    </a:lnTo>
                    <a:lnTo>
                      <a:pt x="68969" y="23487"/>
                    </a:lnTo>
                    <a:lnTo>
                      <a:pt x="68915" y="33998"/>
                    </a:lnTo>
                    <a:lnTo>
                      <a:pt x="76241" y="41944"/>
                    </a:lnTo>
                    <a:lnTo>
                      <a:pt x="76201" y="44491"/>
                    </a:lnTo>
                    <a:lnTo>
                      <a:pt x="73023" y="48179"/>
                    </a:lnTo>
                    <a:lnTo>
                      <a:pt x="74591" y="50594"/>
                    </a:lnTo>
                    <a:lnTo>
                      <a:pt x="75083" y="55495"/>
                    </a:lnTo>
                    <a:lnTo>
                      <a:pt x="81356" y="62229"/>
                    </a:lnTo>
                    <a:lnTo>
                      <a:pt x="81560" y="68542"/>
                    </a:lnTo>
                    <a:lnTo>
                      <a:pt x="78520" y="68381"/>
                    </a:lnTo>
                    <a:lnTo>
                      <a:pt x="78179" y="72182"/>
                    </a:lnTo>
                    <a:lnTo>
                      <a:pt x="80303" y="76318"/>
                    </a:lnTo>
                    <a:lnTo>
                      <a:pt x="76081" y="78373"/>
                    </a:lnTo>
                    <a:lnTo>
                      <a:pt x="74949" y="81935"/>
                    </a:lnTo>
                    <a:lnTo>
                      <a:pt x="59596" y="82377"/>
                    </a:lnTo>
                    <a:lnTo>
                      <a:pt x="55759" y="80836"/>
                    </a:lnTo>
                    <a:lnTo>
                      <a:pt x="55471" y="83373"/>
                    </a:lnTo>
                    <a:lnTo>
                      <a:pt x="54358" y="83426"/>
                    </a:lnTo>
                    <a:lnTo>
                      <a:pt x="40806" y="79141"/>
                    </a:lnTo>
                    <a:lnTo>
                      <a:pt x="37669" y="81776"/>
                    </a:lnTo>
                    <a:lnTo>
                      <a:pt x="30786" y="87865"/>
                    </a:lnTo>
                    <a:lnTo>
                      <a:pt x="24756" y="87170"/>
                    </a:lnTo>
                    <a:lnTo>
                      <a:pt x="20149" y="80486"/>
                    </a:lnTo>
                    <a:lnTo>
                      <a:pt x="20451" y="72217"/>
                    </a:lnTo>
                    <a:lnTo>
                      <a:pt x="14741" y="71432"/>
                    </a:lnTo>
                    <a:lnTo>
                      <a:pt x="5643" y="53792"/>
                    </a:lnTo>
                    <a:lnTo>
                      <a:pt x="3644" y="47248"/>
                    </a:lnTo>
                    <a:lnTo>
                      <a:pt x="3809" y="42145"/>
                    </a:lnTo>
                    <a:lnTo>
                      <a:pt x="0" y="36349"/>
                    </a:lnTo>
                    <a:lnTo>
                      <a:pt x="2664" y="34659"/>
                    </a:lnTo>
                    <a:lnTo>
                      <a:pt x="2559" y="34556"/>
                    </a:lnTo>
                    <a:lnTo>
                      <a:pt x="9245" y="28549"/>
                    </a:lnTo>
                    <a:lnTo>
                      <a:pt x="12900" y="24877"/>
                    </a:lnTo>
                    <a:lnTo>
                      <a:pt x="23231" y="20113"/>
                    </a:lnTo>
                    <a:lnTo>
                      <a:pt x="33476" y="14667"/>
                    </a:lnTo>
                    <a:lnTo>
                      <a:pt x="34798" y="15237"/>
                    </a:lnTo>
                    <a:lnTo>
                      <a:pt x="47290" y="8880"/>
                    </a:lnTo>
                    <a:lnTo>
                      <a:pt x="54810" y="5105"/>
                    </a:lnTo>
                    <a:lnTo>
                      <a:pt x="56960" y="4335"/>
                    </a:lnTo>
                    <a:lnTo>
                      <a:pt x="59371" y="6371"/>
                    </a:lnTo>
                    <a:lnTo>
                      <a:pt x="61509" y="8832"/>
                    </a:lnTo>
                    <a:lnTo>
                      <a:pt x="63837" y="9994"/>
                    </a:lnTo>
                    <a:lnTo>
                      <a:pt x="66449" y="10101"/>
                    </a:lnTo>
                    <a:lnTo>
                      <a:pt x="67914" y="7592"/>
                    </a:lnTo>
                    <a:lnTo>
                      <a:pt x="67973" y="3068"/>
                    </a:lnTo>
                    <a:lnTo>
                      <a:pt x="67920" y="290"/>
                    </a:lnTo>
                    <a:lnTo>
                      <a:pt x="69065" y="0"/>
                    </a:lnTo>
                    <a:lnTo>
                      <a:pt x="71980" y="2461"/>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96" name="Freeform 89">
                <a:extLst>
                  <a:ext uri="{FF2B5EF4-FFF2-40B4-BE49-F238E27FC236}">
                    <a16:creationId xmlns:a16="http://schemas.microsoft.com/office/drawing/2014/main" id="{411614F0-62A7-D455-B981-3D5D784788BE}"/>
                  </a:ext>
                </a:extLst>
              </p:cNvPr>
              <p:cNvSpPr>
                <a:spLocks noChangeAspect="1"/>
              </p:cNvSpPr>
              <p:nvPr>
                <p:custDataLst>
                  <p:tags r:id="rId218"/>
                </p:custDataLst>
              </p:nvPr>
            </p:nvSpPr>
            <p:spPr>
              <a:xfrm>
                <a:off x="1477262" y="3871090"/>
                <a:ext cx="182669" cy="94156"/>
              </a:xfrm>
              <a:custGeom>
                <a:avLst/>
                <a:gdLst/>
                <a:ahLst/>
                <a:cxnLst/>
                <a:rect l="0" t="0" r="0" b="0"/>
                <a:pathLst>
                  <a:path w="187552" h="96673">
                    <a:moveTo>
                      <a:pt x="106466" y="5389"/>
                    </a:moveTo>
                    <a:lnTo>
                      <a:pt x="112344" y="3662"/>
                    </a:lnTo>
                    <a:lnTo>
                      <a:pt x="115858" y="4794"/>
                    </a:lnTo>
                    <a:lnTo>
                      <a:pt x="122654" y="1824"/>
                    </a:lnTo>
                    <a:lnTo>
                      <a:pt x="127965" y="5382"/>
                    </a:lnTo>
                    <a:lnTo>
                      <a:pt x="135097" y="6990"/>
                    </a:lnTo>
                    <a:lnTo>
                      <a:pt x="141450" y="4109"/>
                    </a:lnTo>
                    <a:lnTo>
                      <a:pt x="146359" y="12309"/>
                    </a:lnTo>
                    <a:lnTo>
                      <a:pt x="148639" y="13701"/>
                    </a:lnTo>
                    <a:lnTo>
                      <a:pt x="153047" y="9123"/>
                    </a:lnTo>
                    <a:lnTo>
                      <a:pt x="161271" y="11095"/>
                    </a:lnTo>
                    <a:lnTo>
                      <a:pt x="163649" y="7597"/>
                    </a:lnTo>
                    <a:lnTo>
                      <a:pt x="174352" y="11901"/>
                    </a:lnTo>
                    <a:lnTo>
                      <a:pt x="173978" y="12060"/>
                    </a:lnTo>
                    <a:lnTo>
                      <a:pt x="178393" y="14069"/>
                    </a:lnTo>
                    <a:lnTo>
                      <a:pt x="186790" y="18970"/>
                    </a:lnTo>
                    <a:lnTo>
                      <a:pt x="187551" y="18619"/>
                    </a:lnTo>
                    <a:lnTo>
                      <a:pt x="183896" y="22291"/>
                    </a:lnTo>
                    <a:lnTo>
                      <a:pt x="177210" y="28298"/>
                    </a:lnTo>
                    <a:lnTo>
                      <a:pt x="177315" y="28401"/>
                    </a:lnTo>
                    <a:lnTo>
                      <a:pt x="174651" y="30091"/>
                    </a:lnTo>
                    <a:lnTo>
                      <a:pt x="178460" y="35887"/>
                    </a:lnTo>
                    <a:lnTo>
                      <a:pt x="178295" y="40990"/>
                    </a:lnTo>
                    <a:lnTo>
                      <a:pt x="180294" y="47534"/>
                    </a:lnTo>
                    <a:lnTo>
                      <a:pt x="177479" y="49344"/>
                    </a:lnTo>
                    <a:lnTo>
                      <a:pt x="171762" y="48869"/>
                    </a:lnTo>
                    <a:lnTo>
                      <a:pt x="167104" y="52275"/>
                    </a:lnTo>
                    <a:lnTo>
                      <a:pt x="157374" y="46194"/>
                    </a:lnTo>
                    <a:lnTo>
                      <a:pt x="153268" y="50887"/>
                    </a:lnTo>
                    <a:lnTo>
                      <a:pt x="147961" y="53309"/>
                    </a:lnTo>
                    <a:lnTo>
                      <a:pt x="147418" y="55835"/>
                    </a:lnTo>
                    <a:lnTo>
                      <a:pt x="148475" y="58316"/>
                    </a:lnTo>
                    <a:lnTo>
                      <a:pt x="146174" y="61192"/>
                    </a:lnTo>
                    <a:lnTo>
                      <a:pt x="144643" y="67497"/>
                    </a:lnTo>
                    <a:lnTo>
                      <a:pt x="143170" y="68604"/>
                    </a:lnTo>
                    <a:lnTo>
                      <a:pt x="125872" y="64262"/>
                    </a:lnTo>
                    <a:lnTo>
                      <a:pt x="122451" y="68664"/>
                    </a:lnTo>
                    <a:lnTo>
                      <a:pt x="123734" y="74044"/>
                    </a:lnTo>
                    <a:lnTo>
                      <a:pt x="123112" y="76684"/>
                    </a:lnTo>
                    <a:lnTo>
                      <a:pt x="116670" y="84538"/>
                    </a:lnTo>
                    <a:lnTo>
                      <a:pt x="116967" y="91255"/>
                    </a:lnTo>
                    <a:lnTo>
                      <a:pt x="113720" y="94280"/>
                    </a:lnTo>
                    <a:lnTo>
                      <a:pt x="109365" y="95667"/>
                    </a:lnTo>
                    <a:lnTo>
                      <a:pt x="108393" y="95976"/>
                    </a:lnTo>
                    <a:lnTo>
                      <a:pt x="107782" y="96672"/>
                    </a:lnTo>
                    <a:lnTo>
                      <a:pt x="105918" y="90614"/>
                    </a:lnTo>
                    <a:lnTo>
                      <a:pt x="104603" y="89007"/>
                    </a:lnTo>
                    <a:lnTo>
                      <a:pt x="101958" y="88659"/>
                    </a:lnTo>
                    <a:lnTo>
                      <a:pt x="100219" y="87485"/>
                    </a:lnTo>
                    <a:lnTo>
                      <a:pt x="98516" y="80934"/>
                    </a:lnTo>
                    <a:lnTo>
                      <a:pt x="97094" y="78272"/>
                    </a:lnTo>
                    <a:lnTo>
                      <a:pt x="83886" y="65980"/>
                    </a:lnTo>
                    <a:lnTo>
                      <a:pt x="76588" y="61750"/>
                    </a:lnTo>
                    <a:lnTo>
                      <a:pt x="69579" y="62022"/>
                    </a:lnTo>
                    <a:lnTo>
                      <a:pt x="62752" y="68094"/>
                    </a:lnTo>
                    <a:lnTo>
                      <a:pt x="51069" y="84686"/>
                    </a:lnTo>
                    <a:lnTo>
                      <a:pt x="43465" y="89859"/>
                    </a:lnTo>
                    <a:lnTo>
                      <a:pt x="41646" y="89822"/>
                    </a:lnTo>
                    <a:lnTo>
                      <a:pt x="37777" y="88881"/>
                    </a:lnTo>
                    <a:lnTo>
                      <a:pt x="36897" y="89313"/>
                    </a:lnTo>
                    <a:lnTo>
                      <a:pt x="36850" y="89179"/>
                    </a:lnTo>
                    <a:lnTo>
                      <a:pt x="36736" y="88846"/>
                    </a:lnTo>
                    <a:lnTo>
                      <a:pt x="27219" y="94068"/>
                    </a:lnTo>
                    <a:lnTo>
                      <a:pt x="22591" y="91382"/>
                    </a:lnTo>
                    <a:lnTo>
                      <a:pt x="17829" y="77710"/>
                    </a:lnTo>
                    <a:lnTo>
                      <a:pt x="15647" y="75690"/>
                    </a:lnTo>
                    <a:lnTo>
                      <a:pt x="9353" y="76292"/>
                    </a:lnTo>
                    <a:lnTo>
                      <a:pt x="5893" y="74082"/>
                    </a:lnTo>
                    <a:lnTo>
                      <a:pt x="4729" y="69230"/>
                    </a:lnTo>
                    <a:lnTo>
                      <a:pt x="7134" y="61808"/>
                    </a:lnTo>
                    <a:lnTo>
                      <a:pt x="896" y="56038"/>
                    </a:lnTo>
                    <a:lnTo>
                      <a:pt x="0" y="51102"/>
                    </a:lnTo>
                    <a:lnTo>
                      <a:pt x="4345" y="48478"/>
                    </a:lnTo>
                    <a:lnTo>
                      <a:pt x="12089" y="49325"/>
                    </a:lnTo>
                    <a:lnTo>
                      <a:pt x="22621" y="45455"/>
                    </a:lnTo>
                    <a:lnTo>
                      <a:pt x="26375" y="46828"/>
                    </a:lnTo>
                    <a:lnTo>
                      <a:pt x="30015" y="45860"/>
                    </a:lnTo>
                    <a:lnTo>
                      <a:pt x="33385" y="41780"/>
                    </a:lnTo>
                    <a:lnTo>
                      <a:pt x="43965" y="38097"/>
                    </a:lnTo>
                    <a:lnTo>
                      <a:pt x="48749" y="38779"/>
                    </a:lnTo>
                    <a:lnTo>
                      <a:pt x="50700" y="36865"/>
                    </a:lnTo>
                    <a:lnTo>
                      <a:pt x="53841" y="39267"/>
                    </a:lnTo>
                    <a:lnTo>
                      <a:pt x="56665" y="38565"/>
                    </a:lnTo>
                    <a:lnTo>
                      <a:pt x="58861" y="36663"/>
                    </a:lnTo>
                    <a:lnTo>
                      <a:pt x="62040" y="30225"/>
                    </a:lnTo>
                    <a:lnTo>
                      <a:pt x="73917" y="27233"/>
                    </a:lnTo>
                    <a:lnTo>
                      <a:pt x="75265" y="26245"/>
                    </a:lnTo>
                    <a:lnTo>
                      <a:pt x="76700" y="21108"/>
                    </a:lnTo>
                    <a:lnTo>
                      <a:pt x="82282" y="20544"/>
                    </a:lnTo>
                    <a:lnTo>
                      <a:pt x="88996" y="14608"/>
                    </a:lnTo>
                    <a:lnTo>
                      <a:pt x="90543" y="10770"/>
                    </a:lnTo>
                    <a:lnTo>
                      <a:pt x="88827" y="6946"/>
                    </a:lnTo>
                    <a:lnTo>
                      <a:pt x="92255" y="0"/>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97" name="Freeform 90">
                <a:extLst>
                  <a:ext uri="{FF2B5EF4-FFF2-40B4-BE49-F238E27FC236}">
                    <a16:creationId xmlns:a16="http://schemas.microsoft.com/office/drawing/2014/main" id="{9FB6D9E9-834C-BA1B-246A-9F4364CD31FB}"/>
                  </a:ext>
                </a:extLst>
              </p:cNvPr>
              <p:cNvSpPr>
                <a:spLocks noChangeAspect="1"/>
              </p:cNvSpPr>
              <p:nvPr>
                <p:custDataLst>
                  <p:tags r:id="rId219"/>
                </p:custDataLst>
              </p:nvPr>
            </p:nvSpPr>
            <p:spPr>
              <a:xfrm>
                <a:off x="1710289" y="3862464"/>
                <a:ext cx="91168" cy="92101"/>
              </a:xfrm>
              <a:custGeom>
                <a:avLst/>
                <a:gdLst/>
                <a:ahLst/>
                <a:cxnLst/>
                <a:rect l="0" t="0" r="0" b="0"/>
                <a:pathLst>
                  <a:path w="93605" h="94563">
                    <a:moveTo>
                      <a:pt x="72271" y="32298"/>
                    </a:moveTo>
                    <a:lnTo>
                      <a:pt x="73260" y="28738"/>
                    </a:lnTo>
                    <a:lnTo>
                      <a:pt x="75419" y="26997"/>
                    </a:lnTo>
                    <a:lnTo>
                      <a:pt x="82045" y="32867"/>
                    </a:lnTo>
                    <a:lnTo>
                      <a:pt x="83104" y="37904"/>
                    </a:lnTo>
                    <a:lnTo>
                      <a:pt x="86328" y="40775"/>
                    </a:lnTo>
                    <a:lnTo>
                      <a:pt x="87437" y="47721"/>
                    </a:lnTo>
                    <a:lnTo>
                      <a:pt x="89702" y="48235"/>
                    </a:lnTo>
                    <a:lnTo>
                      <a:pt x="90122" y="51965"/>
                    </a:lnTo>
                    <a:lnTo>
                      <a:pt x="93604" y="56434"/>
                    </a:lnTo>
                    <a:lnTo>
                      <a:pt x="90971" y="61331"/>
                    </a:lnTo>
                    <a:lnTo>
                      <a:pt x="87178" y="62255"/>
                    </a:lnTo>
                    <a:lnTo>
                      <a:pt x="86072" y="65615"/>
                    </a:lnTo>
                    <a:lnTo>
                      <a:pt x="82675" y="67311"/>
                    </a:lnTo>
                    <a:lnTo>
                      <a:pt x="83687" y="73613"/>
                    </a:lnTo>
                    <a:lnTo>
                      <a:pt x="77170" y="79743"/>
                    </a:lnTo>
                    <a:lnTo>
                      <a:pt x="76081" y="82372"/>
                    </a:lnTo>
                    <a:lnTo>
                      <a:pt x="78106" y="89774"/>
                    </a:lnTo>
                    <a:lnTo>
                      <a:pt x="73988" y="93757"/>
                    </a:lnTo>
                    <a:lnTo>
                      <a:pt x="69736" y="92022"/>
                    </a:lnTo>
                    <a:lnTo>
                      <a:pt x="60863" y="94562"/>
                    </a:lnTo>
                    <a:lnTo>
                      <a:pt x="48800" y="89538"/>
                    </a:lnTo>
                    <a:lnTo>
                      <a:pt x="47900" y="85463"/>
                    </a:lnTo>
                    <a:lnTo>
                      <a:pt x="50329" y="83439"/>
                    </a:lnTo>
                    <a:lnTo>
                      <a:pt x="50005" y="82261"/>
                    </a:lnTo>
                    <a:lnTo>
                      <a:pt x="33332" y="70262"/>
                    </a:lnTo>
                    <a:lnTo>
                      <a:pt x="26941" y="71178"/>
                    </a:lnTo>
                    <a:lnTo>
                      <a:pt x="26907" y="67343"/>
                    </a:lnTo>
                    <a:lnTo>
                      <a:pt x="16955" y="71140"/>
                    </a:lnTo>
                    <a:lnTo>
                      <a:pt x="16751" y="64827"/>
                    </a:lnTo>
                    <a:lnTo>
                      <a:pt x="10478" y="58093"/>
                    </a:lnTo>
                    <a:lnTo>
                      <a:pt x="9986" y="53192"/>
                    </a:lnTo>
                    <a:lnTo>
                      <a:pt x="8418" y="50777"/>
                    </a:lnTo>
                    <a:lnTo>
                      <a:pt x="11596" y="47089"/>
                    </a:lnTo>
                    <a:lnTo>
                      <a:pt x="11636" y="44542"/>
                    </a:lnTo>
                    <a:lnTo>
                      <a:pt x="4310" y="36596"/>
                    </a:lnTo>
                    <a:lnTo>
                      <a:pt x="4364" y="26085"/>
                    </a:lnTo>
                    <a:lnTo>
                      <a:pt x="2621" y="20480"/>
                    </a:lnTo>
                    <a:lnTo>
                      <a:pt x="0" y="18454"/>
                    </a:lnTo>
                    <a:lnTo>
                      <a:pt x="4601" y="15886"/>
                    </a:lnTo>
                    <a:lnTo>
                      <a:pt x="7520" y="9837"/>
                    </a:lnTo>
                    <a:lnTo>
                      <a:pt x="15097" y="10470"/>
                    </a:lnTo>
                    <a:lnTo>
                      <a:pt x="18493" y="7107"/>
                    </a:lnTo>
                    <a:lnTo>
                      <a:pt x="23848" y="6885"/>
                    </a:lnTo>
                    <a:lnTo>
                      <a:pt x="35774" y="978"/>
                    </a:lnTo>
                    <a:lnTo>
                      <a:pt x="51793" y="0"/>
                    </a:lnTo>
                    <a:lnTo>
                      <a:pt x="56688" y="5697"/>
                    </a:lnTo>
                    <a:lnTo>
                      <a:pt x="58566" y="11201"/>
                    </a:lnTo>
                    <a:lnTo>
                      <a:pt x="58755" y="16298"/>
                    </a:lnTo>
                    <a:lnTo>
                      <a:pt x="68141" y="23759"/>
                    </a:lnTo>
                    <a:lnTo>
                      <a:pt x="69648" y="31471"/>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98" name="Freeform 91">
                <a:extLst>
                  <a:ext uri="{FF2B5EF4-FFF2-40B4-BE49-F238E27FC236}">
                    <a16:creationId xmlns:a16="http://schemas.microsoft.com/office/drawing/2014/main" id="{5C400084-1D01-7AE2-6EDC-2A8688B5ADBA}"/>
                  </a:ext>
                </a:extLst>
              </p:cNvPr>
              <p:cNvSpPr>
                <a:spLocks noChangeAspect="1"/>
              </p:cNvSpPr>
              <p:nvPr>
                <p:custDataLst>
                  <p:tags r:id="rId220"/>
                </p:custDataLst>
              </p:nvPr>
            </p:nvSpPr>
            <p:spPr>
              <a:xfrm>
                <a:off x="1560603" y="3809660"/>
                <a:ext cx="124587" cy="79907"/>
              </a:xfrm>
              <a:custGeom>
                <a:avLst/>
                <a:gdLst/>
                <a:ahLst/>
                <a:cxnLst/>
                <a:rect l="0" t="0" r="0" b="0"/>
                <a:pathLst>
                  <a:path w="127917" h="82043">
                    <a:moveTo>
                      <a:pt x="13180" y="4946"/>
                    </a:moveTo>
                    <a:lnTo>
                      <a:pt x="20583" y="4130"/>
                    </a:lnTo>
                    <a:lnTo>
                      <a:pt x="25155" y="5960"/>
                    </a:lnTo>
                    <a:lnTo>
                      <a:pt x="39592" y="1883"/>
                    </a:lnTo>
                    <a:lnTo>
                      <a:pt x="49382" y="6193"/>
                    </a:lnTo>
                    <a:lnTo>
                      <a:pt x="53884" y="4392"/>
                    </a:lnTo>
                    <a:lnTo>
                      <a:pt x="62091" y="16248"/>
                    </a:lnTo>
                    <a:lnTo>
                      <a:pt x="70249" y="20565"/>
                    </a:lnTo>
                    <a:lnTo>
                      <a:pt x="75222" y="20479"/>
                    </a:lnTo>
                    <a:lnTo>
                      <a:pt x="79021" y="16621"/>
                    </a:lnTo>
                    <a:lnTo>
                      <a:pt x="88974" y="13676"/>
                    </a:lnTo>
                    <a:lnTo>
                      <a:pt x="94776" y="15520"/>
                    </a:lnTo>
                    <a:lnTo>
                      <a:pt x="97083" y="13607"/>
                    </a:lnTo>
                    <a:lnTo>
                      <a:pt x="98159" y="9840"/>
                    </a:lnTo>
                    <a:lnTo>
                      <a:pt x="105847" y="14315"/>
                    </a:lnTo>
                    <a:lnTo>
                      <a:pt x="106148" y="14486"/>
                    </a:lnTo>
                    <a:lnTo>
                      <a:pt x="106171" y="14349"/>
                    </a:lnTo>
                    <a:lnTo>
                      <a:pt x="109340" y="16525"/>
                    </a:lnTo>
                    <a:lnTo>
                      <a:pt x="111226" y="18426"/>
                    </a:lnTo>
                    <a:lnTo>
                      <a:pt x="116253" y="23489"/>
                    </a:lnTo>
                    <a:lnTo>
                      <a:pt x="124019" y="33729"/>
                    </a:lnTo>
                    <a:lnTo>
                      <a:pt x="127544" y="38842"/>
                    </a:lnTo>
                    <a:lnTo>
                      <a:pt x="127916" y="44452"/>
                    </a:lnTo>
                    <a:lnTo>
                      <a:pt x="126203" y="49756"/>
                    </a:lnTo>
                    <a:lnTo>
                      <a:pt x="123831" y="58489"/>
                    </a:lnTo>
                    <a:lnTo>
                      <a:pt x="123072" y="64703"/>
                    </a:lnTo>
                    <a:lnTo>
                      <a:pt x="122787" y="71352"/>
                    </a:lnTo>
                    <a:lnTo>
                      <a:pt x="122558" y="71481"/>
                    </a:lnTo>
                    <a:lnTo>
                      <a:pt x="112313" y="76927"/>
                    </a:lnTo>
                    <a:lnTo>
                      <a:pt x="101982" y="81691"/>
                    </a:lnTo>
                    <a:lnTo>
                      <a:pt x="101221" y="82042"/>
                    </a:lnTo>
                    <a:lnTo>
                      <a:pt x="92824" y="77141"/>
                    </a:lnTo>
                    <a:lnTo>
                      <a:pt x="88409" y="75132"/>
                    </a:lnTo>
                    <a:lnTo>
                      <a:pt x="88783" y="74973"/>
                    </a:lnTo>
                    <a:lnTo>
                      <a:pt x="78080" y="70669"/>
                    </a:lnTo>
                    <a:lnTo>
                      <a:pt x="75702" y="74167"/>
                    </a:lnTo>
                    <a:lnTo>
                      <a:pt x="67478" y="72195"/>
                    </a:lnTo>
                    <a:lnTo>
                      <a:pt x="63070" y="76773"/>
                    </a:lnTo>
                    <a:lnTo>
                      <a:pt x="60790" y="75381"/>
                    </a:lnTo>
                    <a:lnTo>
                      <a:pt x="55881" y="67181"/>
                    </a:lnTo>
                    <a:lnTo>
                      <a:pt x="49528" y="70062"/>
                    </a:lnTo>
                    <a:lnTo>
                      <a:pt x="42396" y="68454"/>
                    </a:lnTo>
                    <a:lnTo>
                      <a:pt x="37085" y="64896"/>
                    </a:lnTo>
                    <a:lnTo>
                      <a:pt x="30289" y="67866"/>
                    </a:lnTo>
                    <a:lnTo>
                      <a:pt x="26775" y="66734"/>
                    </a:lnTo>
                    <a:lnTo>
                      <a:pt x="20897" y="68461"/>
                    </a:lnTo>
                    <a:lnTo>
                      <a:pt x="6686" y="63072"/>
                    </a:lnTo>
                    <a:lnTo>
                      <a:pt x="9777" y="51958"/>
                    </a:lnTo>
                    <a:lnTo>
                      <a:pt x="5579" y="37616"/>
                    </a:lnTo>
                    <a:lnTo>
                      <a:pt x="3365" y="33894"/>
                    </a:lnTo>
                    <a:lnTo>
                      <a:pt x="6695" y="30009"/>
                    </a:lnTo>
                    <a:lnTo>
                      <a:pt x="0" y="25209"/>
                    </a:lnTo>
                    <a:lnTo>
                      <a:pt x="3120" y="18141"/>
                    </a:lnTo>
                    <a:lnTo>
                      <a:pt x="2253" y="3859"/>
                    </a:lnTo>
                    <a:lnTo>
                      <a:pt x="8031" y="0"/>
                    </a:lnTo>
                    <a:lnTo>
                      <a:pt x="10832" y="4077"/>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99" name="Freeform 92">
                <a:extLst>
                  <a:ext uri="{FF2B5EF4-FFF2-40B4-BE49-F238E27FC236}">
                    <a16:creationId xmlns:a16="http://schemas.microsoft.com/office/drawing/2014/main" id="{6A34320C-AF1C-D0FA-D43F-81D2B31696BE}"/>
                  </a:ext>
                </a:extLst>
              </p:cNvPr>
              <p:cNvSpPr>
                <a:spLocks noChangeAspect="1"/>
              </p:cNvSpPr>
              <p:nvPr>
                <p:custDataLst>
                  <p:tags r:id="rId221"/>
                </p:custDataLst>
              </p:nvPr>
            </p:nvSpPr>
            <p:spPr>
              <a:xfrm>
                <a:off x="1668933" y="3793154"/>
                <a:ext cx="101689" cy="86682"/>
              </a:xfrm>
              <a:custGeom>
                <a:avLst/>
                <a:gdLst/>
                <a:ahLst/>
                <a:cxnLst/>
                <a:rect l="0" t="0" r="0" b="0"/>
                <a:pathLst>
                  <a:path w="104407" h="88999">
                    <a:moveTo>
                      <a:pt x="92650" y="6400"/>
                    </a:moveTo>
                    <a:lnTo>
                      <a:pt x="100909" y="13411"/>
                    </a:lnTo>
                    <a:lnTo>
                      <a:pt x="100006" y="20927"/>
                    </a:lnTo>
                    <a:lnTo>
                      <a:pt x="96546" y="23345"/>
                    </a:lnTo>
                    <a:lnTo>
                      <a:pt x="97816" y="31882"/>
                    </a:lnTo>
                    <a:lnTo>
                      <a:pt x="101336" y="36490"/>
                    </a:lnTo>
                    <a:lnTo>
                      <a:pt x="100831" y="40068"/>
                    </a:lnTo>
                    <a:lnTo>
                      <a:pt x="98427" y="43594"/>
                    </a:lnTo>
                    <a:lnTo>
                      <a:pt x="98144" y="52831"/>
                    </a:lnTo>
                    <a:lnTo>
                      <a:pt x="99533" y="55098"/>
                    </a:lnTo>
                    <a:lnTo>
                      <a:pt x="104406" y="56346"/>
                    </a:lnTo>
                    <a:lnTo>
                      <a:pt x="101210" y="59309"/>
                    </a:lnTo>
                    <a:lnTo>
                      <a:pt x="96278" y="59758"/>
                    </a:lnTo>
                    <a:lnTo>
                      <a:pt x="95556" y="61016"/>
                    </a:lnTo>
                    <a:lnTo>
                      <a:pt x="98843" y="68678"/>
                    </a:lnTo>
                    <a:lnTo>
                      <a:pt x="94254" y="71163"/>
                    </a:lnTo>
                    <a:lnTo>
                      <a:pt x="78235" y="72141"/>
                    </a:lnTo>
                    <a:lnTo>
                      <a:pt x="66309" y="78048"/>
                    </a:lnTo>
                    <a:lnTo>
                      <a:pt x="60954" y="78270"/>
                    </a:lnTo>
                    <a:lnTo>
                      <a:pt x="57558" y="81633"/>
                    </a:lnTo>
                    <a:lnTo>
                      <a:pt x="49981" y="81000"/>
                    </a:lnTo>
                    <a:lnTo>
                      <a:pt x="49836" y="76222"/>
                    </a:lnTo>
                    <a:lnTo>
                      <a:pt x="46921" y="73761"/>
                    </a:lnTo>
                    <a:lnTo>
                      <a:pt x="45776" y="74051"/>
                    </a:lnTo>
                    <a:lnTo>
                      <a:pt x="45829" y="76829"/>
                    </a:lnTo>
                    <a:lnTo>
                      <a:pt x="45770" y="81353"/>
                    </a:lnTo>
                    <a:lnTo>
                      <a:pt x="44305" y="83862"/>
                    </a:lnTo>
                    <a:lnTo>
                      <a:pt x="41693" y="83755"/>
                    </a:lnTo>
                    <a:lnTo>
                      <a:pt x="39365" y="82593"/>
                    </a:lnTo>
                    <a:lnTo>
                      <a:pt x="37227" y="80132"/>
                    </a:lnTo>
                    <a:lnTo>
                      <a:pt x="34816" y="78096"/>
                    </a:lnTo>
                    <a:lnTo>
                      <a:pt x="32666" y="78866"/>
                    </a:lnTo>
                    <a:lnTo>
                      <a:pt x="25146" y="82641"/>
                    </a:lnTo>
                    <a:lnTo>
                      <a:pt x="12654" y="88998"/>
                    </a:lnTo>
                    <a:lnTo>
                      <a:pt x="11332" y="88428"/>
                    </a:lnTo>
                    <a:lnTo>
                      <a:pt x="11561" y="88299"/>
                    </a:lnTo>
                    <a:lnTo>
                      <a:pt x="11846" y="81650"/>
                    </a:lnTo>
                    <a:lnTo>
                      <a:pt x="12605" y="75436"/>
                    </a:lnTo>
                    <a:lnTo>
                      <a:pt x="14977" y="66703"/>
                    </a:lnTo>
                    <a:lnTo>
                      <a:pt x="16690" y="61399"/>
                    </a:lnTo>
                    <a:lnTo>
                      <a:pt x="16318" y="55789"/>
                    </a:lnTo>
                    <a:lnTo>
                      <a:pt x="12793" y="50676"/>
                    </a:lnTo>
                    <a:lnTo>
                      <a:pt x="5027" y="40436"/>
                    </a:lnTo>
                    <a:lnTo>
                      <a:pt x="0" y="35373"/>
                    </a:lnTo>
                    <a:lnTo>
                      <a:pt x="526" y="32491"/>
                    </a:lnTo>
                    <a:lnTo>
                      <a:pt x="922" y="29069"/>
                    </a:lnTo>
                    <a:lnTo>
                      <a:pt x="3119" y="24223"/>
                    </a:lnTo>
                    <a:lnTo>
                      <a:pt x="5218" y="20579"/>
                    </a:lnTo>
                    <a:lnTo>
                      <a:pt x="5486" y="20591"/>
                    </a:lnTo>
                    <a:lnTo>
                      <a:pt x="7324" y="12150"/>
                    </a:lnTo>
                    <a:lnTo>
                      <a:pt x="7145" y="11946"/>
                    </a:lnTo>
                    <a:lnTo>
                      <a:pt x="7043" y="11921"/>
                    </a:lnTo>
                    <a:lnTo>
                      <a:pt x="6065" y="10021"/>
                    </a:lnTo>
                    <a:lnTo>
                      <a:pt x="5228" y="7522"/>
                    </a:lnTo>
                    <a:lnTo>
                      <a:pt x="5234" y="6336"/>
                    </a:lnTo>
                    <a:lnTo>
                      <a:pt x="6182" y="7336"/>
                    </a:lnTo>
                    <a:lnTo>
                      <a:pt x="8346" y="6996"/>
                    </a:lnTo>
                    <a:lnTo>
                      <a:pt x="8348" y="6937"/>
                    </a:lnTo>
                    <a:lnTo>
                      <a:pt x="25396" y="9547"/>
                    </a:lnTo>
                    <a:lnTo>
                      <a:pt x="33524" y="2556"/>
                    </a:lnTo>
                    <a:lnTo>
                      <a:pt x="38555" y="5533"/>
                    </a:lnTo>
                    <a:lnTo>
                      <a:pt x="44227" y="4483"/>
                    </a:lnTo>
                    <a:lnTo>
                      <a:pt x="50081" y="6640"/>
                    </a:lnTo>
                    <a:lnTo>
                      <a:pt x="52211" y="3861"/>
                    </a:lnTo>
                    <a:lnTo>
                      <a:pt x="56800" y="5747"/>
                    </a:lnTo>
                    <a:lnTo>
                      <a:pt x="57986" y="8126"/>
                    </a:lnTo>
                    <a:lnTo>
                      <a:pt x="64196" y="9127"/>
                    </a:lnTo>
                    <a:lnTo>
                      <a:pt x="68963" y="1548"/>
                    </a:lnTo>
                    <a:lnTo>
                      <a:pt x="77833" y="0"/>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00" name="Freeform 93">
                <a:extLst>
                  <a:ext uri="{FF2B5EF4-FFF2-40B4-BE49-F238E27FC236}">
                    <a16:creationId xmlns:a16="http://schemas.microsoft.com/office/drawing/2014/main" id="{A9E57DE9-59A4-16C3-EC72-F44C46008EA9}"/>
                  </a:ext>
                </a:extLst>
              </p:cNvPr>
              <p:cNvSpPr>
                <a:spLocks noChangeAspect="1"/>
              </p:cNvSpPr>
              <p:nvPr>
                <p:custDataLst>
                  <p:tags r:id="rId222"/>
                </p:custDataLst>
              </p:nvPr>
            </p:nvSpPr>
            <p:spPr>
              <a:xfrm>
                <a:off x="1568425" y="3738565"/>
                <a:ext cx="108381" cy="91125"/>
              </a:xfrm>
              <a:custGeom>
                <a:avLst/>
                <a:gdLst/>
                <a:ahLst/>
                <a:cxnLst/>
                <a:rect l="0" t="0" r="0" b="0"/>
                <a:pathLst>
                  <a:path w="111278" h="93561">
                    <a:moveTo>
                      <a:pt x="104892" y="11239"/>
                    </a:moveTo>
                    <a:lnTo>
                      <a:pt x="104001" y="14697"/>
                    </a:lnTo>
                    <a:lnTo>
                      <a:pt x="107866" y="21135"/>
                    </a:lnTo>
                    <a:lnTo>
                      <a:pt x="109657" y="29179"/>
                    </a:lnTo>
                    <a:lnTo>
                      <a:pt x="109246" y="35862"/>
                    </a:lnTo>
                    <a:lnTo>
                      <a:pt x="111277" y="45401"/>
                    </a:lnTo>
                    <a:lnTo>
                      <a:pt x="110000" y="51838"/>
                    </a:lnTo>
                    <a:lnTo>
                      <a:pt x="109878" y="51902"/>
                    </a:lnTo>
                    <a:lnTo>
                      <a:pt x="109880" y="51980"/>
                    </a:lnTo>
                    <a:lnTo>
                      <a:pt x="108478" y="56052"/>
                    </a:lnTo>
                    <a:lnTo>
                      <a:pt x="108238" y="58274"/>
                    </a:lnTo>
                    <a:lnTo>
                      <a:pt x="108212" y="62148"/>
                    </a:lnTo>
                    <a:lnTo>
                      <a:pt x="108429" y="62384"/>
                    </a:lnTo>
                    <a:lnTo>
                      <a:pt x="108423" y="63570"/>
                    </a:lnTo>
                    <a:lnTo>
                      <a:pt x="109260" y="66069"/>
                    </a:lnTo>
                    <a:lnTo>
                      <a:pt x="110238" y="67969"/>
                    </a:lnTo>
                    <a:lnTo>
                      <a:pt x="110340" y="67994"/>
                    </a:lnTo>
                    <a:lnTo>
                      <a:pt x="110519" y="68198"/>
                    </a:lnTo>
                    <a:lnTo>
                      <a:pt x="108681" y="76639"/>
                    </a:lnTo>
                    <a:lnTo>
                      <a:pt x="108413" y="76627"/>
                    </a:lnTo>
                    <a:lnTo>
                      <a:pt x="106314" y="80271"/>
                    </a:lnTo>
                    <a:lnTo>
                      <a:pt x="104117" y="85117"/>
                    </a:lnTo>
                    <a:lnTo>
                      <a:pt x="103721" y="88539"/>
                    </a:lnTo>
                    <a:lnTo>
                      <a:pt x="103195" y="91421"/>
                    </a:lnTo>
                    <a:lnTo>
                      <a:pt x="101309" y="89520"/>
                    </a:lnTo>
                    <a:lnTo>
                      <a:pt x="98140" y="87344"/>
                    </a:lnTo>
                    <a:lnTo>
                      <a:pt x="98117" y="87481"/>
                    </a:lnTo>
                    <a:lnTo>
                      <a:pt x="97816" y="87310"/>
                    </a:lnTo>
                    <a:lnTo>
                      <a:pt x="90128" y="82835"/>
                    </a:lnTo>
                    <a:lnTo>
                      <a:pt x="89052" y="86602"/>
                    </a:lnTo>
                    <a:lnTo>
                      <a:pt x="86745" y="88515"/>
                    </a:lnTo>
                    <a:lnTo>
                      <a:pt x="80943" y="86671"/>
                    </a:lnTo>
                    <a:lnTo>
                      <a:pt x="70990" y="89616"/>
                    </a:lnTo>
                    <a:lnTo>
                      <a:pt x="67191" y="93474"/>
                    </a:lnTo>
                    <a:lnTo>
                      <a:pt x="62218" y="93560"/>
                    </a:lnTo>
                    <a:lnTo>
                      <a:pt x="54060" y="89243"/>
                    </a:lnTo>
                    <a:lnTo>
                      <a:pt x="45853" y="77387"/>
                    </a:lnTo>
                    <a:lnTo>
                      <a:pt x="41351" y="79188"/>
                    </a:lnTo>
                    <a:lnTo>
                      <a:pt x="31561" y="74878"/>
                    </a:lnTo>
                    <a:lnTo>
                      <a:pt x="17124" y="78955"/>
                    </a:lnTo>
                    <a:lnTo>
                      <a:pt x="12552" y="77125"/>
                    </a:lnTo>
                    <a:lnTo>
                      <a:pt x="5149" y="77941"/>
                    </a:lnTo>
                    <a:lnTo>
                      <a:pt x="2801" y="77072"/>
                    </a:lnTo>
                    <a:lnTo>
                      <a:pt x="0" y="72995"/>
                    </a:lnTo>
                    <a:lnTo>
                      <a:pt x="7481" y="69437"/>
                    </a:lnTo>
                    <a:lnTo>
                      <a:pt x="9308" y="63478"/>
                    </a:lnTo>
                    <a:lnTo>
                      <a:pt x="15757" y="60834"/>
                    </a:lnTo>
                    <a:lnTo>
                      <a:pt x="16919" y="58222"/>
                    </a:lnTo>
                    <a:lnTo>
                      <a:pt x="16509" y="55553"/>
                    </a:lnTo>
                    <a:lnTo>
                      <a:pt x="12337" y="50658"/>
                    </a:lnTo>
                    <a:lnTo>
                      <a:pt x="12926" y="45249"/>
                    </a:lnTo>
                    <a:lnTo>
                      <a:pt x="19480" y="39861"/>
                    </a:lnTo>
                    <a:lnTo>
                      <a:pt x="19641" y="31899"/>
                    </a:lnTo>
                    <a:lnTo>
                      <a:pt x="36817" y="34640"/>
                    </a:lnTo>
                    <a:lnTo>
                      <a:pt x="44724" y="27903"/>
                    </a:lnTo>
                    <a:lnTo>
                      <a:pt x="45209" y="19108"/>
                    </a:lnTo>
                    <a:lnTo>
                      <a:pt x="47216" y="14212"/>
                    </a:lnTo>
                    <a:lnTo>
                      <a:pt x="44650" y="10361"/>
                    </a:lnTo>
                    <a:lnTo>
                      <a:pt x="47020" y="10593"/>
                    </a:lnTo>
                    <a:lnTo>
                      <a:pt x="54670" y="4038"/>
                    </a:lnTo>
                    <a:lnTo>
                      <a:pt x="60648" y="5171"/>
                    </a:lnTo>
                    <a:lnTo>
                      <a:pt x="63689" y="9366"/>
                    </a:lnTo>
                    <a:lnTo>
                      <a:pt x="72471" y="7006"/>
                    </a:lnTo>
                    <a:lnTo>
                      <a:pt x="75897" y="2914"/>
                    </a:lnTo>
                    <a:lnTo>
                      <a:pt x="87795" y="8340"/>
                    </a:lnTo>
                    <a:lnTo>
                      <a:pt x="93815" y="7336"/>
                    </a:lnTo>
                    <a:lnTo>
                      <a:pt x="97413" y="6221"/>
                    </a:lnTo>
                    <a:lnTo>
                      <a:pt x="98911" y="1405"/>
                    </a:lnTo>
                    <a:lnTo>
                      <a:pt x="102424" y="0"/>
                    </a:lnTo>
                    <a:lnTo>
                      <a:pt x="105356" y="8689"/>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01" name="Freeform 94">
                <a:extLst>
                  <a:ext uri="{FF2B5EF4-FFF2-40B4-BE49-F238E27FC236}">
                    <a16:creationId xmlns:a16="http://schemas.microsoft.com/office/drawing/2014/main" id="{20BCD456-B71E-4A51-D8C8-54632821C6C9}"/>
                  </a:ext>
                </a:extLst>
              </p:cNvPr>
              <p:cNvSpPr>
                <a:spLocks noChangeAspect="1"/>
              </p:cNvSpPr>
              <p:nvPr>
                <p:custDataLst>
                  <p:tags r:id="rId223"/>
                </p:custDataLst>
              </p:nvPr>
            </p:nvSpPr>
            <p:spPr>
              <a:xfrm>
                <a:off x="1669718" y="3710577"/>
                <a:ext cx="119899" cy="91876"/>
              </a:xfrm>
              <a:custGeom>
                <a:avLst/>
                <a:gdLst/>
                <a:ahLst/>
                <a:cxnLst/>
                <a:rect l="0" t="0" r="0" b="0"/>
                <a:pathLst>
                  <a:path w="123104" h="94332">
                    <a:moveTo>
                      <a:pt x="85793" y="17989"/>
                    </a:moveTo>
                    <a:lnTo>
                      <a:pt x="90796" y="16580"/>
                    </a:lnTo>
                    <a:lnTo>
                      <a:pt x="94375" y="18318"/>
                    </a:lnTo>
                    <a:lnTo>
                      <a:pt x="98179" y="25675"/>
                    </a:lnTo>
                    <a:lnTo>
                      <a:pt x="104844" y="31874"/>
                    </a:lnTo>
                    <a:lnTo>
                      <a:pt x="107206" y="37159"/>
                    </a:lnTo>
                    <a:lnTo>
                      <a:pt x="106061" y="46582"/>
                    </a:lnTo>
                    <a:lnTo>
                      <a:pt x="103313" y="51578"/>
                    </a:lnTo>
                    <a:lnTo>
                      <a:pt x="105095" y="65992"/>
                    </a:lnTo>
                    <a:lnTo>
                      <a:pt x="111582" y="69414"/>
                    </a:lnTo>
                    <a:lnTo>
                      <a:pt x="114013" y="67803"/>
                    </a:lnTo>
                    <a:lnTo>
                      <a:pt x="118950" y="68083"/>
                    </a:lnTo>
                    <a:lnTo>
                      <a:pt x="123103" y="76730"/>
                    </a:lnTo>
                    <a:lnTo>
                      <a:pt x="122284" y="79249"/>
                    </a:lnTo>
                    <a:lnTo>
                      <a:pt x="119768" y="81174"/>
                    </a:lnTo>
                    <a:lnTo>
                      <a:pt x="106475" y="81537"/>
                    </a:lnTo>
                    <a:lnTo>
                      <a:pt x="106028" y="83754"/>
                    </a:lnTo>
                    <a:lnTo>
                      <a:pt x="108945" y="89275"/>
                    </a:lnTo>
                    <a:lnTo>
                      <a:pt x="91844" y="91184"/>
                    </a:lnTo>
                    <a:lnTo>
                      <a:pt x="77027" y="84784"/>
                    </a:lnTo>
                    <a:lnTo>
                      <a:pt x="68157" y="86332"/>
                    </a:lnTo>
                    <a:lnTo>
                      <a:pt x="63390" y="93911"/>
                    </a:lnTo>
                    <a:lnTo>
                      <a:pt x="57180" y="92910"/>
                    </a:lnTo>
                    <a:lnTo>
                      <a:pt x="55994" y="90531"/>
                    </a:lnTo>
                    <a:lnTo>
                      <a:pt x="51405" y="88645"/>
                    </a:lnTo>
                    <a:lnTo>
                      <a:pt x="49275" y="91424"/>
                    </a:lnTo>
                    <a:lnTo>
                      <a:pt x="43421" y="89267"/>
                    </a:lnTo>
                    <a:lnTo>
                      <a:pt x="37749" y="90317"/>
                    </a:lnTo>
                    <a:lnTo>
                      <a:pt x="32718" y="87340"/>
                    </a:lnTo>
                    <a:lnTo>
                      <a:pt x="24590" y="94331"/>
                    </a:lnTo>
                    <a:lnTo>
                      <a:pt x="7542" y="91721"/>
                    </a:lnTo>
                    <a:lnTo>
                      <a:pt x="7540" y="91780"/>
                    </a:lnTo>
                    <a:lnTo>
                      <a:pt x="5376" y="92120"/>
                    </a:lnTo>
                    <a:lnTo>
                      <a:pt x="4428" y="91120"/>
                    </a:lnTo>
                    <a:lnTo>
                      <a:pt x="4211" y="90884"/>
                    </a:lnTo>
                    <a:lnTo>
                      <a:pt x="4237" y="87010"/>
                    </a:lnTo>
                    <a:lnTo>
                      <a:pt x="4477" y="84788"/>
                    </a:lnTo>
                    <a:lnTo>
                      <a:pt x="5879" y="80716"/>
                    </a:lnTo>
                    <a:lnTo>
                      <a:pt x="5877" y="80638"/>
                    </a:lnTo>
                    <a:lnTo>
                      <a:pt x="5999" y="80574"/>
                    </a:lnTo>
                    <a:lnTo>
                      <a:pt x="7276" y="74137"/>
                    </a:lnTo>
                    <a:lnTo>
                      <a:pt x="5245" y="64598"/>
                    </a:lnTo>
                    <a:lnTo>
                      <a:pt x="5656" y="57915"/>
                    </a:lnTo>
                    <a:lnTo>
                      <a:pt x="3865" y="49871"/>
                    </a:lnTo>
                    <a:lnTo>
                      <a:pt x="0" y="43433"/>
                    </a:lnTo>
                    <a:lnTo>
                      <a:pt x="891" y="39975"/>
                    </a:lnTo>
                    <a:lnTo>
                      <a:pt x="11214" y="39774"/>
                    </a:lnTo>
                    <a:lnTo>
                      <a:pt x="16887" y="42687"/>
                    </a:lnTo>
                    <a:lnTo>
                      <a:pt x="16236" y="35109"/>
                    </a:lnTo>
                    <a:lnTo>
                      <a:pt x="19784" y="32079"/>
                    </a:lnTo>
                    <a:lnTo>
                      <a:pt x="15349" y="28695"/>
                    </a:lnTo>
                    <a:lnTo>
                      <a:pt x="13332" y="24684"/>
                    </a:lnTo>
                    <a:lnTo>
                      <a:pt x="13808" y="23529"/>
                    </a:lnTo>
                    <a:lnTo>
                      <a:pt x="22584" y="22196"/>
                    </a:lnTo>
                    <a:lnTo>
                      <a:pt x="26850" y="17931"/>
                    </a:lnTo>
                    <a:lnTo>
                      <a:pt x="31730" y="20687"/>
                    </a:lnTo>
                    <a:lnTo>
                      <a:pt x="34251" y="17492"/>
                    </a:lnTo>
                    <a:lnTo>
                      <a:pt x="36638" y="16960"/>
                    </a:lnTo>
                    <a:lnTo>
                      <a:pt x="39733" y="20389"/>
                    </a:lnTo>
                    <a:lnTo>
                      <a:pt x="41208" y="18751"/>
                    </a:lnTo>
                    <a:lnTo>
                      <a:pt x="40547" y="12547"/>
                    </a:lnTo>
                    <a:lnTo>
                      <a:pt x="42060" y="8469"/>
                    </a:lnTo>
                    <a:lnTo>
                      <a:pt x="50428" y="9347"/>
                    </a:lnTo>
                    <a:lnTo>
                      <a:pt x="54060" y="6847"/>
                    </a:lnTo>
                    <a:lnTo>
                      <a:pt x="60429" y="6136"/>
                    </a:lnTo>
                    <a:lnTo>
                      <a:pt x="67325" y="1117"/>
                    </a:lnTo>
                    <a:lnTo>
                      <a:pt x="70812" y="2303"/>
                    </a:lnTo>
                    <a:lnTo>
                      <a:pt x="71572" y="0"/>
                    </a:lnTo>
                    <a:lnTo>
                      <a:pt x="76643" y="2651"/>
                    </a:lnTo>
                    <a:lnTo>
                      <a:pt x="78289" y="10245"/>
                    </a:lnTo>
                    <a:lnTo>
                      <a:pt x="82383" y="16462"/>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02" name="Freeform 95">
                <a:extLst>
                  <a:ext uri="{FF2B5EF4-FFF2-40B4-BE49-F238E27FC236}">
                    <a16:creationId xmlns:a16="http://schemas.microsoft.com/office/drawing/2014/main" id="{85551FB0-4154-D03D-4B47-FBF860FE339D}"/>
                  </a:ext>
                </a:extLst>
              </p:cNvPr>
              <p:cNvSpPr>
                <a:spLocks noChangeAspect="1"/>
              </p:cNvSpPr>
              <p:nvPr>
                <p:custDataLst>
                  <p:tags r:id="rId224"/>
                </p:custDataLst>
              </p:nvPr>
            </p:nvSpPr>
            <p:spPr>
              <a:xfrm>
                <a:off x="1758150" y="3702110"/>
                <a:ext cx="85600" cy="114369"/>
              </a:xfrm>
              <a:custGeom>
                <a:avLst/>
                <a:gdLst/>
                <a:ahLst/>
                <a:cxnLst/>
                <a:rect l="0" t="0" r="0" b="0"/>
                <a:pathLst>
                  <a:path w="87888" h="117426">
                    <a:moveTo>
                      <a:pt x="87112" y="111109"/>
                    </a:moveTo>
                    <a:lnTo>
                      <a:pt x="87105" y="111110"/>
                    </a:lnTo>
                    <a:lnTo>
                      <a:pt x="75985" y="113274"/>
                    </a:lnTo>
                    <a:lnTo>
                      <a:pt x="73083" y="117425"/>
                    </a:lnTo>
                    <a:lnTo>
                      <a:pt x="70091" y="109897"/>
                    </a:lnTo>
                    <a:lnTo>
                      <a:pt x="65373" y="108039"/>
                    </a:lnTo>
                    <a:lnTo>
                      <a:pt x="63117" y="109552"/>
                    </a:lnTo>
                    <a:lnTo>
                      <a:pt x="58209" y="108110"/>
                    </a:lnTo>
                    <a:lnTo>
                      <a:pt x="43679" y="110055"/>
                    </a:lnTo>
                    <a:lnTo>
                      <a:pt x="40606" y="106865"/>
                    </a:lnTo>
                    <a:lnTo>
                      <a:pt x="35694" y="109120"/>
                    </a:lnTo>
                    <a:lnTo>
                      <a:pt x="30724" y="107262"/>
                    </a:lnTo>
                    <a:lnTo>
                      <a:pt x="28148" y="109175"/>
                    </a:lnTo>
                    <a:lnTo>
                      <a:pt x="24903" y="107358"/>
                    </a:lnTo>
                    <a:lnTo>
                      <a:pt x="21453" y="107874"/>
                    </a:lnTo>
                    <a:lnTo>
                      <a:pt x="17740" y="102421"/>
                    </a:lnTo>
                    <a:lnTo>
                      <a:pt x="18149" y="97969"/>
                    </a:lnTo>
                    <a:lnTo>
                      <a:pt x="15232" y="92448"/>
                    </a:lnTo>
                    <a:lnTo>
                      <a:pt x="15679" y="90231"/>
                    </a:lnTo>
                    <a:lnTo>
                      <a:pt x="28972" y="89868"/>
                    </a:lnTo>
                    <a:lnTo>
                      <a:pt x="31488" y="87943"/>
                    </a:lnTo>
                    <a:lnTo>
                      <a:pt x="32307" y="85424"/>
                    </a:lnTo>
                    <a:lnTo>
                      <a:pt x="28154" y="76777"/>
                    </a:lnTo>
                    <a:lnTo>
                      <a:pt x="23217" y="76497"/>
                    </a:lnTo>
                    <a:lnTo>
                      <a:pt x="20786" y="78108"/>
                    </a:lnTo>
                    <a:lnTo>
                      <a:pt x="14299" y="74686"/>
                    </a:lnTo>
                    <a:lnTo>
                      <a:pt x="12517" y="60272"/>
                    </a:lnTo>
                    <a:lnTo>
                      <a:pt x="15265" y="55276"/>
                    </a:lnTo>
                    <a:lnTo>
                      <a:pt x="16410" y="45853"/>
                    </a:lnTo>
                    <a:lnTo>
                      <a:pt x="14048" y="40568"/>
                    </a:lnTo>
                    <a:lnTo>
                      <a:pt x="7383" y="34369"/>
                    </a:lnTo>
                    <a:lnTo>
                      <a:pt x="3579" y="27012"/>
                    </a:lnTo>
                    <a:lnTo>
                      <a:pt x="0" y="25274"/>
                    </a:lnTo>
                    <a:lnTo>
                      <a:pt x="14491" y="12325"/>
                    </a:lnTo>
                    <a:lnTo>
                      <a:pt x="16454" y="8575"/>
                    </a:lnTo>
                    <a:lnTo>
                      <a:pt x="20437" y="7882"/>
                    </a:lnTo>
                    <a:lnTo>
                      <a:pt x="27039" y="458"/>
                    </a:lnTo>
                    <a:lnTo>
                      <a:pt x="27439" y="17"/>
                    </a:lnTo>
                    <a:lnTo>
                      <a:pt x="27455" y="0"/>
                    </a:lnTo>
                    <a:lnTo>
                      <a:pt x="28566" y="1037"/>
                    </a:lnTo>
                    <a:lnTo>
                      <a:pt x="30075" y="4609"/>
                    </a:lnTo>
                    <a:lnTo>
                      <a:pt x="29397" y="11477"/>
                    </a:lnTo>
                    <a:lnTo>
                      <a:pt x="24923" y="25520"/>
                    </a:lnTo>
                    <a:lnTo>
                      <a:pt x="25272" y="28178"/>
                    </a:lnTo>
                    <a:lnTo>
                      <a:pt x="31608" y="29483"/>
                    </a:lnTo>
                    <a:lnTo>
                      <a:pt x="37373" y="32771"/>
                    </a:lnTo>
                    <a:lnTo>
                      <a:pt x="42397" y="37898"/>
                    </a:lnTo>
                    <a:lnTo>
                      <a:pt x="46610" y="44598"/>
                    </a:lnTo>
                    <a:lnTo>
                      <a:pt x="47474" y="47226"/>
                    </a:lnTo>
                    <a:lnTo>
                      <a:pt x="48740" y="53432"/>
                    </a:lnTo>
                    <a:lnTo>
                      <a:pt x="49952" y="56354"/>
                    </a:lnTo>
                    <a:lnTo>
                      <a:pt x="51314" y="58097"/>
                    </a:lnTo>
                    <a:lnTo>
                      <a:pt x="54668" y="61200"/>
                    </a:lnTo>
                    <a:lnTo>
                      <a:pt x="56325" y="63218"/>
                    </a:lnTo>
                    <a:lnTo>
                      <a:pt x="58241" y="66288"/>
                    </a:lnTo>
                    <a:lnTo>
                      <a:pt x="60093" y="70209"/>
                    </a:lnTo>
                    <a:lnTo>
                      <a:pt x="61471" y="74956"/>
                    </a:lnTo>
                    <a:lnTo>
                      <a:pt x="61891" y="80493"/>
                    </a:lnTo>
                    <a:lnTo>
                      <a:pt x="63877" y="91109"/>
                    </a:lnTo>
                    <a:lnTo>
                      <a:pt x="69318" y="94826"/>
                    </a:lnTo>
                    <a:lnTo>
                      <a:pt x="75759" y="97685"/>
                    </a:lnTo>
                    <a:lnTo>
                      <a:pt x="80728" y="105814"/>
                    </a:lnTo>
                    <a:lnTo>
                      <a:pt x="82090" y="105859"/>
                    </a:lnTo>
                    <a:lnTo>
                      <a:pt x="78373" y="97522"/>
                    </a:lnTo>
                    <a:lnTo>
                      <a:pt x="64830" y="82040"/>
                    </a:lnTo>
                    <a:lnTo>
                      <a:pt x="68540" y="75600"/>
                    </a:lnTo>
                    <a:lnTo>
                      <a:pt x="75097" y="77670"/>
                    </a:lnTo>
                    <a:lnTo>
                      <a:pt x="81714" y="83957"/>
                    </a:lnTo>
                    <a:lnTo>
                      <a:pt x="85609" y="90324"/>
                    </a:lnTo>
                    <a:lnTo>
                      <a:pt x="87887" y="102470"/>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03" name="Freeform 96">
                <a:extLst>
                  <a:ext uri="{FF2B5EF4-FFF2-40B4-BE49-F238E27FC236}">
                    <a16:creationId xmlns:a16="http://schemas.microsoft.com/office/drawing/2014/main" id="{B949C71D-EDFD-A340-AED0-58ADC8BC2047}"/>
                  </a:ext>
                </a:extLst>
              </p:cNvPr>
              <p:cNvSpPr>
                <a:spLocks noChangeAspect="1"/>
              </p:cNvSpPr>
              <p:nvPr>
                <p:custDataLst>
                  <p:tags r:id="rId225"/>
                </p:custDataLst>
              </p:nvPr>
            </p:nvSpPr>
            <p:spPr>
              <a:xfrm>
                <a:off x="1796364" y="3807336"/>
                <a:ext cx="46631" cy="34434"/>
              </a:xfrm>
              <a:custGeom>
                <a:avLst/>
                <a:gdLst/>
                <a:ahLst/>
                <a:cxnLst/>
                <a:rect l="0" t="0" r="0" b="0"/>
                <a:pathLst>
                  <a:path w="47878" h="35354">
                    <a:moveTo>
                      <a:pt x="33848" y="9386"/>
                    </a:moveTo>
                    <a:lnTo>
                      <a:pt x="36750" y="5235"/>
                    </a:lnTo>
                    <a:lnTo>
                      <a:pt x="47870" y="3071"/>
                    </a:lnTo>
                    <a:lnTo>
                      <a:pt x="47877" y="3070"/>
                    </a:lnTo>
                    <a:lnTo>
                      <a:pt x="47697" y="5072"/>
                    </a:lnTo>
                    <a:lnTo>
                      <a:pt x="44274" y="13455"/>
                    </a:lnTo>
                    <a:lnTo>
                      <a:pt x="39150" y="18827"/>
                    </a:lnTo>
                    <a:lnTo>
                      <a:pt x="32518" y="21889"/>
                    </a:lnTo>
                    <a:lnTo>
                      <a:pt x="19253" y="25377"/>
                    </a:lnTo>
                    <a:lnTo>
                      <a:pt x="13200" y="28374"/>
                    </a:lnTo>
                    <a:lnTo>
                      <a:pt x="7251" y="33488"/>
                    </a:lnTo>
                    <a:lnTo>
                      <a:pt x="5766" y="35353"/>
                    </a:lnTo>
                    <a:lnTo>
                      <a:pt x="5611" y="35117"/>
                    </a:lnTo>
                    <a:lnTo>
                      <a:pt x="4451" y="33346"/>
                    </a:lnTo>
                    <a:lnTo>
                      <a:pt x="5038" y="30611"/>
                    </a:lnTo>
                    <a:lnTo>
                      <a:pt x="3123" y="25643"/>
                    </a:lnTo>
                    <a:lnTo>
                      <a:pt x="0" y="23733"/>
                    </a:lnTo>
                    <a:lnTo>
                      <a:pt x="3414" y="12176"/>
                    </a:lnTo>
                    <a:lnTo>
                      <a:pt x="1356" y="9752"/>
                    </a:lnTo>
                    <a:lnTo>
                      <a:pt x="944" y="5608"/>
                    </a:lnTo>
                    <a:lnTo>
                      <a:pt x="4444" y="2016"/>
                    </a:lnTo>
                    <a:lnTo>
                      <a:pt x="18974" y="71"/>
                    </a:lnTo>
                    <a:lnTo>
                      <a:pt x="23882" y="1513"/>
                    </a:lnTo>
                    <a:lnTo>
                      <a:pt x="26138" y="0"/>
                    </a:lnTo>
                    <a:lnTo>
                      <a:pt x="30856" y="1858"/>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04" name="Freeform 97">
                <a:extLst>
                  <a:ext uri="{FF2B5EF4-FFF2-40B4-BE49-F238E27FC236}">
                    <a16:creationId xmlns:a16="http://schemas.microsoft.com/office/drawing/2014/main" id="{6AFBAD6A-9CFF-581C-E091-D7322E659B0C}"/>
                  </a:ext>
                </a:extLst>
              </p:cNvPr>
              <p:cNvSpPr>
                <a:spLocks noChangeAspect="1"/>
              </p:cNvSpPr>
              <p:nvPr>
                <p:custDataLst>
                  <p:tags r:id="rId226"/>
                </p:custDataLst>
              </p:nvPr>
            </p:nvSpPr>
            <p:spPr>
              <a:xfrm>
                <a:off x="1759171" y="3797528"/>
                <a:ext cx="42810" cy="57158"/>
              </a:xfrm>
              <a:custGeom>
                <a:avLst/>
                <a:gdLst/>
                <a:ahLst/>
                <a:cxnLst/>
                <a:rect l="0" t="0" r="0" b="0"/>
                <a:pathLst>
                  <a:path w="43954" h="58686">
                    <a:moveTo>
                      <a:pt x="20405" y="9905"/>
                    </a:moveTo>
                    <a:lnTo>
                      <a:pt x="23855" y="9389"/>
                    </a:lnTo>
                    <a:lnTo>
                      <a:pt x="27100" y="11206"/>
                    </a:lnTo>
                    <a:lnTo>
                      <a:pt x="29676" y="9293"/>
                    </a:lnTo>
                    <a:lnTo>
                      <a:pt x="34646" y="11151"/>
                    </a:lnTo>
                    <a:lnTo>
                      <a:pt x="39558" y="8896"/>
                    </a:lnTo>
                    <a:lnTo>
                      <a:pt x="42631" y="12086"/>
                    </a:lnTo>
                    <a:lnTo>
                      <a:pt x="39131" y="15678"/>
                    </a:lnTo>
                    <a:lnTo>
                      <a:pt x="39543" y="19822"/>
                    </a:lnTo>
                    <a:lnTo>
                      <a:pt x="41601" y="22246"/>
                    </a:lnTo>
                    <a:lnTo>
                      <a:pt x="38187" y="33803"/>
                    </a:lnTo>
                    <a:lnTo>
                      <a:pt x="41310" y="35713"/>
                    </a:lnTo>
                    <a:lnTo>
                      <a:pt x="43225" y="40681"/>
                    </a:lnTo>
                    <a:lnTo>
                      <a:pt x="42638" y="43416"/>
                    </a:lnTo>
                    <a:lnTo>
                      <a:pt x="43798" y="45187"/>
                    </a:lnTo>
                    <a:lnTo>
                      <a:pt x="43953" y="45423"/>
                    </a:lnTo>
                    <a:lnTo>
                      <a:pt x="40988" y="49143"/>
                    </a:lnTo>
                    <a:lnTo>
                      <a:pt x="35433" y="58685"/>
                    </a:lnTo>
                    <a:lnTo>
                      <a:pt x="29807" y="53582"/>
                    </a:lnTo>
                    <a:lnTo>
                      <a:pt x="24226" y="58261"/>
                    </a:lnTo>
                    <a:lnTo>
                      <a:pt x="20284" y="51952"/>
                    </a:lnTo>
                    <a:lnTo>
                      <a:pt x="11756" y="51855"/>
                    </a:lnTo>
                    <a:lnTo>
                      <a:pt x="6883" y="50607"/>
                    </a:lnTo>
                    <a:lnTo>
                      <a:pt x="5494" y="48340"/>
                    </a:lnTo>
                    <a:lnTo>
                      <a:pt x="5777" y="39103"/>
                    </a:lnTo>
                    <a:lnTo>
                      <a:pt x="8181" y="35577"/>
                    </a:lnTo>
                    <a:lnTo>
                      <a:pt x="8686" y="31999"/>
                    </a:lnTo>
                    <a:lnTo>
                      <a:pt x="5166" y="27391"/>
                    </a:lnTo>
                    <a:lnTo>
                      <a:pt x="3896" y="18854"/>
                    </a:lnTo>
                    <a:lnTo>
                      <a:pt x="7356" y="16436"/>
                    </a:lnTo>
                    <a:lnTo>
                      <a:pt x="8259" y="8920"/>
                    </a:lnTo>
                    <a:lnTo>
                      <a:pt x="0" y="1909"/>
                    </a:lnTo>
                    <a:lnTo>
                      <a:pt x="17101" y="0"/>
                    </a:lnTo>
                    <a:lnTo>
                      <a:pt x="16692" y="4452"/>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05" name="Freeform 98">
                <a:extLst>
                  <a:ext uri="{FF2B5EF4-FFF2-40B4-BE49-F238E27FC236}">
                    <a16:creationId xmlns:a16="http://schemas.microsoft.com/office/drawing/2014/main" id="{91268244-F9B4-A2CE-6132-4D7F1C3D3D33}"/>
                  </a:ext>
                </a:extLst>
              </p:cNvPr>
              <p:cNvSpPr>
                <a:spLocks noChangeAspect="1"/>
              </p:cNvSpPr>
              <p:nvPr>
                <p:custDataLst>
                  <p:tags r:id="rId227"/>
                </p:custDataLst>
              </p:nvPr>
            </p:nvSpPr>
            <p:spPr>
              <a:xfrm>
                <a:off x="1802808" y="3843431"/>
                <a:ext cx="66351" cy="24124"/>
              </a:xfrm>
              <a:custGeom>
                <a:avLst/>
                <a:gdLst/>
                <a:ahLst/>
                <a:cxnLst/>
                <a:rect l="0" t="0" r="0" b="0"/>
                <a:pathLst>
                  <a:path w="68125" h="24769">
                    <a:moveTo>
                      <a:pt x="68124" y="4386"/>
                    </a:moveTo>
                    <a:lnTo>
                      <a:pt x="68114" y="4395"/>
                    </a:lnTo>
                    <a:lnTo>
                      <a:pt x="66537" y="5710"/>
                    </a:lnTo>
                    <a:lnTo>
                      <a:pt x="64972" y="6463"/>
                    </a:lnTo>
                    <a:lnTo>
                      <a:pt x="65190" y="11457"/>
                    </a:lnTo>
                    <a:lnTo>
                      <a:pt x="59023" y="14250"/>
                    </a:lnTo>
                    <a:lnTo>
                      <a:pt x="56320" y="20112"/>
                    </a:lnTo>
                    <a:lnTo>
                      <a:pt x="48688" y="24219"/>
                    </a:lnTo>
                    <a:lnTo>
                      <a:pt x="37874" y="23979"/>
                    </a:lnTo>
                    <a:lnTo>
                      <a:pt x="31376" y="19845"/>
                    </a:lnTo>
                    <a:lnTo>
                      <a:pt x="25001" y="24613"/>
                    </a:lnTo>
                    <a:lnTo>
                      <a:pt x="17374" y="22983"/>
                    </a:lnTo>
                    <a:lnTo>
                      <a:pt x="13745" y="24768"/>
                    </a:lnTo>
                    <a:lnTo>
                      <a:pt x="178" y="21098"/>
                    </a:lnTo>
                    <a:lnTo>
                      <a:pt x="165" y="21137"/>
                    </a:lnTo>
                    <a:lnTo>
                      <a:pt x="7" y="21082"/>
                    </a:lnTo>
                    <a:lnTo>
                      <a:pt x="0" y="21079"/>
                    </a:lnTo>
                    <a:lnTo>
                      <a:pt x="5063" y="13448"/>
                    </a:lnTo>
                    <a:lnTo>
                      <a:pt x="7307" y="11036"/>
                    </a:lnTo>
                    <a:lnTo>
                      <a:pt x="15211" y="7526"/>
                    </a:lnTo>
                    <a:lnTo>
                      <a:pt x="22980" y="2047"/>
                    </a:lnTo>
                    <a:lnTo>
                      <a:pt x="27815" y="0"/>
                    </a:lnTo>
                    <a:lnTo>
                      <a:pt x="31203" y="1419"/>
                    </a:lnTo>
                    <a:lnTo>
                      <a:pt x="34601" y="4252"/>
                    </a:lnTo>
                    <a:lnTo>
                      <a:pt x="39430" y="4862"/>
                    </a:lnTo>
                    <a:lnTo>
                      <a:pt x="66065" y="1347"/>
                    </a:lnTo>
                    <a:lnTo>
                      <a:pt x="67286" y="2581"/>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06" name="Freeform 99">
                <a:extLst>
                  <a:ext uri="{FF2B5EF4-FFF2-40B4-BE49-F238E27FC236}">
                    <a16:creationId xmlns:a16="http://schemas.microsoft.com/office/drawing/2014/main" id="{2B3D2E9B-144B-66DE-E915-88010CEF1B0A}"/>
                  </a:ext>
                </a:extLst>
              </p:cNvPr>
              <p:cNvSpPr>
                <a:spLocks noChangeAspect="1"/>
              </p:cNvSpPr>
              <p:nvPr>
                <p:custDataLst>
                  <p:tags r:id="rId228"/>
                </p:custDataLst>
              </p:nvPr>
            </p:nvSpPr>
            <p:spPr>
              <a:xfrm>
                <a:off x="1752580" y="3913024"/>
                <a:ext cx="117937" cy="118262"/>
              </a:xfrm>
              <a:custGeom>
                <a:avLst/>
                <a:gdLst/>
                <a:ahLst/>
                <a:cxnLst/>
                <a:rect l="0" t="0" r="0" b="0"/>
                <a:pathLst>
                  <a:path w="121090" h="121423">
                    <a:moveTo>
                      <a:pt x="83556" y="17863"/>
                    </a:moveTo>
                    <a:lnTo>
                      <a:pt x="99229" y="13883"/>
                    </a:lnTo>
                    <a:lnTo>
                      <a:pt x="99244" y="13962"/>
                    </a:lnTo>
                    <a:lnTo>
                      <a:pt x="100816" y="11829"/>
                    </a:lnTo>
                    <a:lnTo>
                      <a:pt x="100818" y="11826"/>
                    </a:lnTo>
                    <a:lnTo>
                      <a:pt x="100941" y="12151"/>
                    </a:lnTo>
                    <a:lnTo>
                      <a:pt x="103773" y="13220"/>
                    </a:lnTo>
                    <a:lnTo>
                      <a:pt x="103478" y="14860"/>
                    </a:lnTo>
                    <a:lnTo>
                      <a:pt x="103154" y="15954"/>
                    </a:lnTo>
                    <a:lnTo>
                      <a:pt x="101938" y="18389"/>
                    </a:lnTo>
                    <a:lnTo>
                      <a:pt x="103535" y="20819"/>
                    </a:lnTo>
                    <a:lnTo>
                      <a:pt x="96696" y="40532"/>
                    </a:lnTo>
                    <a:lnTo>
                      <a:pt x="94826" y="44066"/>
                    </a:lnTo>
                    <a:lnTo>
                      <a:pt x="86503" y="50411"/>
                    </a:lnTo>
                    <a:lnTo>
                      <a:pt x="83937" y="54356"/>
                    </a:lnTo>
                    <a:lnTo>
                      <a:pt x="93066" y="51244"/>
                    </a:lnTo>
                    <a:lnTo>
                      <a:pt x="103534" y="45462"/>
                    </a:lnTo>
                    <a:lnTo>
                      <a:pt x="113057" y="43067"/>
                    </a:lnTo>
                    <a:lnTo>
                      <a:pt x="119335" y="50243"/>
                    </a:lnTo>
                    <a:lnTo>
                      <a:pt x="121089" y="64856"/>
                    </a:lnTo>
                    <a:lnTo>
                      <a:pt x="118001" y="75777"/>
                    </a:lnTo>
                    <a:lnTo>
                      <a:pt x="111839" y="84315"/>
                    </a:lnTo>
                    <a:lnTo>
                      <a:pt x="104214" y="91779"/>
                    </a:lnTo>
                    <a:lnTo>
                      <a:pt x="103188" y="92043"/>
                    </a:lnTo>
                    <a:lnTo>
                      <a:pt x="100676" y="91295"/>
                    </a:lnTo>
                    <a:lnTo>
                      <a:pt x="99639" y="91636"/>
                    </a:lnTo>
                    <a:lnTo>
                      <a:pt x="97867" y="99421"/>
                    </a:lnTo>
                    <a:lnTo>
                      <a:pt x="96297" y="100477"/>
                    </a:lnTo>
                    <a:lnTo>
                      <a:pt x="94278" y="101360"/>
                    </a:lnTo>
                    <a:lnTo>
                      <a:pt x="92585" y="100856"/>
                    </a:lnTo>
                    <a:lnTo>
                      <a:pt x="91955" y="97786"/>
                    </a:lnTo>
                    <a:lnTo>
                      <a:pt x="89329" y="94901"/>
                    </a:lnTo>
                    <a:lnTo>
                      <a:pt x="76409" y="93360"/>
                    </a:lnTo>
                    <a:lnTo>
                      <a:pt x="66880" y="94023"/>
                    </a:lnTo>
                    <a:lnTo>
                      <a:pt x="57116" y="97255"/>
                    </a:lnTo>
                    <a:lnTo>
                      <a:pt x="52711" y="97928"/>
                    </a:lnTo>
                    <a:lnTo>
                      <a:pt x="48238" y="99500"/>
                    </a:lnTo>
                    <a:lnTo>
                      <a:pt x="46743" y="104054"/>
                    </a:lnTo>
                    <a:lnTo>
                      <a:pt x="46734" y="117185"/>
                    </a:lnTo>
                    <a:lnTo>
                      <a:pt x="46734" y="117190"/>
                    </a:lnTo>
                    <a:lnTo>
                      <a:pt x="44783" y="117043"/>
                    </a:lnTo>
                    <a:lnTo>
                      <a:pt x="41203" y="116583"/>
                    </a:lnTo>
                    <a:lnTo>
                      <a:pt x="33484" y="118749"/>
                    </a:lnTo>
                    <a:lnTo>
                      <a:pt x="24494" y="112804"/>
                    </a:lnTo>
                    <a:lnTo>
                      <a:pt x="20731" y="115532"/>
                    </a:lnTo>
                    <a:lnTo>
                      <a:pt x="15943" y="115564"/>
                    </a:lnTo>
                    <a:lnTo>
                      <a:pt x="10575" y="121422"/>
                    </a:lnTo>
                    <a:lnTo>
                      <a:pt x="9411" y="120845"/>
                    </a:lnTo>
                    <a:lnTo>
                      <a:pt x="4689" y="108990"/>
                    </a:lnTo>
                    <a:lnTo>
                      <a:pt x="3433" y="97797"/>
                    </a:lnTo>
                    <a:lnTo>
                      <a:pt x="0" y="96482"/>
                    </a:lnTo>
                    <a:lnTo>
                      <a:pt x="7557" y="91885"/>
                    </a:lnTo>
                    <a:lnTo>
                      <a:pt x="8213" y="86179"/>
                    </a:lnTo>
                    <a:lnTo>
                      <a:pt x="9468" y="85475"/>
                    </a:lnTo>
                    <a:lnTo>
                      <a:pt x="20121" y="92884"/>
                    </a:lnTo>
                    <a:lnTo>
                      <a:pt x="24960" y="91251"/>
                    </a:lnTo>
                    <a:lnTo>
                      <a:pt x="23650" y="86314"/>
                    </a:lnTo>
                    <a:lnTo>
                      <a:pt x="26152" y="82373"/>
                    </a:lnTo>
                    <a:lnTo>
                      <a:pt x="25863" y="78233"/>
                    </a:lnTo>
                    <a:lnTo>
                      <a:pt x="29685" y="77294"/>
                    </a:lnTo>
                    <a:lnTo>
                      <a:pt x="29971" y="75931"/>
                    </a:lnTo>
                    <a:lnTo>
                      <a:pt x="25991" y="64307"/>
                    </a:lnTo>
                    <a:lnTo>
                      <a:pt x="25539" y="56425"/>
                    </a:lnTo>
                    <a:lnTo>
                      <a:pt x="32753" y="48406"/>
                    </a:lnTo>
                    <a:lnTo>
                      <a:pt x="33183" y="47038"/>
                    </a:lnTo>
                    <a:lnTo>
                      <a:pt x="30566" y="41846"/>
                    </a:lnTo>
                    <a:lnTo>
                      <a:pt x="34684" y="37863"/>
                    </a:lnTo>
                    <a:lnTo>
                      <a:pt x="32659" y="30461"/>
                    </a:lnTo>
                    <a:lnTo>
                      <a:pt x="33748" y="27832"/>
                    </a:lnTo>
                    <a:lnTo>
                      <a:pt x="40265" y="21702"/>
                    </a:lnTo>
                    <a:lnTo>
                      <a:pt x="39253" y="15400"/>
                    </a:lnTo>
                    <a:lnTo>
                      <a:pt x="42650" y="13704"/>
                    </a:lnTo>
                    <a:lnTo>
                      <a:pt x="43756" y="10344"/>
                    </a:lnTo>
                    <a:lnTo>
                      <a:pt x="47549" y="9420"/>
                    </a:lnTo>
                    <a:lnTo>
                      <a:pt x="50182" y="4523"/>
                    </a:lnTo>
                    <a:lnTo>
                      <a:pt x="57678" y="0"/>
                    </a:lnTo>
                    <a:lnTo>
                      <a:pt x="61311" y="125"/>
                    </a:lnTo>
                    <a:lnTo>
                      <a:pt x="67155" y="10095"/>
                    </a:lnTo>
                    <a:lnTo>
                      <a:pt x="78801" y="12609"/>
                    </a:lnTo>
                    <a:lnTo>
                      <a:pt x="80106" y="16050"/>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07" name="Freeform 100">
                <a:extLst>
                  <a:ext uri="{FF2B5EF4-FFF2-40B4-BE49-F238E27FC236}">
                    <a16:creationId xmlns:a16="http://schemas.microsoft.com/office/drawing/2014/main" id="{85295366-A037-6312-EB1F-B63CADBFA3EB}"/>
                  </a:ext>
                </a:extLst>
              </p:cNvPr>
              <p:cNvSpPr>
                <a:spLocks noChangeAspect="1"/>
              </p:cNvSpPr>
              <p:nvPr>
                <p:custDataLst>
                  <p:tags r:id="rId229"/>
                </p:custDataLst>
              </p:nvPr>
            </p:nvSpPr>
            <p:spPr>
              <a:xfrm>
                <a:off x="1598499" y="3634180"/>
                <a:ext cx="74131" cy="114704"/>
              </a:xfrm>
              <a:custGeom>
                <a:avLst/>
                <a:gdLst/>
                <a:ahLst/>
                <a:cxnLst/>
                <a:rect l="0" t="0" r="0" b="0"/>
                <a:pathLst>
                  <a:path w="76113" h="117770">
                    <a:moveTo>
                      <a:pt x="76112" y="29352"/>
                    </a:moveTo>
                    <a:lnTo>
                      <a:pt x="75529" y="31551"/>
                    </a:lnTo>
                    <a:lnTo>
                      <a:pt x="69836" y="31297"/>
                    </a:lnTo>
                    <a:lnTo>
                      <a:pt x="63251" y="35677"/>
                    </a:lnTo>
                    <a:lnTo>
                      <a:pt x="61418" y="48247"/>
                    </a:lnTo>
                    <a:lnTo>
                      <a:pt x="59495" y="51757"/>
                    </a:lnTo>
                    <a:lnTo>
                      <a:pt x="53355" y="56046"/>
                    </a:lnTo>
                    <a:lnTo>
                      <a:pt x="57433" y="62301"/>
                    </a:lnTo>
                    <a:lnTo>
                      <a:pt x="59568" y="70147"/>
                    </a:lnTo>
                    <a:lnTo>
                      <a:pt x="59258" y="74502"/>
                    </a:lnTo>
                    <a:lnTo>
                      <a:pt x="57160" y="77808"/>
                    </a:lnTo>
                    <a:lnTo>
                      <a:pt x="58912" y="87444"/>
                    </a:lnTo>
                    <a:lnTo>
                      <a:pt x="65282" y="94957"/>
                    </a:lnTo>
                    <a:lnTo>
                      <a:pt x="64755" y="101417"/>
                    </a:lnTo>
                    <a:lnTo>
                      <a:pt x="65929" y="103704"/>
                    </a:lnTo>
                    <a:lnTo>
                      <a:pt x="71546" y="107176"/>
                    </a:lnTo>
                    <a:lnTo>
                      <a:pt x="68033" y="108581"/>
                    </a:lnTo>
                    <a:lnTo>
                      <a:pt x="66535" y="113397"/>
                    </a:lnTo>
                    <a:lnTo>
                      <a:pt x="62937" y="114512"/>
                    </a:lnTo>
                    <a:lnTo>
                      <a:pt x="56917" y="115516"/>
                    </a:lnTo>
                    <a:lnTo>
                      <a:pt x="45019" y="110090"/>
                    </a:lnTo>
                    <a:lnTo>
                      <a:pt x="41593" y="114182"/>
                    </a:lnTo>
                    <a:lnTo>
                      <a:pt x="32811" y="116542"/>
                    </a:lnTo>
                    <a:lnTo>
                      <a:pt x="29770" y="112347"/>
                    </a:lnTo>
                    <a:lnTo>
                      <a:pt x="23792" y="111214"/>
                    </a:lnTo>
                    <a:lnTo>
                      <a:pt x="16142" y="117769"/>
                    </a:lnTo>
                    <a:lnTo>
                      <a:pt x="13772" y="117537"/>
                    </a:lnTo>
                    <a:lnTo>
                      <a:pt x="11509" y="99890"/>
                    </a:lnTo>
                    <a:lnTo>
                      <a:pt x="8803" y="95192"/>
                    </a:lnTo>
                    <a:lnTo>
                      <a:pt x="10080" y="91537"/>
                    </a:lnTo>
                    <a:lnTo>
                      <a:pt x="15465" y="87120"/>
                    </a:lnTo>
                    <a:lnTo>
                      <a:pt x="10397" y="83683"/>
                    </a:lnTo>
                    <a:lnTo>
                      <a:pt x="9293" y="80031"/>
                    </a:lnTo>
                    <a:lnTo>
                      <a:pt x="9450" y="67908"/>
                    </a:lnTo>
                    <a:lnTo>
                      <a:pt x="11043" y="56409"/>
                    </a:lnTo>
                    <a:lnTo>
                      <a:pt x="8470" y="44271"/>
                    </a:lnTo>
                    <a:lnTo>
                      <a:pt x="0" y="34831"/>
                    </a:lnTo>
                    <a:lnTo>
                      <a:pt x="2897" y="30386"/>
                    </a:lnTo>
                    <a:lnTo>
                      <a:pt x="2836" y="26567"/>
                    </a:lnTo>
                    <a:lnTo>
                      <a:pt x="5245" y="23284"/>
                    </a:lnTo>
                    <a:lnTo>
                      <a:pt x="5699" y="19529"/>
                    </a:lnTo>
                    <a:lnTo>
                      <a:pt x="6136" y="16031"/>
                    </a:lnTo>
                    <a:lnTo>
                      <a:pt x="6138" y="16018"/>
                    </a:lnTo>
                    <a:lnTo>
                      <a:pt x="24466" y="15994"/>
                    </a:lnTo>
                    <a:lnTo>
                      <a:pt x="49859" y="5508"/>
                    </a:lnTo>
                    <a:lnTo>
                      <a:pt x="64974" y="5076"/>
                    </a:lnTo>
                    <a:lnTo>
                      <a:pt x="68750" y="2444"/>
                    </a:lnTo>
                    <a:lnTo>
                      <a:pt x="70692" y="0"/>
                    </a:lnTo>
                    <a:lnTo>
                      <a:pt x="70699" y="14"/>
                    </a:lnTo>
                    <a:lnTo>
                      <a:pt x="71627" y="1577"/>
                    </a:lnTo>
                    <a:lnTo>
                      <a:pt x="71581" y="1733"/>
                    </a:lnTo>
                    <a:lnTo>
                      <a:pt x="73658" y="5325"/>
                    </a:lnTo>
                    <a:lnTo>
                      <a:pt x="73133" y="10401"/>
                    </a:lnTo>
                    <a:lnTo>
                      <a:pt x="74843" y="14194"/>
                    </a:lnTo>
                    <a:lnTo>
                      <a:pt x="73906" y="23088"/>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08" name="Freeform 101">
                <a:extLst>
                  <a:ext uri="{FF2B5EF4-FFF2-40B4-BE49-F238E27FC236}">
                    <a16:creationId xmlns:a16="http://schemas.microsoft.com/office/drawing/2014/main" id="{E2944333-988F-2DFE-442F-BFF002F17A3F}"/>
                  </a:ext>
                </a:extLst>
              </p:cNvPr>
              <p:cNvSpPr>
                <a:spLocks noChangeAspect="1"/>
              </p:cNvSpPr>
              <p:nvPr>
                <p:custDataLst>
                  <p:tags r:id="rId230"/>
                </p:custDataLst>
              </p:nvPr>
            </p:nvSpPr>
            <p:spPr>
              <a:xfrm>
                <a:off x="1650465" y="3662768"/>
                <a:ext cx="88963" cy="89387"/>
              </a:xfrm>
              <a:custGeom>
                <a:avLst/>
                <a:gdLst/>
                <a:ahLst/>
                <a:cxnLst/>
                <a:rect l="0" t="0" r="0" b="0"/>
                <a:pathLst>
                  <a:path w="91341" h="91776">
                    <a:moveTo>
                      <a:pt x="34510" y="4756"/>
                    </a:moveTo>
                    <a:lnTo>
                      <a:pt x="39860" y="3298"/>
                    </a:lnTo>
                    <a:lnTo>
                      <a:pt x="39578" y="5500"/>
                    </a:lnTo>
                    <a:lnTo>
                      <a:pt x="42015" y="9657"/>
                    </a:lnTo>
                    <a:lnTo>
                      <a:pt x="48747" y="5478"/>
                    </a:lnTo>
                    <a:lnTo>
                      <a:pt x="52203" y="5624"/>
                    </a:lnTo>
                    <a:lnTo>
                      <a:pt x="55445" y="9378"/>
                    </a:lnTo>
                    <a:lnTo>
                      <a:pt x="58946" y="16956"/>
                    </a:lnTo>
                    <a:lnTo>
                      <a:pt x="63729" y="18965"/>
                    </a:lnTo>
                    <a:lnTo>
                      <a:pt x="84973" y="13556"/>
                    </a:lnTo>
                    <a:lnTo>
                      <a:pt x="85061" y="22059"/>
                    </a:lnTo>
                    <a:lnTo>
                      <a:pt x="82901" y="25589"/>
                    </a:lnTo>
                    <a:lnTo>
                      <a:pt x="83953" y="28397"/>
                    </a:lnTo>
                    <a:lnTo>
                      <a:pt x="83815" y="33383"/>
                    </a:lnTo>
                    <a:lnTo>
                      <a:pt x="90906" y="46305"/>
                    </a:lnTo>
                    <a:lnTo>
                      <a:pt x="91340" y="49088"/>
                    </a:lnTo>
                    <a:lnTo>
                      <a:pt x="90580" y="51391"/>
                    </a:lnTo>
                    <a:lnTo>
                      <a:pt x="87093" y="50205"/>
                    </a:lnTo>
                    <a:lnTo>
                      <a:pt x="80197" y="55224"/>
                    </a:lnTo>
                    <a:lnTo>
                      <a:pt x="73828" y="55935"/>
                    </a:lnTo>
                    <a:lnTo>
                      <a:pt x="70196" y="58435"/>
                    </a:lnTo>
                    <a:lnTo>
                      <a:pt x="61828" y="57557"/>
                    </a:lnTo>
                    <a:lnTo>
                      <a:pt x="60315" y="61635"/>
                    </a:lnTo>
                    <a:lnTo>
                      <a:pt x="60976" y="67839"/>
                    </a:lnTo>
                    <a:lnTo>
                      <a:pt x="59501" y="69477"/>
                    </a:lnTo>
                    <a:lnTo>
                      <a:pt x="56406" y="66048"/>
                    </a:lnTo>
                    <a:lnTo>
                      <a:pt x="54019" y="66580"/>
                    </a:lnTo>
                    <a:lnTo>
                      <a:pt x="51498" y="69775"/>
                    </a:lnTo>
                    <a:lnTo>
                      <a:pt x="46618" y="67019"/>
                    </a:lnTo>
                    <a:lnTo>
                      <a:pt x="42352" y="71284"/>
                    </a:lnTo>
                    <a:lnTo>
                      <a:pt x="33576" y="72617"/>
                    </a:lnTo>
                    <a:lnTo>
                      <a:pt x="33100" y="73772"/>
                    </a:lnTo>
                    <a:lnTo>
                      <a:pt x="35117" y="77783"/>
                    </a:lnTo>
                    <a:lnTo>
                      <a:pt x="39552" y="81167"/>
                    </a:lnTo>
                    <a:lnTo>
                      <a:pt x="36004" y="84197"/>
                    </a:lnTo>
                    <a:lnTo>
                      <a:pt x="36655" y="91775"/>
                    </a:lnTo>
                    <a:lnTo>
                      <a:pt x="30982" y="88862"/>
                    </a:lnTo>
                    <a:lnTo>
                      <a:pt x="20659" y="89063"/>
                    </a:lnTo>
                    <a:lnTo>
                      <a:pt x="21123" y="86513"/>
                    </a:lnTo>
                    <a:lnTo>
                      <a:pt x="18191" y="77824"/>
                    </a:lnTo>
                    <a:lnTo>
                      <a:pt x="12574" y="74352"/>
                    </a:lnTo>
                    <a:lnTo>
                      <a:pt x="11400" y="72065"/>
                    </a:lnTo>
                    <a:lnTo>
                      <a:pt x="11927" y="65605"/>
                    </a:lnTo>
                    <a:lnTo>
                      <a:pt x="5557" y="58092"/>
                    </a:lnTo>
                    <a:lnTo>
                      <a:pt x="3805" y="48456"/>
                    </a:lnTo>
                    <a:lnTo>
                      <a:pt x="5903" y="45150"/>
                    </a:lnTo>
                    <a:lnTo>
                      <a:pt x="6213" y="40795"/>
                    </a:lnTo>
                    <a:lnTo>
                      <a:pt x="4078" y="32949"/>
                    </a:lnTo>
                    <a:lnTo>
                      <a:pt x="0" y="26694"/>
                    </a:lnTo>
                    <a:lnTo>
                      <a:pt x="6140" y="22405"/>
                    </a:lnTo>
                    <a:lnTo>
                      <a:pt x="8063" y="18895"/>
                    </a:lnTo>
                    <a:lnTo>
                      <a:pt x="9896" y="6325"/>
                    </a:lnTo>
                    <a:lnTo>
                      <a:pt x="16481" y="1945"/>
                    </a:lnTo>
                    <a:lnTo>
                      <a:pt x="22174" y="2199"/>
                    </a:lnTo>
                    <a:lnTo>
                      <a:pt x="22757" y="0"/>
                    </a:lnTo>
                    <a:lnTo>
                      <a:pt x="30932" y="558"/>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09" name="Freeform 102">
                <a:extLst>
                  <a:ext uri="{FF2B5EF4-FFF2-40B4-BE49-F238E27FC236}">
                    <a16:creationId xmlns:a16="http://schemas.microsoft.com/office/drawing/2014/main" id="{4C1F6B2C-B9A6-7E39-26AB-94D9E5188320}"/>
                  </a:ext>
                </a:extLst>
              </p:cNvPr>
              <p:cNvSpPr>
                <a:spLocks noChangeAspect="1"/>
              </p:cNvSpPr>
              <p:nvPr>
                <p:custDataLst>
                  <p:tags r:id="rId231"/>
                </p:custDataLst>
              </p:nvPr>
            </p:nvSpPr>
            <p:spPr>
              <a:xfrm>
                <a:off x="1530348" y="3641221"/>
                <a:ext cx="84065" cy="141416"/>
              </a:xfrm>
              <a:custGeom>
                <a:avLst/>
                <a:gdLst/>
                <a:ahLst/>
                <a:cxnLst/>
                <a:rect l="0" t="0" r="0" b="0"/>
                <a:pathLst>
                  <a:path w="86312" h="145196">
                    <a:moveTo>
                      <a:pt x="76111" y="8788"/>
                    </a:moveTo>
                    <a:lnTo>
                      <a:pt x="76109" y="8801"/>
                    </a:lnTo>
                    <a:lnTo>
                      <a:pt x="75672" y="12299"/>
                    </a:lnTo>
                    <a:lnTo>
                      <a:pt x="75218" y="16054"/>
                    </a:lnTo>
                    <a:lnTo>
                      <a:pt x="72809" y="19337"/>
                    </a:lnTo>
                    <a:lnTo>
                      <a:pt x="72870" y="23156"/>
                    </a:lnTo>
                    <a:lnTo>
                      <a:pt x="69973" y="27601"/>
                    </a:lnTo>
                    <a:lnTo>
                      <a:pt x="78443" y="37041"/>
                    </a:lnTo>
                    <a:lnTo>
                      <a:pt x="81016" y="49179"/>
                    </a:lnTo>
                    <a:lnTo>
                      <a:pt x="79423" y="60678"/>
                    </a:lnTo>
                    <a:lnTo>
                      <a:pt x="79266" y="72801"/>
                    </a:lnTo>
                    <a:lnTo>
                      <a:pt x="80370" y="76453"/>
                    </a:lnTo>
                    <a:lnTo>
                      <a:pt x="85438" y="79890"/>
                    </a:lnTo>
                    <a:lnTo>
                      <a:pt x="80053" y="84307"/>
                    </a:lnTo>
                    <a:lnTo>
                      <a:pt x="78776" y="87962"/>
                    </a:lnTo>
                    <a:lnTo>
                      <a:pt x="81482" y="92660"/>
                    </a:lnTo>
                    <a:lnTo>
                      <a:pt x="83745" y="110307"/>
                    </a:lnTo>
                    <a:lnTo>
                      <a:pt x="86311" y="114158"/>
                    </a:lnTo>
                    <a:lnTo>
                      <a:pt x="84304" y="119054"/>
                    </a:lnTo>
                    <a:lnTo>
                      <a:pt x="83819" y="127849"/>
                    </a:lnTo>
                    <a:lnTo>
                      <a:pt x="75912" y="134586"/>
                    </a:lnTo>
                    <a:lnTo>
                      <a:pt x="58736" y="131845"/>
                    </a:lnTo>
                    <a:lnTo>
                      <a:pt x="58575" y="139807"/>
                    </a:lnTo>
                    <a:lnTo>
                      <a:pt x="52021" y="145195"/>
                    </a:lnTo>
                    <a:lnTo>
                      <a:pt x="46801" y="140385"/>
                    </a:lnTo>
                    <a:lnTo>
                      <a:pt x="41774" y="141832"/>
                    </a:lnTo>
                    <a:lnTo>
                      <a:pt x="35826" y="140778"/>
                    </a:lnTo>
                    <a:lnTo>
                      <a:pt x="31609" y="144280"/>
                    </a:lnTo>
                    <a:lnTo>
                      <a:pt x="25655" y="135054"/>
                    </a:lnTo>
                    <a:lnTo>
                      <a:pt x="25992" y="123690"/>
                    </a:lnTo>
                    <a:lnTo>
                      <a:pt x="27696" y="119103"/>
                    </a:lnTo>
                    <a:lnTo>
                      <a:pt x="25349" y="116113"/>
                    </a:lnTo>
                    <a:lnTo>
                      <a:pt x="24092" y="107227"/>
                    </a:lnTo>
                    <a:lnTo>
                      <a:pt x="17718" y="101891"/>
                    </a:lnTo>
                    <a:lnTo>
                      <a:pt x="15858" y="95426"/>
                    </a:lnTo>
                    <a:lnTo>
                      <a:pt x="15358" y="86361"/>
                    </a:lnTo>
                    <a:lnTo>
                      <a:pt x="18112" y="79288"/>
                    </a:lnTo>
                    <a:lnTo>
                      <a:pt x="12218" y="77574"/>
                    </a:lnTo>
                    <a:lnTo>
                      <a:pt x="8435" y="78867"/>
                    </a:lnTo>
                    <a:lnTo>
                      <a:pt x="4333" y="65367"/>
                    </a:lnTo>
                    <a:lnTo>
                      <a:pt x="0" y="59933"/>
                    </a:lnTo>
                    <a:lnTo>
                      <a:pt x="5472" y="53996"/>
                    </a:lnTo>
                    <a:lnTo>
                      <a:pt x="5646" y="53719"/>
                    </a:lnTo>
                    <a:lnTo>
                      <a:pt x="5659" y="53699"/>
                    </a:lnTo>
                    <a:lnTo>
                      <a:pt x="9056" y="55720"/>
                    </a:lnTo>
                    <a:lnTo>
                      <a:pt x="16523" y="57220"/>
                    </a:lnTo>
                    <a:lnTo>
                      <a:pt x="24106" y="56512"/>
                    </a:lnTo>
                    <a:lnTo>
                      <a:pt x="26684" y="54777"/>
                    </a:lnTo>
                    <a:lnTo>
                      <a:pt x="31771" y="48843"/>
                    </a:lnTo>
                    <a:lnTo>
                      <a:pt x="35101" y="46647"/>
                    </a:lnTo>
                    <a:lnTo>
                      <a:pt x="35221" y="41734"/>
                    </a:lnTo>
                    <a:lnTo>
                      <a:pt x="37303" y="34848"/>
                    </a:lnTo>
                    <a:lnTo>
                      <a:pt x="40235" y="28724"/>
                    </a:lnTo>
                    <a:lnTo>
                      <a:pt x="42876" y="26150"/>
                    </a:lnTo>
                    <a:lnTo>
                      <a:pt x="45586" y="22565"/>
                    </a:lnTo>
                    <a:lnTo>
                      <a:pt x="47829" y="5381"/>
                    </a:lnTo>
                    <a:lnTo>
                      <a:pt x="49430" y="105"/>
                    </a:lnTo>
                    <a:lnTo>
                      <a:pt x="52900" y="0"/>
                    </a:lnTo>
                    <a:lnTo>
                      <a:pt x="61976" y="6854"/>
                    </a:lnTo>
                    <a:lnTo>
                      <a:pt x="66200" y="8792"/>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10" name="Freeform 103">
                <a:extLst>
                  <a:ext uri="{FF2B5EF4-FFF2-40B4-BE49-F238E27FC236}">
                    <a16:creationId xmlns:a16="http://schemas.microsoft.com/office/drawing/2014/main" id="{9D007BFE-9484-5A44-1B80-D28E3ABC7AC7}"/>
                  </a:ext>
                </a:extLst>
              </p:cNvPr>
              <p:cNvSpPr>
                <a:spLocks noChangeAspect="1"/>
              </p:cNvSpPr>
              <p:nvPr>
                <p:custDataLst>
                  <p:tags r:id="rId232"/>
                </p:custDataLst>
              </p:nvPr>
            </p:nvSpPr>
            <p:spPr>
              <a:xfrm>
                <a:off x="1783744" y="3865816"/>
                <a:ext cx="43833" cy="51614"/>
              </a:xfrm>
              <a:custGeom>
                <a:avLst/>
                <a:gdLst/>
                <a:ahLst/>
                <a:cxnLst/>
                <a:rect l="0" t="0" r="0" b="0"/>
                <a:pathLst>
                  <a:path w="45005" h="52994">
                    <a:moveTo>
                      <a:pt x="44575" y="1630"/>
                    </a:moveTo>
                    <a:lnTo>
                      <a:pt x="43433" y="9989"/>
                    </a:lnTo>
                    <a:lnTo>
                      <a:pt x="45004" y="12689"/>
                    </a:lnTo>
                    <a:lnTo>
                      <a:pt x="44655" y="14061"/>
                    </a:lnTo>
                    <a:lnTo>
                      <a:pt x="40077" y="16566"/>
                    </a:lnTo>
                    <a:lnTo>
                      <a:pt x="35920" y="23016"/>
                    </a:lnTo>
                    <a:lnTo>
                      <a:pt x="36873" y="27711"/>
                    </a:lnTo>
                    <a:lnTo>
                      <a:pt x="28723" y="35514"/>
                    </a:lnTo>
                    <a:lnTo>
                      <a:pt x="29314" y="48595"/>
                    </a:lnTo>
                    <a:lnTo>
                      <a:pt x="25681" y="48470"/>
                    </a:lnTo>
                    <a:lnTo>
                      <a:pt x="18185" y="52993"/>
                    </a:lnTo>
                    <a:lnTo>
                      <a:pt x="14703" y="48524"/>
                    </a:lnTo>
                    <a:lnTo>
                      <a:pt x="14283" y="44794"/>
                    </a:lnTo>
                    <a:lnTo>
                      <a:pt x="12018" y="44280"/>
                    </a:lnTo>
                    <a:lnTo>
                      <a:pt x="10909" y="37334"/>
                    </a:lnTo>
                    <a:lnTo>
                      <a:pt x="7685" y="34463"/>
                    </a:lnTo>
                    <a:lnTo>
                      <a:pt x="6626" y="29426"/>
                    </a:lnTo>
                    <a:lnTo>
                      <a:pt x="0" y="23556"/>
                    </a:lnTo>
                    <a:lnTo>
                      <a:pt x="1383" y="20958"/>
                    </a:lnTo>
                    <a:lnTo>
                      <a:pt x="10898" y="16724"/>
                    </a:lnTo>
                    <a:lnTo>
                      <a:pt x="13659" y="13433"/>
                    </a:lnTo>
                    <a:lnTo>
                      <a:pt x="21509" y="12423"/>
                    </a:lnTo>
                    <a:lnTo>
                      <a:pt x="26415" y="9412"/>
                    </a:lnTo>
                    <a:lnTo>
                      <a:pt x="31200" y="9892"/>
                    </a:lnTo>
                    <a:lnTo>
                      <a:pt x="33319" y="1785"/>
                    </a:lnTo>
                    <a:lnTo>
                      <a:pt x="36948" y="0"/>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11" name="Freeform 134">
                <a:extLst>
                  <a:ext uri="{FF2B5EF4-FFF2-40B4-BE49-F238E27FC236}">
                    <a16:creationId xmlns:a16="http://schemas.microsoft.com/office/drawing/2014/main" id="{2D1BE051-348B-BD8E-F590-EDC082B57BCA}"/>
                  </a:ext>
                </a:extLst>
              </p:cNvPr>
              <p:cNvSpPr>
                <a:spLocks noChangeAspect="1"/>
              </p:cNvSpPr>
              <p:nvPr>
                <p:custDataLst>
                  <p:tags r:id="rId233"/>
                </p:custDataLst>
              </p:nvPr>
            </p:nvSpPr>
            <p:spPr>
              <a:xfrm>
                <a:off x="1361506" y="3729152"/>
                <a:ext cx="223398" cy="124178"/>
              </a:xfrm>
              <a:custGeom>
                <a:avLst/>
                <a:gdLst/>
                <a:ahLst/>
                <a:cxnLst/>
                <a:rect l="0" t="0" r="0" b="0"/>
                <a:pathLst>
                  <a:path w="229370" h="127497">
                    <a:moveTo>
                      <a:pt x="133576" y="11894"/>
                    </a:moveTo>
                    <a:lnTo>
                      <a:pt x="139688" y="9586"/>
                    </a:lnTo>
                    <a:lnTo>
                      <a:pt x="151636" y="13530"/>
                    </a:lnTo>
                    <a:lnTo>
                      <a:pt x="151872" y="14828"/>
                    </a:lnTo>
                    <a:lnTo>
                      <a:pt x="147498" y="20967"/>
                    </a:lnTo>
                    <a:lnTo>
                      <a:pt x="147969" y="23554"/>
                    </a:lnTo>
                    <a:lnTo>
                      <a:pt x="162574" y="25717"/>
                    </a:lnTo>
                    <a:lnTo>
                      <a:pt x="162314" y="32942"/>
                    </a:lnTo>
                    <a:lnTo>
                      <a:pt x="165082" y="36177"/>
                    </a:lnTo>
                    <a:lnTo>
                      <a:pt x="162640" y="39339"/>
                    </a:lnTo>
                    <a:lnTo>
                      <a:pt x="164841" y="40635"/>
                    </a:lnTo>
                    <a:lnTo>
                      <a:pt x="172282" y="38691"/>
                    </a:lnTo>
                    <a:lnTo>
                      <a:pt x="181927" y="49507"/>
                    </a:lnTo>
                    <a:lnTo>
                      <a:pt x="183117" y="53506"/>
                    </a:lnTo>
                    <a:lnTo>
                      <a:pt x="191756" y="57053"/>
                    </a:lnTo>
                    <a:lnTo>
                      <a:pt x="196984" y="54230"/>
                    </a:lnTo>
                    <a:lnTo>
                      <a:pt x="204964" y="53999"/>
                    </a:lnTo>
                    <a:lnTo>
                      <a:pt x="209181" y="50497"/>
                    </a:lnTo>
                    <a:lnTo>
                      <a:pt x="215129" y="51551"/>
                    </a:lnTo>
                    <a:lnTo>
                      <a:pt x="220156" y="50104"/>
                    </a:lnTo>
                    <a:lnTo>
                      <a:pt x="225376" y="54914"/>
                    </a:lnTo>
                    <a:lnTo>
                      <a:pt x="224787" y="60323"/>
                    </a:lnTo>
                    <a:lnTo>
                      <a:pt x="228959" y="65218"/>
                    </a:lnTo>
                    <a:lnTo>
                      <a:pt x="229369" y="67887"/>
                    </a:lnTo>
                    <a:lnTo>
                      <a:pt x="228207" y="70499"/>
                    </a:lnTo>
                    <a:lnTo>
                      <a:pt x="221758" y="73143"/>
                    </a:lnTo>
                    <a:lnTo>
                      <a:pt x="216434" y="72994"/>
                    </a:lnTo>
                    <a:lnTo>
                      <a:pt x="212370" y="69703"/>
                    </a:lnTo>
                    <a:lnTo>
                      <a:pt x="206466" y="68750"/>
                    </a:lnTo>
                    <a:lnTo>
                      <a:pt x="201408" y="71892"/>
                    </a:lnTo>
                    <a:lnTo>
                      <a:pt x="187928" y="74060"/>
                    </a:lnTo>
                    <a:lnTo>
                      <a:pt x="181761" y="78304"/>
                    </a:lnTo>
                    <a:lnTo>
                      <a:pt x="160739" y="75698"/>
                    </a:lnTo>
                    <a:lnTo>
                      <a:pt x="152795" y="78461"/>
                    </a:lnTo>
                    <a:lnTo>
                      <a:pt x="146427" y="84066"/>
                    </a:lnTo>
                    <a:lnTo>
                      <a:pt x="143658" y="81787"/>
                    </a:lnTo>
                    <a:lnTo>
                      <a:pt x="137727" y="82517"/>
                    </a:lnTo>
                    <a:lnTo>
                      <a:pt x="132479" y="90840"/>
                    </a:lnTo>
                    <a:lnTo>
                      <a:pt x="118772" y="96457"/>
                    </a:lnTo>
                    <a:lnTo>
                      <a:pt x="112910" y="105361"/>
                    </a:lnTo>
                    <a:lnTo>
                      <a:pt x="107126" y="109818"/>
                    </a:lnTo>
                    <a:lnTo>
                      <a:pt x="106305" y="114459"/>
                    </a:lnTo>
                    <a:lnTo>
                      <a:pt x="101113" y="114893"/>
                    </a:lnTo>
                    <a:lnTo>
                      <a:pt x="97523" y="111084"/>
                    </a:lnTo>
                    <a:lnTo>
                      <a:pt x="91326" y="111890"/>
                    </a:lnTo>
                    <a:lnTo>
                      <a:pt x="83785" y="115592"/>
                    </a:lnTo>
                    <a:lnTo>
                      <a:pt x="83312" y="113329"/>
                    </a:lnTo>
                    <a:lnTo>
                      <a:pt x="80288" y="113477"/>
                    </a:lnTo>
                    <a:lnTo>
                      <a:pt x="68347" y="119671"/>
                    </a:lnTo>
                    <a:lnTo>
                      <a:pt x="59303" y="118593"/>
                    </a:lnTo>
                    <a:lnTo>
                      <a:pt x="49836" y="127496"/>
                    </a:lnTo>
                    <a:lnTo>
                      <a:pt x="46710" y="125788"/>
                    </a:lnTo>
                    <a:lnTo>
                      <a:pt x="46709" y="125768"/>
                    </a:lnTo>
                    <a:lnTo>
                      <a:pt x="46588" y="118293"/>
                    </a:lnTo>
                    <a:lnTo>
                      <a:pt x="44276" y="117538"/>
                    </a:lnTo>
                    <a:lnTo>
                      <a:pt x="40687" y="119850"/>
                    </a:lnTo>
                    <a:lnTo>
                      <a:pt x="36867" y="121434"/>
                    </a:lnTo>
                    <a:lnTo>
                      <a:pt x="33504" y="119879"/>
                    </a:lnTo>
                    <a:lnTo>
                      <a:pt x="26831" y="113031"/>
                    </a:lnTo>
                    <a:lnTo>
                      <a:pt x="23897" y="111066"/>
                    </a:lnTo>
                    <a:lnTo>
                      <a:pt x="22200" y="111474"/>
                    </a:lnTo>
                    <a:lnTo>
                      <a:pt x="18614" y="113881"/>
                    </a:lnTo>
                    <a:lnTo>
                      <a:pt x="16772" y="113685"/>
                    </a:lnTo>
                    <a:lnTo>
                      <a:pt x="15157" y="111684"/>
                    </a:lnTo>
                    <a:lnTo>
                      <a:pt x="13240" y="106713"/>
                    </a:lnTo>
                    <a:lnTo>
                      <a:pt x="11458" y="105392"/>
                    </a:lnTo>
                    <a:lnTo>
                      <a:pt x="7709" y="104064"/>
                    </a:lnTo>
                    <a:lnTo>
                      <a:pt x="4214" y="101446"/>
                    </a:lnTo>
                    <a:lnTo>
                      <a:pt x="2655" y="97388"/>
                    </a:lnTo>
                    <a:lnTo>
                      <a:pt x="4719" y="91761"/>
                    </a:lnTo>
                    <a:lnTo>
                      <a:pt x="3424" y="90926"/>
                    </a:lnTo>
                    <a:lnTo>
                      <a:pt x="0" y="87618"/>
                    </a:lnTo>
                    <a:lnTo>
                      <a:pt x="11266" y="82857"/>
                    </a:lnTo>
                    <a:lnTo>
                      <a:pt x="19282" y="75708"/>
                    </a:lnTo>
                    <a:lnTo>
                      <a:pt x="22299" y="76056"/>
                    </a:lnTo>
                    <a:lnTo>
                      <a:pt x="28245" y="81971"/>
                    </a:lnTo>
                    <a:lnTo>
                      <a:pt x="35290" y="86290"/>
                    </a:lnTo>
                    <a:lnTo>
                      <a:pt x="42792" y="86200"/>
                    </a:lnTo>
                    <a:lnTo>
                      <a:pt x="50617" y="82308"/>
                    </a:lnTo>
                    <a:lnTo>
                      <a:pt x="58737" y="75186"/>
                    </a:lnTo>
                    <a:lnTo>
                      <a:pt x="62802" y="73096"/>
                    </a:lnTo>
                    <a:lnTo>
                      <a:pt x="70228" y="75661"/>
                    </a:lnTo>
                    <a:lnTo>
                      <a:pt x="76949" y="74005"/>
                    </a:lnTo>
                    <a:lnTo>
                      <a:pt x="80942" y="76557"/>
                    </a:lnTo>
                    <a:lnTo>
                      <a:pt x="83245" y="76811"/>
                    </a:lnTo>
                    <a:lnTo>
                      <a:pt x="86197" y="75720"/>
                    </a:lnTo>
                    <a:lnTo>
                      <a:pt x="86256" y="74912"/>
                    </a:lnTo>
                    <a:lnTo>
                      <a:pt x="85150" y="73540"/>
                    </a:lnTo>
                    <a:lnTo>
                      <a:pt x="84590" y="70639"/>
                    </a:lnTo>
                    <a:lnTo>
                      <a:pt x="85582" y="61161"/>
                    </a:lnTo>
                    <a:lnTo>
                      <a:pt x="87283" y="56097"/>
                    </a:lnTo>
                    <a:lnTo>
                      <a:pt x="104388" y="37115"/>
                    </a:lnTo>
                    <a:lnTo>
                      <a:pt x="108239" y="30551"/>
                    </a:lnTo>
                    <a:lnTo>
                      <a:pt x="110978" y="22500"/>
                    </a:lnTo>
                    <a:lnTo>
                      <a:pt x="111207" y="18516"/>
                    </a:lnTo>
                    <a:lnTo>
                      <a:pt x="110835" y="8761"/>
                    </a:lnTo>
                    <a:lnTo>
                      <a:pt x="111910" y="4293"/>
                    </a:lnTo>
                    <a:lnTo>
                      <a:pt x="113857" y="2051"/>
                    </a:lnTo>
                    <a:lnTo>
                      <a:pt x="118308" y="486"/>
                    </a:lnTo>
                    <a:lnTo>
                      <a:pt x="118641" y="0"/>
                    </a:lnTo>
                    <a:lnTo>
                      <a:pt x="118850" y="260"/>
                    </a:lnTo>
                    <a:lnTo>
                      <a:pt x="123752" y="3150"/>
                    </a:lnTo>
                    <a:lnTo>
                      <a:pt x="127239" y="10588"/>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12" name="Freeform 135">
                <a:extLst>
                  <a:ext uri="{FF2B5EF4-FFF2-40B4-BE49-F238E27FC236}">
                    <a16:creationId xmlns:a16="http://schemas.microsoft.com/office/drawing/2014/main" id="{D8A00105-9110-3E4D-EFD8-DCEF9AC17DE8}"/>
                  </a:ext>
                </a:extLst>
              </p:cNvPr>
              <p:cNvSpPr>
                <a:spLocks noChangeAspect="1"/>
              </p:cNvSpPr>
              <p:nvPr>
                <p:custDataLst>
                  <p:tags r:id="rId234"/>
                </p:custDataLst>
              </p:nvPr>
            </p:nvSpPr>
            <p:spPr>
              <a:xfrm>
                <a:off x="1303207" y="3851665"/>
                <a:ext cx="217789" cy="187325"/>
              </a:xfrm>
              <a:custGeom>
                <a:avLst/>
                <a:gdLst/>
                <a:ahLst/>
                <a:cxnLst/>
                <a:rect l="0" t="0" r="0" b="0"/>
                <a:pathLst>
                  <a:path w="223611" h="192333">
                    <a:moveTo>
                      <a:pt x="109693" y="1708"/>
                    </a:moveTo>
                    <a:lnTo>
                      <a:pt x="114340" y="10489"/>
                    </a:lnTo>
                    <a:lnTo>
                      <a:pt x="121292" y="10484"/>
                    </a:lnTo>
                    <a:lnTo>
                      <a:pt x="129973" y="18029"/>
                    </a:lnTo>
                    <a:lnTo>
                      <a:pt x="140808" y="17178"/>
                    </a:lnTo>
                    <a:lnTo>
                      <a:pt x="143854" y="22036"/>
                    </a:lnTo>
                    <a:lnTo>
                      <a:pt x="143757" y="24583"/>
                    </a:lnTo>
                    <a:lnTo>
                      <a:pt x="137605" y="25506"/>
                    </a:lnTo>
                    <a:lnTo>
                      <a:pt x="132883" y="39570"/>
                    </a:lnTo>
                    <a:lnTo>
                      <a:pt x="134884" y="43409"/>
                    </a:lnTo>
                    <a:lnTo>
                      <a:pt x="132948" y="47983"/>
                    </a:lnTo>
                    <a:lnTo>
                      <a:pt x="135966" y="58589"/>
                    </a:lnTo>
                    <a:lnTo>
                      <a:pt x="135469" y="68976"/>
                    </a:lnTo>
                    <a:lnTo>
                      <a:pt x="137909" y="69654"/>
                    </a:lnTo>
                    <a:lnTo>
                      <a:pt x="140449" y="74798"/>
                    </a:lnTo>
                    <a:lnTo>
                      <a:pt x="146284" y="78860"/>
                    </a:lnTo>
                    <a:lnTo>
                      <a:pt x="156034" y="72838"/>
                    </a:lnTo>
                    <a:lnTo>
                      <a:pt x="161817" y="72201"/>
                    </a:lnTo>
                    <a:lnTo>
                      <a:pt x="166381" y="68111"/>
                    </a:lnTo>
                    <a:lnTo>
                      <a:pt x="178707" y="71046"/>
                    </a:lnTo>
                    <a:lnTo>
                      <a:pt x="179603" y="75982"/>
                    </a:lnTo>
                    <a:lnTo>
                      <a:pt x="185841" y="81752"/>
                    </a:lnTo>
                    <a:lnTo>
                      <a:pt x="183436" y="89174"/>
                    </a:lnTo>
                    <a:lnTo>
                      <a:pt x="184600" y="94026"/>
                    </a:lnTo>
                    <a:lnTo>
                      <a:pt x="188060" y="96236"/>
                    </a:lnTo>
                    <a:lnTo>
                      <a:pt x="194354" y="95634"/>
                    </a:lnTo>
                    <a:lnTo>
                      <a:pt x="196536" y="97654"/>
                    </a:lnTo>
                    <a:lnTo>
                      <a:pt x="201298" y="111326"/>
                    </a:lnTo>
                    <a:lnTo>
                      <a:pt x="205926" y="114012"/>
                    </a:lnTo>
                    <a:lnTo>
                      <a:pt x="215443" y="108790"/>
                    </a:lnTo>
                    <a:lnTo>
                      <a:pt x="215557" y="109123"/>
                    </a:lnTo>
                    <a:lnTo>
                      <a:pt x="215604" y="109257"/>
                    </a:lnTo>
                    <a:lnTo>
                      <a:pt x="214921" y="109592"/>
                    </a:lnTo>
                    <a:lnTo>
                      <a:pt x="214490" y="111388"/>
                    </a:lnTo>
                    <a:lnTo>
                      <a:pt x="214918" y="113746"/>
                    </a:lnTo>
                    <a:lnTo>
                      <a:pt x="215665" y="115723"/>
                    </a:lnTo>
                    <a:lnTo>
                      <a:pt x="216220" y="116347"/>
                    </a:lnTo>
                    <a:lnTo>
                      <a:pt x="216288" y="116588"/>
                    </a:lnTo>
                    <a:lnTo>
                      <a:pt x="214373" y="120026"/>
                    </a:lnTo>
                    <a:lnTo>
                      <a:pt x="214089" y="119952"/>
                    </a:lnTo>
                    <a:lnTo>
                      <a:pt x="212786" y="121444"/>
                    </a:lnTo>
                    <a:lnTo>
                      <a:pt x="211148" y="120800"/>
                    </a:lnTo>
                    <a:lnTo>
                      <a:pt x="210064" y="121019"/>
                    </a:lnTo>
                    <a:lnTo>
                      <a:pt x="210383" y="125151"/>
                    </a:lnTo>
                    <a:lnTo>
                      <a:pt x="217652" y="129280"/>
                    </a:lnTo>
                    <a:lnTo>
                      <a:pt x="216034" y="134513"/>
                    </a:lnTo>
                    <a:lnTo>
                      <a:pt x="223610" y="141682"/>
                    </a:lnTo>
                    <a:lnTo>
                      <a:pt x="220292" y="145876"/>
                    </a:lnTo>
                    <a:lnTo>
                      <a:pt x="221388" y="152224"/>
                    </a:lnTo>
                    <a:lnTo>
                      <a:pt x="216450" y="155085"/>
                    </a:lnTo>
                    <a:lnTo>
                      <a:pt x="204055" y="157679"/>
                    </a:lnTo>
                    <a:lnTo>
                      <a:pt x="201410" y="159534"/>
                    </a:lnTo>
                    <a:lnTo>
                      <a:pt x="199475" y="161306"/>
                    </a:lnTo>
                    <a:lnTo>
                      <a:pt x="197908" y="163733"/>
                    </a:lnTo>
                    <a:lnTo>
                      <a:pt x="196444" y="167470"/>
                    </a:lnTo>
                    <a:lnTo>
                      <a:pt x="197434" y="169047"/>
                    </a:lnTo>
                    <a:lnTo>
                      <a:pt x="199415" y="170936"/>
                    </a:lnTo>
                    <a:lnTo>
                      <a:pt x="199582" y="172962"/>
                    </a:lnTo>
                    <a:lnTo>
                      <a:pt x="195087" y="174951"/>
                    </a:lnTo>
                    <a:lnTo>
                      <a:pt x="195884" y="178813"/>
                    </a:lnTo>
                    <a:lnTo>
                      <a:pt x="195083" y="182664"/>
                    </a:lnTo>
                    <a:lnTo>
                      <a:pt x="193285" y="185910"/>
                    </a:lnTo>
                    <a:lnTo>
                      <a:pt x="191078" y="188121"/>
                    </a:lnTo>
                    <a:lnTo>
                      <a:pt x="187919" y="189530"/>
                    </a:lnTo>
                    <a:lnTo>
                      <a:pt x="187203" y="188007"/>
                    </a:lnTo>
                    <a:lnTo>
                      <a:pt x="187625" y="184549"/>
                    </a:lnTo>
                    <a:lnTo>
                      <a:pt x="187843" y="180150"/>
                    </a:lnTo>
                    <a:lnTo>
                      <a:pt x="188341" y="176776"/>
                    </a:lnTo>
                    <a:lnTo>
                      <a:pt x="189139" y="174050"/>
                    </a:lnTo>
                    <a:lnTo>
                      <a:pt x="188430" y="173062"/>
                    </a:lnTo>
                    <a:lnTo>
                      <a:pt x="181409" y="176708"/>
                    </a:lnTo>
                    <a:lnTo>
                      <a:pt x="179695" y="178589"/>
                    </a:lnTo>
                    <a:lnTo>
                      <a:pt x="179554" y="181134"/>
                    </a:lnTo>
                    <a:lnTo>
                      <a:pt x="184067" y="192126"/>
                    </a:lnTo>
                    <a:lnTo>
                      <a:pt x="182680" y="192202"/>
                    </a:lnTo>
                    <a:lnTo>
                      <a:pt x="180324" y="192332"/>
                    </a:lnTo>
                    <a:lnTo>
                      <a:pt x="169681" y="188017"/>
                    </a:lnTo>
                    <a:lnTo>
                      <a:pt x="166343" y="188640"/>
                    </a:lnTo>
                    <a:lnTo>
                      <a:pt x="165366" y="188307"/>
                    </a:lnTo>
                    <a:lnTo>
                      <a:pt x="165020" y="186626"/>
                    </a:lnTo>
                    <a:lnTo>
                      <a:pt x="163569" y="183180"/>
                    </a:lnTo>
                    <a:lnTo>
                      <a:pt x="161751" y="182544"/>
                    </a:lnTo>
                    <a:lnTo>
                      <a:pt x="159490" y="182790"/>
                    </a:lnTo>
                    <a:lnTo>
                      <a:pt x="158737" y="182173"/>
                    </a:lnTo>
                    <a:lnTo>
                      <a:pt x="161408" y="178983"/>
                    </a:lnTo>
                    <a:lnTo>
                      <a:pt x="155859" y="178191"/>
                    </a:lnTo>
                    <a:lnTo>
                      <a:pt x="146246" y="185015"/>
                    </a:lnTo>
                    <a:lnTo>
                      <a:pt x="141374" y="185702"/>
                    </a:lnTo>
                    <a:lnTo>
                      <a:pt x="117859" y="178657"/>
                    </a:lnTo>
                    <a:lnTo>
                      <a:pt x="115342" y="176567"/>
                    </a:lnTo>
                    <a:lnTo>
                      <a:pt x="114805" y="173330"/>
                    </a:lnTo>
                    <a:lnTo>
                      <a:pt x="114637" y="169936"/>
                    </a:lnTo>
                    <a:lnTo>
                      <a:pt x="113224" y="167418"/>
                    </a:lnTo>
                    <a:lnTo>
                      <a:pt x="97870" y="154298"/>
                    </a:lnTo>
                    <a:lnTo>
                      <a:pt x="93938" y="153306"/>
                    </a:lnTo>
                    <a:lnTo>
                      <a:pt x="80617" y="153372"/>
                    </a:lnTo>
                    <a:lnTo>
                      <a:pt x="68481" y="150949"/>
                    </a:lnTo>
                    <a:lnTo>
                      <a:pt x="64306" y="147974"/>
                    </a:lnTo>
                    <a:lnTo>
                      <a:pt x="61729" y="141894"/>
                    </a:lnTo>
                    <a:lnTo>
                      <a:pt x="61908" y="124983"/>
                    </a:lnTo>
                    <a:lnTo>
                      <a:pt x="60821" y="118800"/>
                    </a:lnTo>
                    <a:lnTo>
                      <a:pt x="57708" y="116087"/>
                    </a:lnTo>
                    <a:lnTo>
                      <a:pt x="49083" y="114207"/>
                    </a:lnTo>
                    <a:lnTo>
                      <a:pt x="47356" y="113398"/>
                    </a:lnTo>
                    <a:lnTo>
                      <a:pt x="45463" y="112510"/>
                    </a:lnTo>
                    <a:lnTo>
                      <a:pt x="41914" y="107945"/>
                    </a:lnTo>
                    <a:lnTo>
                      <a:pt x="39373" y="102277"/>
                    </a:lnTo>
                    <a:lnTo>
                      <a:pt x="35448" y="90008"/>
                    </a:lnTo>
                    <a:lnTo>
                      <a:pt x="28976" y="89542"/>
                    </a:lnTo>
                    <a:lnTo>
                      <a:pt x="23589" y="86177"/>
                    </a:lnTo>
                    <a:lnTo>
                      <a:pt x="18741" y="80373"/>
                    </a:lnTo>
                    <a:lnTo>
                      <a:pt x="10205" y="66380"/>
                    </a:lnTo>
                    <a:lnTo>
                      <a:pt x="5295" y="60111"/>
                    </a:lnTo>
                    <a:lnTo>
                      <a:pt x="3361" y="56793"/>
                    </a:lnTo>
                    <a:lnTo>
                      <a:pt x="3104" y="53687"/>
                    </a:lnTo>
                    <a:lnTo>
                      <a:pt x="2627" y="50706"/>
                    </a:lnTo>
                    <a:lnTo>
                      <a:pt x="0" y="47874"/>
                    </a:lnTo>
                    <a:lnTo>
                      <a:pt x="1235" y="47292"/>
                    </a:lnTo>
                    <a:lnTo>
                      <a:pt x="5440" y="45312"/>
                    </a:lnTo>
                    <a:lnTo>
                      <a:pt x="17440" y="42595"/>
                    </a:lnTo>
                    <a:lnTo>
                      <a:pt x="23102" y="39726"/>
                    </a:lnTo>
                    <a:lnTo>
                      <a:pt x="25800" y="37510"/>
                    </a:lnTo>
                    <a:lnTo>
                      <a:pt x="27039" y="35969"/>
                    </a:lnTo>
                    <a:lnTo>
                      <a:pt x="30130" y="30552"/>
                    </a:lnTo>
                    <a:lnTo>
                      <a:pt x="35055" y="24186"/>
                    </a:lnTo>
                    <a:lnTo>
                      <a:pt x="40061" y="19250"/>
                    </a:lnTo>
                    <a:lnTo>
                      <a:pt x="56566" y="24300"/>
                    </a:lnTo>
                    <a:lnTo>
                      <a:pt x="65231" y="25212"/>
                    </a:lnTo>
                    <a:lnTo>
                      <a:pt x="73914" y="22399"/>
                    </a:lnTo>
                    <a:lnTo>
                      <a:pt x="97239" y="2702"/>
                    </a:lnTo>
                    <a:lnTo>
                      <a:pt x="106570" y="211"/>
                    </a:lnTo>
                    <a:lnTo>
                      <a:pt x="106567" y="0"/>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13" name="Freeform 136">
                <a:extLst>
                  <a:ext uri="{FF2B5EF4-FFF2-40B4-BE49-F238E27FC236}">
                    <a16:creationId xmlns:a16="http://schemas.microsoft.com/office/drawing/2014/main" id="{2C231DF7-1B8C-A820-F047-1A3CA9743F1B}"/>
                  </a:ext>
                </a:extLst>
              </p:cNvPr>
              <p:cNvSpPr>
                <a:spLocks noChangeAspect="1"/>
              </p:cNvSpPr>
              <p:nvPr>
                <p:custDataLst>
                  <p:tags r:id="rId235"/>
                </p:custDataLst>
              </p:nvPr>
            </p:nvSpPr>
            <p:spPr>
              <a:xfrm>
                <a:off x="1811719" y="3847703"/>
                <a:ext cx="84315" cy="124656"/>
              </a:xfrm>
              <a:custGeom>
                <a:avLst/>
                <a:gdLst/>
                <a:ahLst/>
                <a:cxnLst/>
                <a:rect l="0" t="0" r="0" b="0"/>
                <a:pathLst>
                  <a:path w="86569" h="127988">
                    <a:moveTo>
                      <a:pt x="40098" y="78893"/>
                    </a:moveTo>
                    <a:lnTo>
                      <a:pt x="40096" y="78896"/>
                    </a:lnTo>
                    <a:lnTo>
                      <a:pt x="38524" y="81029"/>
                    </a:lnTo>
                    <a:lnTo>
                      <a:pt x="38509" y="80950"/>
                    </a:lnTo>
                    <a:lnTo>
                      <a:pt x="22836" y="84930"/>
                    </a:lnTo>
                    <a:lnTo>
                      <a:pt x="19386" y="83117"/>
                    </a:lnTo>
                    <a:lnTo>
                      <a:pt x="18081" y="79676"/>
                    </a:lnTo>
                    <a:lnTo>
                      <a:pt x="6435" y="77162"/>
                    </a:lnTo>
                    <a:lnTo>
                      <a:pt x="591" y="67192"/>
                    </a:lnTo>
                    <a:lnTo>
                      <a:pt x="0" y="54111"/>
                    </a:lnTo>
                    <a:lnTo>
                      <a:pt x="8150" y="46308"/>
                    </a:lnTo>
                    <a:lnTo>
                      <a:pt x="7197" y="41613"/>
                    </a:lnTo>
                    <a:lnTo>
                      <a:pt x="11354" y="35163"/>
                    </a:lnTo>
                    <a:lnTo>
                      <a:pt x="15932" y="32658"/>
                    </a:lnTo>
                    <a:lnTo>
                      <a:pt x="16281" y="31286"/>
                    </a:lnTo>
                    <a:lnTo>
                      <a:pt x="14710" y="28586"/>
                    </a:lnTo>
                    <a:lnTo>
                      <a:pt x="15852" y="20227"/>
                    </a:lnTo>
                    <a:lnTo>
                      <a:pt x="22227" y="15459"/>
                    </a:lnTo>
                    <a:lnTo>
                      <a:pt x="28725" y="19593"/>
                    </a:lnTo>
                    <a:lnTo>
                      <a:pt x="39539" y="19833"/>
                    </a:lnTo>
                    <a:lnTo>
                      <a:pt x="47171" y="15726"/>
                    </a:lnTo>
                    <a:lnTo>
                      <a:pt x="49874" y="9864"/>
                    </a:lnTo>
                    <a:lnTo>
                      <a:pt x="56041" y="7071"/>
                    </a:lnTo>
                    <a:lnTo>
                      <a:pt x="55823" y="2077"/>
                    </a:lnTo>
                    <a:lnTo>
                      <a:pt x="57388" y="1324"/>
                    </a:lnTo>
                    <a:lnTo>
                      <a:pt x="58965" y="9"/>
                    </a:lnTo>
                    <a:lnTo>
                      <a:pt x="58975" y="0"/>
                    </a:lnTo>
                    <a:lnTo>
                      <a:pt x="60687" y="3687"/>
                    </a:lnTo>
                    <a:lnTo>
                      <a:pt x="62771" y="4964"/>
                    </a:lnTo>
                    <a:lnTo>
                      <a:pt x="65065" y="5859"/>
                    </a:lnTo>
                    <a:lnTo>
                      <a:pt x="65736" y="8087"/>
                    </a:lnTo>
                    <a:lnTo>
                      <a:pt x="65747" y="11323"/>
                    </a:lnTo>
                    <a:lnTo>
                      <a:pt x="66223" y="15258"/>
                    </a:lnTo>
                    <a:lnTo>
                      <a:pt x="69296" y="28760"/>
                    </a:lnTo>
                    <a:lnTo>
                      <a:pt x="71753" y="34340"/>
                    </a:lnTo>
                    <a:lnTo>
                      <a:pt x="75417" y="36656"/>
                    </a:lnTo>
                    <a:lnTo>
                      <a:pt x="76829" y="39841"/>
                    </a:lnTo>
                    <a:lnTo>
                      <a:pt x="77724" y="54924"/>
                    </a:lnTo>
                    <a:lnTo>
                      <a:pt x="78517" y="60237"/>
                    </a:lnTo>
                    <a:lnTo>
                      <a:pt x="85198" y="71287"/>
                    </a:lnTo>
                    <a:lnTo>
                      <a:pt x="86568" y="72353"/>
                    </a:lnTo>
                    <a:lnTo>
                      <a:pt x="84956" y="75947"/>
                    </a:lnTo>
                    <a:lnTo>
                      <a:pt x="85131" y="78038"/>
                    </a:lnTo>
                    <a:lnTo>
                      <a:pt x="85765" y="79564"/>
                    </a:lnTo>
                    <a:lnTo>
                      <a:pt x="85627" y="81566"/>
                    </a:lnTo>
                    <a:lnTo>
                      <a:pt x="84449" y="83866"/>
                    </a:lnTo>
                    <a:lnTo>
                      <a:pt x="79973" y="90426"/>
                    </a:lnTo>
                    <a:lnTo>
                      <a:pt x="78473" y="95033"/>
                    </a:lnTo>
                    <a:lnTo>
                      <a:pt x="79818" y="101404"/>
                    </a:lnTo>
                    <a:lnTo>
                      <a:pt x="78793" y="107721"/>
                    </a:lnTo>
                    <a:lnTo>
                      <a:pt x="76554" y="110610"/>
                    </a:lnTo>
                    <a:lnTo>
                      <a:pt x="73555" y="113105"/>
                    </a:lnTo>
                    <a:lnTo>
                      <a:pt x="72325" y="116133"/>
                    </a:lnTo>
                    <a:lnTo>
                      <a:pt x="75380" y="120423"/>
                    </a:lnTo>
                    <a:lnTo>
                      <a:pt x="72047" y="122192"/>
                    </a:lnTo>
                    <a:lnTo>
                      <a:pt x="69117" y="127472"/>
                    </a:lnTo>
                    <a:lnTo>
                      <a:pt x="66037" y="127987"/>
                    </a:lnTo>
                    <a:lnTo>
                      <a:pt x="63474" y="125157"/>
                    </a:lnTo>
                    <a:lnTo>
                      <a:pt x="61560" y="119748"/>
                    </a:lnTo>
                    <a:lnTo>
                      <a:pt x="59533" y="112111"/>
                    </a:lnTo>
                    <a:lnTo>
                      <a:pt x="56931" y="110678"/>
                    </a:lnTo>
                    <a:lnTo>
                      <a:pt x="54700" y="107219"/>
                    </a:lnTo>
                    <a:lnTo>
                      <a:pt x="53239" y="102865"/>
                    </a:lnTo>
                    <a:lnTo>
                      <a:pt x="52970" y="98642"/>
                    </a:lnTo>
                    <a:lnTo>
                      <a:pt x="54609" y="94180"/>
                    </a:lnTo>
                    <a:lnTo>
                      <a:pt x="59916" y="87761"/>
                    </a:lnTo>
                    <a:lnTo>
                      <a:pt x="61200" y="82060"/>
                    </a:lnTo>
                    <a:lnTo>
                      <a:pt x="60747" y="70099"/>
                    </a:lnTo>
                    <a:lnTo>
                      <a:pt x="58647" y="61308"/>
                    </a:lnTo>
                    <a:lnTo>
                      <a:pt x="55013" y="54663"/>
                    </a:lnTo>
                    <a:lnTo>
                      <a:pt x="40061" y="39371"/>
                    </a:lnTo>
                    <a:lnTo>
                      <a:pt x="34198" y="35731"/>
                    </a:lnTo>
                    <a:lnTo>
                      <a:pt x="27544" y="35173"/>
                    </a:lnTo>
                    <a:lnTo>
                      <a:pt x="27459" y="37816"/>
                    </a:lnTo>
                    <a:lnTo>
                      <a:pt x="28961" y="41566"/>
                    </a:lnTo>
                    <a:lnTo>
                      <a:pt x="28226" y="45323"/>
                    </a:lnTo>
                    <a:lnTo>
                      <a:pt x="26209" y="48525"/>
                    </a:lnTo>
                    <a:lnTo>
                      <a:pt x="24007" y="50740"/>
                    </a:lnTo>
                    <a:lnTo>
                      <a:pt x="27131" y="50981"/>
                    </a:lnTo>
                    <a:lnTo>
                      <a:pt x="29540" y="52693"/>
                    </a:lnTo>
                    <a:lnTo>
                      <a:pt x="31450" y="54747"/>
                    </a:lnTo>
                    <a:lnTo>
                      <a:pt x="33062" y="56012"/>
                    </a:lnTo>
                    <a:lnTo>
                      <a:pt x="41267" y="56895"/>
                    </a:lnTo>
                    <a:lnTo>
                      <a:pt x="43714" y="59182"/>
                    </a:lnTo>
                    <a:lnTo>
                      <a:pt x="40054" y="60451"/>
                    </a:lnTo>
                    <a:lnTo>
                      <a:pt x="35144" y="61228"/>
                    </a:lnTo>
                    <a:lnTo>
                      <a:pt x="33672" y="62907"/>
                    </a:lnTo>
                    <a:lnTo>
                      <a:pt x="40283" y="66914"/>
                    </a:lnTo>
                    <a:lnTo>
                      <a:pt x="39073" y="71480"/>
                    </a:lnTo>
                    <a:lnTo>
                      <a:pt x="38969" y="75911"/>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14" name="Freeform 224">
                <a:extLst>
                  <a:ext uri="{FF2B5EF4-FFF2-40B4-BE49-F238E27FC236}">
                    <a16:creationId xmlns:a16="http://schemas.microsoft.com/office/drawing/2014/main" id="{7034BAA2-3EA7-084E-8733-409DE5CB48A6}"/>
                  </a:ext>
                </a:extLst>
              </p:cNvPr>
              <p:cNvSpPr>
                <a:spLocks noChangeAspect="1"/>
              </p:cNvSpPr>
              <p:nvPr>
                <p:custDataLst>
                  <p:tags r:id="rId236"/>
                </p:custDataLst>
              </p:nvPr>
            </p:nvSpPr>
            <p:spPr>
              <a:xfrm>
                <a:off x="1667350" y="3604926"/>
                <a:ext cx="117540" cy="123171"/>
              </a:xfrm>
              <a:custGeom>
                <a:avLst/>
                <a:gdLst/>
                <a:ahLst/>
                <a:cxnLst/>
                <a:rect l="l" t="t" r="r" b="b"/>
                <a:pathLst>
                  <a:path w="120682" h="126464">
                    <a:moveTo>
                      <a:pt x="15669" y="21740"/>
                    </a:moveTo>
                    <a:lnTo>
                      <a:pt x="23278" y="26911"/>
                    </a:lnTo>
                    <a:lnTo>
                      <a:pt x="28453" y="28721"/>
                    </a:lnTo>
                    <a:lnTo>
                      <a:pt x="36905" y="23587"/>
                    </a:lnTo>
                    <a:lnTo>
                      <a:pt x="42346" y="25201"/>
                    </a:lnTo>
                    <a:lnTo>
                      <a:pt x="62975" y="38190"/>
                    </a:lnTo>
                    <a:lnTo>
                      <a:pt x="66428" y="39311"/>
                    </a:lnTo>
                    <a:lnTo>
                      <a:pt x="71290" y="38712"/>
                    </a:lnTo>
                    <a:lnTo>
                      <a:pt x="79727" y="35484"/>
                    </a:lnTo>
                    <a:lnTo>
                      <a:pt x="84014" y="34812"/>
                    </a:lnTo>
                    <a:lnTo>
                      <a:pt x="92487" y="36697"/>
                    </a:lnTo>
                    <a:lnTo>
                      <a:pt x="96732" y="38947"/>
                    </a:lnTo>
                    <a:lnTo>
                      <a:pt x="98493" y="41876"/>
                    </a:lnTo>
                    <a:lnTo>
                      <a:pt x="100236" y="42970"/>
                    </a:lnTo>
                    <a:lnTo>
                      <a:pt x="107956" y="52318"/>
                    </a:lnTo>
                    <a:lnTo>
                      <a:pt x="110013" y="56456"/>
                    </a:lnTo>
                    <a:lnTo>
                      <a:pt x="108441" y="77763"/>
                    </a:lnTo>
                    <a:lnTo>
                      <a:pt x="106722" y="83969"/>
                    </a:lnTo>
                    <a:lnTo>
                      <a:pt x="103212" y="92069"/>
                    </a:lnTo>
                    <a:lnTo>
                      <a:pt x="104772" y="95566"/>
                    </a:lnTo>
                    <a:lnTo>
                      <a:pt x="108897" y="96297"/>
                    </a:lnTo>
                    <a:lnTo>
                      <a:pt x="112999" y="96200"/>
                    </a:lnTo>
                    <a:lnTo>
                      <a:pt x="115857" y="96726"/>
                    </a:lnTo>
                    <a:lnTo>
                      <a:pt x="119053" y="98260"/>
                    </a:lnTo>
                    <a:lnTo>
                      <a:pt x="120682" y="99781"/>
                    </a:lnTo>
                    <a:lnTo>
                      <a:pt x="120666" y="99798"/>
                    </a:lnTo>
                    <a:lnTo>
                      <a:pt x="120266" y="100239"/>
                    </a:lnTo>
                    <a:lnTo>
                      <a:pt x="113664" y="107663"/>
                    </a:lnTo>
                    <a:lnTo>
                      <a:pt x="109681" y="108356"/>
                    </a:lnTo>
                    <a:lnTo>
                      <a:pt x="107718" y="112106"/>
                    </a:lnTo>
                    <a:lnTo>
                      <a:pt x="93227" y="125055"/>
                    </a:lnTo>
                    <a:lnTo>
                      <a:pt x="88224" y="126464"/>
                    </a:lnTo>
                    <a:lnTo>
                      <a:pt x="84814" y="124937"/>
                    </a:lnTo>
                    <a:lnTo>
                      <a:pt x="80720" y="118720"/>
                    </a:lnTo>
                    <a:lnTo>
                      <a:pt x="79074" y="111126"/>
                    </a:lnTo>
                    <a:lnTo>
                      <a:pt x="74003" y="108475"/>
                    </a:lnTo>
                    <a:lnTo>
                      <a:pt x="73569" y="105692"/>
                    </a:lnTo>
                    <a:lnTo>
                      <a:pt x="66478" y="92770"/>
                    </a:lnTo>
                    <a:lnTo>
                      <a:pt x="66616" y="87784"/>
                    </a:lnTo>
                    <a:lnTo>
                      <a:pt x="65564" y="84976"/>
                    </a:lnTo>
                    <a:lnTo>
                      <a:pt x="67724" y="81446"/>
                    </a:lnTo>
                    <a:lnTo>
                      <a:pt x="67636" y="72943"/>
                    </a:lnTo>
                    <a:lnTo>
                      <a:pt x="46392" y="78352"/>
                    </a:lnTo>
                    <a:lnTo>
                      <a:pt x="41609" y="76343"/>
                    </a:lnTo>
                    <a:lnTo>
                      <a:pt x="38108" y="68765"/>
                    </a:lnTo>
                    <a:lnTo>
                      <a:pt x="34866" y="65011"/>
                    </a:lnTo>
                    <a:lnTo>
                      <a:pt x="31410" y="64865"/>
                    </a:lnTo>
                    <a:lnTo>
                      <a:pt x="24678" y="69044"/>
                    </a:lnTo>
                    <a:lnTo>
                      <a:pt x="22241" y="64887"/>
                    </a:lnTo>
                    <a:lnTo>
                      <a:pt x="22523" y="62685"/>
                    </a:lnTo>
                    <a:lnTo>
                      <a:pt x="17173" y="64143"/>
                    </a:lnTo>
                    <a:lnTo>
                      <a:pt x="13595" y="59945"/>
                    </a:lnTo>
                    <a:lnTo>
                      <a:pt x="5420" y="59387"/>
                    </a:lnTo>
                    <a:lnTo>
                      <a:pt x="3214" y="53123"/>
                    </a:lnTo>
                    <a:lnTo>
                      <a:pt x="4151" y="44229"/>
                    </a:lnTo>
                    <a:lnTo>
                      <a:pt x="2441" y="40436"/>
                    </a:lnTo>
                    <a:lnTo>
                      <a:pt x="2966" y="35360"/>
                    </a:lnTo>
                    <a:lnTo>
                      <a:pt x="889" y="31768"/>
                    </a:lnTo>
                    <a:lnTo>
                      <a:pt x="935" y="31612"/>
                    </a:lnTo>
                    <a:lnTo>
                      <a:pt x="7" y="30049"/>
                    </a:lnTo>
                    <a:lnTo>
                      <a:pt x="0" y="30035"/>
                    </a:lnTo>
                    <a:lnTo>
                      <a:pt x="1604" y="28014"/>
                    </a:lnTo>
                    <a:lnTo>
                      <a:pt x="5981" y="24380"/>
                    </a:lnTo>
                    <a:lnTo>
                      <a:pt x="10819" y="22118"/>
                    </a:lnTo>
                    <a:close/>
                    <a:moveTo>
                      <a:pt x="68758" y="0"/>
                    </a:moveTo>
                    <a:lnTo>
                      <a:pt x="79901" y="2172"/>
                    </a:lnTo>
                    <a:lnTo>
                      <a:pt x="82138" y="3381"/>
                    </a:lnTo>
                    <a:lnTo>
                      <a:pt x="82507" y="7489"/>
                    </a:lnTo>
                    <a:lnTo>
                      <a:pt x="80964" y="12251"/>
                    </a:lnTo>
                    <a:lnTo>
                      <a:pt x="78732" y="16458"/>
                    </a:lnTo>
                    <a:lnTo>
                      <a:pt x="77059" y="18852"/>
                    </a:lnTo>
                    <a:lnTo>
                      <a:pt x="77518" y="15789"/>
                    </a:lnTo>
                    <a:lnTo>
                      <a:pt x="77679" y="13958"/>
                    </a:lnTo>
                    <a:lnTo>
                      <a:pt x="77972" y="12600"/>
                    </a:lnTo>
                    <a:lnTo>
                      <a:pt x="78866" y="10861"/>
                    </a:lnTo>
                    <a:lnTo>
                      <a:pt x="74013" y="6343"/>
                    </a:lnTo>
                    <a:lnTo>
                      <a:pt x="68657" y="5598"/>
                    </a:lnTo>
                    <a:lnTo>
                      <a:pt x="63246" y="6003"/>
                    </a:lnTo>
                    <a:lnTo>
                      <a:pt x="58288" y="5037"/>
                    </a:lnTo>
                    <a:lnTo>
                      <a:pt x="60779" y="2852"/>
                    </a:lnTo>
                    <a:lnTo>
                      <a:pt x="63253" y="1241"/>
                    </a:lnTo>
                    <a:lnTo>
                      <a:pt x="65869" y="289"/>
                    </a:lnTo>
                    <a:close/>
                  </a:path>
                </a:pathLst>
              </a:custGeom>
              <a:grpFill/>
              <a:ln w="3175" cap="rnd" cmpd="sng" algn="ctr">
                <a:solidFill>
                  <a:srgbClr val="AB5905">
                    <a:lumMod val="20000"/>
                    <a:lumOff val="80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grpSp>
        <p:grpSp>
          <p:nvGrpSpPr>
            <p:cNvPr id="43" name="Gruppieren 116">
              <a:extLst>
                <a:ext uri="{FF2B5EF4-FFF2-40B4-BE49-F238E27FC236}">
                  <a16:creationId xmlns:a16="http://schemas.microsoft.com/office/drawing/2014/main" id="{7DE4C729-1A5C-F3C0-3201-F8B0D0CA85A6}"/>
                </a:ext>
              </a:extLst>
            </p:cNvPr>
            <p:cNvGrpSpPr>
              <a:grpSpLocks/>
            </p:cNvGrpSpPr>
            <p:nvPr/>
          </p:nvGrpSpPr>
          <p:grpSpPr>
            <a:xfrm>
              <a:off x="6458134" y="2768404"/>
              <a:ext cx="995606" cy="1854775"/>
              <a:chOff x="3504983" y="1630313"/>
              <a:chExt cx="2205476" cy="4349372"/>
            </a:xfrm>
            <a:solidFill>
              <a:srgbClr val="FFFFFF">
                <a:lumMod val="85000"/>
              </a:srgbClr>
            </a:solidFill>
          </p:grpSpPr>
          <p:sp>
            <p:nvSpPr>
              <p:cNvPr id="44" name="Freeform 2">
                <a:extLst>
                  <a:ext uri="{FF2B5EF4-FFF2-40B4-BE49-F238E27FC236}">
                    <a16:creationId xmlns:a16="http://schemas.microsoft.com/office/drawing/2014/main" id="{29251356-58D9-707D-B039-14DA4446057F}"/>
                  </a:ext>
                </a:extLst>
              </p:cNvPr>
              <p:cNvSpPr>
                <a:spLocks noChangeAspect="1"/>
              </p:cNvSpPr>
              <p:nvPr>
                <p:custDataLst>
                  <p:tags r:id="rId2"/>
                </p:custDataLst>
              </p:nvPr>
            </p:nvSpPr>
            <p:spPr>
              <a:xfrm>
                <a:off x="4281684" y="3530353"/>
                <a:ext cx="139216" cy="229982"/>
              </a:xfrm>
              <a:custGeom>
                <a:avLst/>
                <a:gdLst/>
                <a:ahLst/>
                <a:cxnLst/>
                <a:rect l="0" t="0" r="0" b="0"/>
                <a:pathLst>
                  <a:path w="142937" h="236130">
                    <a:moveTo>
                      <a:pt x="80276" y="28958"/>
                    </a:moveTo>
                    <a:lnTo>
                      <a:pt x="80862" y="28808"/>
                    </a:lnTo>
                    <a:lnTo>
                      <a:pt x="83085" y="36278"/>
                    </a:lnTo>
                    <a:lnTo>
                      <a:pt x="87829" y="46088"/>
                    </a:lnTo>
                    <a:lnTo>
                      <a:pt x="91339" y="50710"/>
                    </a:lnTo>
                    <a:lnTo>
                      <a:pt x="95831" y="55359"/>
                    </a:lnTo>
                    <a:lnTo>
                      <a:pt x="97411" y="59385"/>
                    </a:lnTo>
                    <a:lnTo>
                      <a:pt x="97380" y="62268"/>
                    </a:lnTo>
                    <a:lnTo>
                      <a:pt x="95060" y="66252"/>
                    </a:lnTo>
                    <a:lnTo>
                      <a:pt x="89806" y="72513"/>
                    </a:lnTo>
                    <a:lnTo>
                      <a:pt x="88777" y="77103"/>
                    </a:lnTo>
                    <a:lnTo>
                      <a:pt x="91989" y="80003"/>
                    </a:lnTo>
                    <a:lnTo>
                      <a:pt x="96211" y="80049"/>
                    </a:lnTo>
                    <a:lnTo>
                      <a:pt x="101729" y="80108"/>
                    </a:lnTo>
                    <a:lnTo>
                      <a:pt x="113746" y="80228"/>
                    </a:lnTo>
                    <a:lnTo>
                      <a:pt x="120565" y="79719"/>
                    </a:lnTo>
                    <a:lnTo>
                      <a:pt x="124175" y="75723"/>
                    </a:lnTo>
                    <a:lnTo>
                      <a:pt x="128097" y="72894"/>
                    </a:lnTo>
                    <a:lnTo>
                      <a:pt x="132322" y="72357"/>
                    </a:lnTo>
                    <a:lnTo>
                      <a:pt x="136208" y="73535"/>
                    </a:lnTo>
                    <a:lnTo>
                      <a:pt x="140707" y="79317"/>
                    </a:lnTo>
                    <a:lnTo>
                      <a:pt x="142936" y="85070"/>
                    </a:lnTo>
                    <a:lnTo>
                      <a:pt x="142883" y="91952"/>
                    </a:lnTo>
                    <a:lnTo>
                      <a:pt x="142184" y="97693"/>
                    </a:lnTo>
                    <a:lnTo>
                      <a:pt x="139833" y="108002"/>
                    </a:lnTo>
                    <a:lnTo>
                      <a:pt x="137849" y="115333"/>
                    </a:lnTo>
                    <a:lnTo>
                      <a:pt x="134436" y="116559"/>
                    </a:lnTo>
                    <a:lnTo>
                      <a:pt x="132319" y="117923"/>
                    </a:lnTo>
                    <a:lnTo>
                      <a:pt x="134318" y="124092"/>
                    </a:lnTo>
                    <a:lnTo>
                      <a:pt x="133462" y="125249"/>
                    </a:lnTo>
                    <a:lnTo>
                      <a:pt x="118755" y="132772"/>
                    </a:lnTo>
                    <a:lnTo>
                      <a:pt x="113569" y="139942"/>
                    </a:lnTo>
                    <a:lnTo>
                      <a:pt x="112693" y="149383"/>
                    </a:lnTo>
                    <a:lnTo>
                      <a:pt x="115259" y="158639"/>
                    </a:lnTo>
                    <a:lnTo>
                      <a:pt x="109048" y="170250"/>
                    </a:lnTo>
                    <a:lnTo>
                      <a:pt x="109046" y="176629"/>
                    </a:lnTo>
                    <a:lnTo>
                      <a:pt x="104213" y="182623"/>
                    </a:lnTo>
                    <a:lnTo>
                      <a:pt x="100538" y="180787"/>
                    </a:lnTo>
                    <a:lnTo>
                      <a:pt x="96023" y="173413"/>
                    </a:lnTo>
                    <a:lnTo>
                      <a:pt x="92733" y="171146"/>
                    </a:lnTo>
                    <a:lnTo>
                      <a:pt x="83441" y="169976"/>
                    </a:lnTo>
                    <a:lnTo>
                      <a:pt x="82065" y="174205"/>
                    </a:lnTo>
                    <a:lnTo>
                      <a:pt x="80611" y="174623"/>
                    </a:lnTo>
                    <a:lnTo>
                      <a:pt x="71870" y="172384"/>
                    </a:lnTo>
                    <a:lnTo>
                      <a:pt x="69140" y="173200"/>
                    </a:lnTo>
                    <a:lnTo>
                      <a:pt x="63609" y="185552"/>
                    </a:lnTo>
                    <a:lnTo>
                      <a:pt x="57613" y="190253"/>
                    </a:lnTo>
                    <a:lnTo>
                      <a:pt x="56536" y="198414"/>
                    </a:lnTo>
                    <a:lnTo>
                      <a:pt x="51217" y="207467"/>
                    </a:lnTo>
                    <a:lnTo>
                      <a:pt x="49397" y="221029"/>
                    </a:lnTo>
                    <a:lnTo>
                      <a:pt x="45529" y="224273"/>
                    </a:lnTo>
                    <a:lnTo>
                      <a:pt x="45184" y="232010"/>
                    </a:lnTo>
                    <a:lnTo>
                      <a:pt x="41790" y="235794"/>
                    </a:lnTo>
                    <a:lnTo>
                      <a:pt x="39003" y="236129"/>
                    </a:lnTo>
                    <a:lnTo>
                      <a:pt x="37913" y="223316"/>
                    </a:lnTo>
                    <a:lnTo>
                      <a:pt x="35049" y="223274"/>
                    </a:lnTo>
                    <a:lnTo>
                      <a:pt x="33217" y="228974"/>
                    </a:lnTo>
                    <a:lnTo>
                      <a:pt x="31205" y="229971"/>
                    </a:lnTo>
                    <a:lnTo>
                      <a:pt x="31329" y="227327"/>
                    </a:lnTo>
                    <a:lnTo>
                      <a:pt x="34067" y="219913"/>
                    </a:lnTo>
                    <a:lnTo>
                      <a:pt x="36442" y="213638"/>
                    </a:lnTo>
                    <a:lnTo>
                      <a:pt x="36905" y="205023"/>
                    </a:lnTo>
                    <a:lnTo>
                      <a:pt x="37006" y="198142"/>
                    </a:lnTo>
                    <a:lnTo>
                      <a:pt x="37140" y="188951"/>
                    </a:lnTo>
                    <a:lnTo>
                      <a:pt x="36895" y="182638"/>
                    </a:lnTo>
                    <a:lnTo>
                      <a:pt x="35020" y="177436"/>
                    </a:lnTo>
                    <a:lnTo>
                      <a:pt x="30531" y="171633"/>
                    </a:lnTo>
                    <a:lnTo>
                      <a:pt x="24080" y="165797"/>
                    </a:lnTo>
                    <a:lnTo>
                      <a:pt x="17956" y="160527"/>
                    </a:lnTo>
                    <a:lnTo>
                      <a:pt x="14759" y="156466"/>
                    </a:lnTo>
                    <a:lnTo>
                      <a:pt x="12243" y="150679"/>
                    </a:lnTo>
                    <a:lnTo>
                      <a:pt x="8762" y="144302"/>
                    </a:lnTo>
                    <a:lnTo>
                      <a:pt x="8478" y="141434"/>
                    </a:lnTo>
                    <a:lnTo>
                      <a:pt x="10483" y="138583"/>
                    </a:lnTo>
                    <a:lnTo>
                      <a:pt x="16009" y="139829"/>
                    </a:lnTo>
                    <a:lnTo>
                      <a:pt x="22198" y="139927"/>
                    </a:lnTo>
                    <a:lnTo>
                      <a:pt x="28675" y="142900"/>
                    </a:lnTo>
                    <a:lnTo>
                      <a:pt x="32915" y="142964"/>
                    </a:lnTo>
                    <a:lnTo>
                      <a:pt x="33947" y="139543"/>
                    </a:lnTo>
                    <a:lnTo>
                      <a:pt x="34041" y="133224"/>
                    </a:lnTo>
                    <a:lnTo>
                      <a:pt x="33129" y="128608"/>
                    </a:lnTo>
                    <a:lnTo>
                      <a:pt x="30915" y="124566"/>
                    </a:lnTo>
                    <a:lnTo>
                      <a:pt x="29366" y="119942"/>
                    </a:lnTo>
                    <a:lnTo>
                      <a:pt x="30398" y="115376"/>
                    </a:lnTo>
                    <a:lnTo>
                      <a:pt x="35337" y="111993"/>
                    </a:lnTo>
                    <a:lnTo>
                      <a:pt x="40633" y="105752"/>
                    </a:lnTo>
                    <a:lnTo>
                      <a:pt x="41688" y="100029"/>
                    </a:lnTo>
                    <a:lnTo>
                      <a:pt x="42115" y="92571"/>
                    </a:lnTo>
                    <a:lnTo>
                      <a:pt x="38700" y="82183"/>
                    </a:lnTo>
                    <a:lnTo>
                      <a:pt x="28376" y="77447"/>
                    </a:lnTo>
                    <a:lnTo>
                      <a:pt x="20034" y="70997"/>
                    </a:lnTo>
                    <a:lnTo>
                      <a:pt x="12299" y="67437"/>
                    </a:lnTo>
                    <a:lnTo>
                      <a:pt x="8947" y="63955"/>
                    </a:lnTo>
                    <a:lnTo>
                      <a:pt x="10250" y="62802"/>
                    </a:lnTo>
                    <a:lnTo>
                      <a:pt x="17774" y="57749"/>
                    </a:lnTo>
                    <a:lnTo>
                      <a:pt x="24679" y="52704"/>
                    </a:lnTo>
                    <a:lnTo>
                      <a:pt x="26703" y="46989"/>
                    </a:lnTo>
                    <a:lnTo>
                      <a:pt x="26756" y="43554"/>
                    </a:lnTo>
                    <a:lnTo>
                      <a:pt x="19701" y="39414"/>
                    </a:lnTo>
                    <a:lnTo>
                      <a:pt x="14515" y="39330"/>
                    </a:lnTo>
                    <a:lnTo>
                      <a:pt x="8038" y="39224"/>
                    </a:lnTo>
                    <a:lnTo>
                      <a:pt x="3192" y="38569"/>
                    </a:lnTo>
                    <a:lnTo>
                      <a:pt x="0" y="35641"/>
                    </a:lnTo>
                    <a:lnTo>
                      <a:pt x="1699" y="31080"/>
                    </a:lnTo>
                    <a:lnTo>
                      <a:pt x="7295" y="25426"/>
                    </a:lnTo>
                    <a:lnTo>
                      <a:pt x="14880" y="16940"/>
                    </a:lnTo>
                    <a:lnTo>
                      <a:pt x="20889" y="4981"/>
                    </a:lnTo>
                    <a:lnTo>
                      <a:pt x="23802" y="0"/>
                    </a:lnTo>
                    <a:lnTo>
                      <a:pt x="26246" y="3277"/>
                    </a:lnTo>
                    <a:lnTo>
                      <a:pt x="60230" y="19050"/>
                    </a:lnTo>
                    <a:lnTo>
                      <a:pt x="73723" y="2686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5" name="Freeform 3">
                <a:extLst>
                  <a:ext uri="{FF2B5EF4-FFF2-40B4-BE49-F238E27FC236}">
                    <a16:creationId xmlns:a16="http://schemas.microsoft.com/office/drawing/2014/main" id="{177C0A96-8A95-7E37-612C-6FD5E797FA49}"/>
                  </a:ext>
                </a:extLst>
              </p:cNvPr>
              <p:cNvSpPr>
                <a:spLocks noChangeAspect="1"/>
              </p:cNvSpPr>
              <p:nvPr>
                <p:custDataLst>
                  <p:tags r:id="rId3"/>
                </p:custDataLst>
              </p:nvPr>
            </p:nvSpPr>
            <p:spPr>
              <a:xfrm>
                <a:off x="4338022" y="3431161"/>
                <a:ext cx="67646" cy="51942"/>
              </a:xfrm>
              <a:custGeom>
                <a:avLst/>
                <a:gdLst/>
                <a:ahLst/>
                <a:cxnLst/>
                <a:rect l="0" t="0" r="0" b="0"/>
                <a:pathLst>
                  <a:path w="69454" h="53331">
                    <a:moveTo>
                      <a:pt x="49770" y="9360"/>
                    </a:moveTo>
                    <a:lnTo>
                      <a:pt x="51227" y="8841"/>
                    </a:lnTo>
                    <a:lnTo>
                      <a:pt x="51140" y="17412"/>
                    </a:lnTo>
                    <a:lnTo>
                      <a:pt x="52088" y="25340"/>
                    </a:lnTo>
                    <a:lnTo>
                      <a:pt x="54439" y="29016"/>
                    </a:lnTo>
                    <a:lnTo>
                      <a:pt x="56839" y="27825"/>
                    </a:lnTo>
                    <a:lnTo>
                      <a:pt x="61963" y="27272"/>
                    </a:lnTo>
                    <a:lnTo>
                      <a:pt x="67761" y="27324"/>
                    </a:lnTo>
                    <a:lnTo>
                      <a:pt x="69453" y="29156"/>
                    </a:lnTo>
                    <a:lnTo>
                      <a:pt x="69415" y="33420"/>
                    </a:lnTo>
                    <a:lnTo>
                      <a:pt x="68326" y="40125"/>
                    </a:lnTo>
                    <a:lnTo>
                      <a:pt x="65892" y="44981"/>
                    </a:lnTo>
                    <a:lnTo>
                      <a:pt x="62810" y="46157"/>
                    </a:lnTo>
                    <a:lnTo>
                      <a:pt x="56319" y="46095"/>
                    </a:lnTo>
                    <a:lnTo>
                      <a:pt x="45727" y="45387"/>
                    </a:lnTo>
                    <a:lnTo>
                      <a:pt x="40932" y="47163"/>
                    </a:lnTo>
                    <a:lnTo>
                      <a:pt x="41250" y="49003"/>
                    </a:lnTo>
                    <a:lnTo>
                      <a:pt x="43042" y="52261"/>
                    </a:lnTo>
                    <a:lnTo>
                      <a:pt x="40277" y="52962"/>
                    </a:lnTo>
                    <a:lnTo>
                      <a:pt x="36895" y="53330"/>
                    </a:lnTo>
                    <a:lnTo>
                      <a:pt x="31933" y="52870"/>
                    </a:lnTo>
                    <a:lnTo>
                      <a:pt x="27005" y="50008"/>
                    </a:lnTo>
                    <a:lnTo>
                      <a:pt x="23233" y="45126"/>
                    </a:lnTo>
                    <a:lnTo>
                      <a:pt x="20102" y="42680"/>
                    </a:lnTo>
                    <a:lnTo>
                      <a:pt x="18515" y="43470"/>
                    </a:lnTo>
                    <a:lnTo>
                      <a:pt x="17120" y="46671"/>
                    </a:lnTo>
                    <a:lnTo>
                      <a:pt x="14606" y="49445"/>
                    </a:lnTo>
                    <a:lnTo>
                      <a:pt x="12342" y="49830"/>
                    </a:lnTo>
                    <a:lnTo>
                      <a:pt x="10095" y="49802"/>
                    </a:lnTo>
                    <a:lnTo>
                      <a:pt x="6728" y="48554"/>
                    </a:lnTo>
                    <a:lnTo>
                      <a:pt x="2914" y="47280"/>
                    </a:lnTo>
                    <a:lnTo>
                      <a:pt x="2447" y="46602"/>
                    </a:lnTo>
                    <a:lnTo>
                      <a:pt x="699" y="44031"/>
                    </a:lnTo>
                    <a:lnTo>
                      <a:pt x="139" y="35582"/>
                    </a:lnTo>
                    <a:lnTo>
                      <a:pt x="0" y="19673"/>
                    </a:lnTo>
                    <a:lnTo>
                      <a:pt x="1015" y="19410"/>
                    </a:lnTo>
                    <a:lnTo>
                      <a:pt x="13401" y="26898"/>
                    </a:lnTo>
                    <a:lnTo>
                      <a:pt x="19229" y="26338"/>
                    </a:lnTo>
                    <a:lnTo>
                      <a:pt x="21239" y="22847"/>
                    </a:lnTo>
                    <a:lnTo>
                      <a:pt x="20790" y="15200"/>
                    </a:lnTo>
                    <a:lnTo>
                      <a:pt x="16713" y="4220"/>
                    </a:lnTo>
                    <a:lnTo>
                      <a:pt x="18949" y="959"/>
                    </a:lnTo>
                    <a:lnTo>
                      <a:pt x="25262" y="3266"/>
                    </a:lnTo>
                    <a:lnTo>
                      <a:pt x="35776" y="3268"/>
                    </a:lnTo>
                    <a:lnTo>
                      <a:pt x="40836" y="6838"/>
                    </a:lnTo>
                    <a:lnTo>
                      <a:pt x="42808" y="5161"/>
                    </a:lnTo>
                    <a:lnTo>
                      <a:pt x="44337" y="1030"/>
                    </a:lnTo>
                    <a:lnTo>
                      <a:pt x="47791" y="0"/>
                    </a:lnTo>
                    <a:lnTo>
                      <a:pt x="48522" y="2871"/>
                    </a:lnTo>
                    <a:lnTo>
                      <a:pt x="48004" y="764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6" name="Freeform 4">
                <a:extLst>
                  <a:ext uri="{FF2B5EF4-FFF2-40B4-BE49-F238E27FC236}">
                    <a16:creationId xmlns:a16="http://schemas.microsoft.com/office/drawing/2014/main" id="{53B5E24F-6955-D0EA-A6DC-6862B60B8282}"/>
                  </a:ext>
                </a:extLst>
              </p:cNvPr>
              <p:cNvSpPr>
                <a:spLocks noChangeAspect="1"/>
              </p:cNvSpPr>
              <p:nvPr>
                <p:custDataLst>
                  <p:tags r:id="rId4"/>
                </p:custDataLst>
              </p:nvPr>
            </p:nvSpPr>
            <p:spPr>
              <a:xfrm>
                <a:off x="4304866" y="3508574"/>
                <a:ext cx="62444" cy="49984"/>
              </a:xfrm>
              <a:custGeom>
                <a:avLst/>
                <a:gdLst/>
                <a:ahLst/>
                <a:cxnLst/>
                <a:rect l="0" t="0" r="0" b="0"/>
                <a:pathLst>
                  <a:path w="64113" h="51320">
                    <a:moveTo>
                      <a:pt x="38881" y="10064"/>
                    </a:moveTo>
                    <a:lnTo>
                      <a:pt x="42722" y="10113"/>
                    </a:lnTo>
                    <a:lnTo>
                      <a:pt x="48610" y="9378"/>
                    </a:lnTo>
                    <a:lnTo>
                      <a:pt x="53162" y="7025"/>
                    </a:lnTo>
                    <a:lnTo>
                      <a:pt x="56335" y="6254"/>
                    </a:lnTo>
                    <a:lnTo>
                      <a:pt x="59830" y="10145"/>
                    </a:lnTo>
                    <a:lnTo>
                      <a:pt x="59868" y="13542"/>
                    </a:lnTo>
                    <a:lnTo>
                      <a:pt x="58911" y="17955"/>
                    </a:lnTo>
                    <a:lnTo>
                      <a:pt x="57072" y="20757"/>
                    </a:lnTo>
                    <a:lnTo>
                      <a:pt x="55920" y="22342"/>
                    </a:lnTo>
                    <a:lnTo>
                      <a:pt x="57222" y="26782"/>
                    </a:lnTo>
                    <a:lnTo>
                      <a:pt x="60808" y="30043"/>
                    </a:lnTo>
                    <a:lnTo>
                      <a:pt x="62814" y="32476"/>
                    </a:lnTo>
                    <a:lnTo>
                      <a:pt x="64112" y="38118"/>
                    </a:lnTo>
                    <a:lnTo>
                      <a:pt x="63588" y="44559"/>
                    </a:lnTo>
                    <a:lnTo>
                      <a:pt x="62619" y="49378"/>
                    </a:lnTo>
                    <a:lnTo>
                      <a:pt x="59662" y="50548"/>
                    </a:lnTo>
                    <a:lnTo>
                      <a:pt x="57060" y="51169"/>
                    </a:lnTo>
                    <a:lnTo>
                      <a:pt x="56474" y="51319"/>
                    </a:lnTo>
                    <a:lnTo>
                      <a:pt x="49921" y="49227"/>
                    </a:lnTo>
                    <a:lnTo>
                      <a:pt x="36428" y="41411"/>
                    </a:lnTo>
                    <a:lnTo>
                      <a:pt x="2444" y="25638"/>
                    </a:lnTo>
                    <a:lnTo>
                      <a:pt x="0" y="22361"/>
                    </a:lnTo>
                    <a:lnTo>
                      <a:pt x="29" y="22303"/>
                    </a:lnTo>
                    <a:lnTo>
                      <a:pt x="360" y="21014"/>
                    </a:lnTo>
                    <a:lnTo>
                      <a:pt x="733" y="19569"/>
                    </a:lnTo>
                    <a:lnTo>
                      <a:pt x="6448" y="16043"/>
                    </a:lnTo>
                    <a:lnTo>
                      <a:pt x="16684" y="12166"/>
                    </a:lnTo>
                    <a:lnTo>
                      <a:pt x="29013" y="3494"/>
                    </a:lnTo>
                    <a:lnTo>
                      <a:pt x="34942" y="0"/>
                    </a:lnTo>
                    <a:lnTo>
                      <a:pt x="34866" y="5588"/>
                    </a:lnTo>
                    <a:lnTo>
                      <a:pt x="36849" y="9642"/>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7" name="Freeform 5">
                <a:extLst>
                  <a:ext uri="{FF2B5EF4-FFF2-40B4-BE49-F238E27FC236}">
                    <a16:creationId xmlns:a16="http://schemas.microsoft.com/office/drawing/2014/main" id="{255008E3-9E41-592F-8D2C-EF035813FBDF}"/>
                  </a:ext>
                </a:extLst>
              </p:cNvPr>
              <p:cNvSpPr>
                <a:spLocks noChangeAspect="1"/>
              </p:cNvSpPr>
              <p:nvPr>
                <p:custDataLst>
                  <p:tags r:id="rId5"/>
                </p:custDataLst>
              </p:nvPr>
            </p:nvSpPr>
            <p:spPr>
              <a:xfrm>
                <a:off x="4338824" y="3472730"/>
                <a:ext cx="60214" cy="49125"/>
              </a:xfrm>
              <a:custGeom>
                <a:avLst/>
                <a:gdLst/>
                <a:ahLst/>
                <a:cxnLst/>
                <a:rect l="0" t="0" r="0" b="0"/>
                <a:pathLst>
                  <a:path w="61824" h="50438">
                    <a:moveTo>
                      <a:pt x="36072" y="10650"/>
                    </a:moveTo>
                    <a:lnTo>
                      <a:pt x="39454" y="10282"/>
                    </a:lnTo>
                    <a:lnTo>
                      <a:pt x="42219" y="9581"/>
                    </a:lnTo>
                    <a:lnTo>
                      <a:pt x="42778" y="10603"/>
                    </a:lnTo>
                    <a:lnTo>
                      <a:pt x="47849" y="16136"/>
                    </a:lnTo>
                    <a:lnTo>
                      <a:pt x="51248" y="18618"/>
                    </a:lnTo>
                    <a:lnTo>
                      <a:pt x="56034" y="18665"/>
                    </a:lnTo>
                    <a:lnTo>
                      <a:pt x="59790" y="18701"/>
                    </a:lnTo>
                    <a:lnTo>
                      <a:pt x="61823" y="21149"/>
                    </a:lnTo>
                    <a:lnTo>
                      <a:pt x="61800" y="23597"/>
                    </a:lnTo>
                    <a:lnTo>
                      <a:pt x="58667" y="29057"/>
                    </a:lnTo>
                    <a:lnTo>
                      <a:pt x="58616" y="34368"/>
                    </a:lnTo>
                    <a:lnTo>
                      <a:pt x="53879" y="34975"/>
                    </a:lnTo>
                    <a:lnTo>
                      <a:pt x="44184" y="32864"/>
                    </a:lnTo>
                    <a:lnTo>
                      <a:pt x="38756" y="32806"/>
                    </a:lnTo>
                    <a:lnTo>
                      <a:pt x="35361" y="34368"/>
                    </a:lnTo>
                    <a:lnTo>
                      <a:pt x="34419" y="36776"/>
                    </a:lnTo>
                    <a:lnTo>
                      <a:pt x="36170" y="42019"/>
                    </a:lnTo>
                    <a:lnTo>
                      <a:pt x="35905" y="46440"/>
                    </a:lnTo>
                    <a:lnTo>
                      <a:pt x="33146" y="50437"/>
                    </a:lnTo>
                    <a:lnTo>
                      <a:pt x="27944" y="50378"/>
                    </a:lnTo>
                    <a:lnTo>
                      <a:pt x="25490" y="47547"/>
                    </a:lnTo>
                    <a:lnTo>
                      <a:pt x="24964" y="46947"/>
                    </a:lnTo>
                    <a:lnTo>
                      <a:pt x="21469" y="43056"/>
                    </a:lnTo>
                    <a:lnTo>
                      <a:pt x="18296" y="43827"/>
                    </a:lnTo>
                    <a:lnTo>
                      <a:pt x="13744" y="46180"/>
                    </a:lnTo>
                    <a:lnTo>
                      <a:pt x="7856" y="46915"/>
                    </a:lnTo>
                    <a:lnTo>
                      <a:pt x="4015" y="46866"/>
                    </a:lnTo>
                    <a:lnTo>
                      <a:pt x="1983" y="46444"/>
                    </a:lnTo>
                    <a:lnTo>
                      <a:pt x="0" y="42390"/>
                    </a:lnTo>
                    <a:lnTo>
                      <a:pt x="76" y="36802"/>
                    </a:lnTo>
                    <a:lnTo>
                      <a:pt x="81" y="36357"/>
                    </a:lnTo>
                    <a:lnTo>
                      <a:pt x="141" y="31935"/>
                    </a:lnTo>
                    <a:lnTo>
                      <a:pt x="471" y="24287"/>
                    </a:lnTo>
                    <a:lnTo>
                      <a:pt x="533" y="19647"/>
                    </a:lnTo>
                    <a:lnTo>
                      <a:pt x="557" y="17860"/>
                    </a:lnTo>
                    <a:lnTo>
                      <a:pt x="660" y="10220"/>
                    </a:lnTo>
                    <a:lnTo>
                      <a:pt x="1624" y="3922"/>
                    </a:lnTo>
                    <a:lnTo>
                      <a:pt x="2091" y="4600"/>
                    </a:lnTo>
                    <a:lnTo>
                      <a:pt x="5905" y="5874"/>
                    </a:lnTo>
                    <a:lnTo>
                      <a:pt x="9272" y="7122"/>
                    </a:lnTo>
                    <a:lnTo>
                      <a:pt x="11519" y="7150"/>
                    </a:lnTo>
                    <a:lnTo>
                      <a:pt x="13783" y="6765"/>
                    </a:lnTo>
                    <a:lnTo>
                      <a:pt x="16297" y="3991"/>
                    </a:lnTo>
                    <a:lnTo>
                      <a:pt x="17692" y="790"/>
                    </a:lnTo>
                    <a:lnTo>
                      <a:pt x="19279" y="0"/>
                    </a:lnTo>
                    <a:lnTo>
                      <a:pt x="22410" y="2446"/>
                    </a:lnTo>
                    <a:lnTo>
                      <a:pt x="26182" y="7328"/>
                    </a:lnTo>
                    <a:lnTo>
                      <a:pt x="31110" y="1019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8" name="Freeform 6">
                <a:extLst>
                  <a:ext uri="{FF2B5EF4-FFF2-40B4-BE49-F238E27FC236}">
                    <a16:creationId xmlns:a16="http://schemas.microsoft.com/office/drawing/2014/main" id="{B8D66E55-B441-FF34-6C52-52265EF6EBAD}"/>
                  </a:ext>
                </a:extLst>
              </p:cNvPr>
              <p:cNvSpPr>
                <a:spLocks noChangeAspect="1"/>
              </p:cNvSpPr>
              <p:nvPr>
                <p:custDataLst>
                  <p:tags r:id="rId6"/>
                </p:custDataLst>
              </p:nvPr>
            </p:nvSpPr>
            <p:spPr>
              <a:xfrm>
                <a:off x="4227462" y="3455402"/>
                <a:ext cx="64175" cy="43721"/>
              </a:xfrm>
              <a:custGeom>
                <a:avLst/>
                <a:gdLst/>
                <a:ahLst/>
                <a:cxnLst/>
                <a:rect l="0" t="0" r="0" b="0"/>
                <a:pathLst>
                  <a:path w="65891" h="44890">
                    <a:moveTo>
                      <a:pt x="57192" y="11441"/>
                    </a:moveTo>
                    <a:lnTo>
                      <a:pt x="57199" y="11465"/>
                    </a:lnTo>
                    <a:lnTo>
                      <a:pt x="58777" y="17506"/>
                    </a:lnTo>
                    <a:lnTo>
                      <a:pt x="61606" y="23578"/>
                    </a:lnTo>
                    <a:lnTo>
                      <a:pt x="64653" y="30067"/>
                    </a:lnTo>
                    <a:lnTo>
                      <a:pt x="65890" y="36921"/>
                    </a:lnTo>
                    <a:lnTo>
                      <a:pt x="64911" y="41743"/>
                    </a:lnTo>
                    <a:lnTo>
                      <a:pt x="60568" y="44889"/>
                    </a:lnTo>
                    <a:lnTo>
                      <a:pt x="56278" y="44816"/>
                    </a:lnTo>
                    <a:lnTo>
                      <a:pt x="51078" y="44725"/>
                    </a:lnTo>
                    <a:lnTo>
                      <a:pt x="45905" y="43824"/>
                    </a:lnTo>
                    <a:lnTo>
                      <a:pt x="39816" y="43318"/>
                    </a:lnTo>
                    <a:lnTo>
                      <a:pt x="35094" y="42025"/>
                    </a:lnTo>
                    <a:lnTo>
                      <a:pt x="30404" y="39113"/>
                    </a:lnTo>
                    <a:lnTo>
                      <a:pt x="29936" y="38661"/>
                    </a:lnTo>
                    <a:lnTo>
                      <a:pt x="24860" y="33773"/>
                    </a:lnTo>
                    <a:lnTo>
                      <a:pt x="19911" y="33282"/>
                    </a:lnTo>
                    <a:lnTo>
                      <a:pt x="8624" y="33056"/>
                    </a:lnTo>
                    <a:lnTo>
                      <a:pt x="1083" y="34874"/>
                    </a:lnTo>
                    <a:lnTo>
                      <a:pt x="604" y="34992"/>
                    </a:lnTo>
                    <a:lnTo>
                      <a:pt x="598" y="34995"/>
                    </a:lnTo>
                    <a:lnTo>
                      <a:pt x="597" y="34990"/>
                    </a:lnTo>
                    <a:lnTo>
                      <a:pt x="0" y="24434"/>
                    </a:lnTo>
                    <a:lnTo>
                      <a:pt x="1541" y="14234"/>
                    </a:lnTo>
                    <a:lnTo>
                      <a:pt x="4747" y="7597"/>
                    </a:lnTo>
                    <a:lnTo>
                      <a:pt x="9709" y="3486"/>
                    </a:lnTo>
                    <a:lnTo>
                      <a:pt x="16451" y="790"/>
                    </a:lnTo>
                    <a:lnTo>
                      <a:pt x="20472" y="0"/>
                    </a:lnTo>
                    <a:lnTo>
                      <a:pt x="23371" y="414"/>
                    </a:lnTo>
                    <a:lnTo>
                      <a:pt x="36827" y="7125"/>
                    </a:lnTo>
                    <a:lnTo>
                      <a:pt x="40429" y="7814"/>
                    </a:lnTo>
                    <a:lnTo>
                      <a:pt x="42904" y="6754"/>
                    </a:lnTo>
                    <a:lnTo>
                      <a:pt x="47441" y="972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9" name="Freeform 7">
                <a:extLst>
                  <a:ext uri="{FF2B5EF4-FFF2-40B4-BE49-F238E27FC236}">
                    <a16:creationId xmlns:a16="http://schemas.microsoft.com/office/drawing/2014/main" id="{33F69494-830B-8EE5-0E59-F0C708DE1A71}"/>
                  </a:ext>
                </a:extLst>
              </p:cNvPr>
              <p:cNvSpPr>
                <a:spLocks noChangeAspect="1"/>
              </p:cNvSpPr>
              <p:nvPr>
                <p:custDataLst>
                  <p:tags r:id="rId7"/>
                </p:custDataLst>
              </p:nvPr>
            </p:nvSpPr>
            <p:spPr>
              <a:xfrm>
                <a:off x="4220169" y="3487598"/>
                <a:ext cx="87575" cy="115707"/>
              </a:xfrm>
              <a:custGeom>
                <a:avLst/>
                <a:gdLst/>
                <a:ahLst/>
                <a:cxnLst/>
                <a:rect l="0" t="0" r="0" b="0"/>
                <a:pathLst>
                  <a:path w="89916" h="118800">
                    <a:moveTo>
                      <a:pt x="37424" y="5605"/>
                    </a:moveTo>
                    <a:lnTo>
                      <a:pt x="40207" y="14949"/>
                    </a:lnTo>
                    <a:lnTo>
                      <a:pt x="44803" y="23082"/>
                    </a:lnTo>
                    <a:lnTo>
                      <a:pt x="54775" y="34532"/>
                    </a:lnTo>
                    <a:lnTo>
                      <a:pt x="61897" y="40681"/>
                    </a:lnTo>
                    <a:lnTo>
                      <a:pt x="73873" y="42098"/>
                    </a:lnTo>
                    <a:lnTo>
                      <a:pt x="81583" y="41818"/>
                    </a:lnTo>
                    <a:lnTo>
                      <a:pt x="87321" y="42551"/>
                    </a:lnTo>
                    <a:lnTo>
                      <a:pt x="86990" y="43840"/>
                    </a:lnTo>
                    <a:lnTo>
                      <a:pt x="86961" y="43898"/>
                    </a:lnTo>
                    <a:lnTo>
                      <a:pt x="84048" y="48879"/>
                    </a:lnTo>
                    <a:lnTo>
                      <a:pt x="78039" y="60838"/>
                    </a:lnTo>
                    <a:lnTo>
                      <a:pt x="70454" y="69324"/>
                    </a:lnTo>
                    <a:lnTo>
                      <a:pt x="64858" y="74978"/>
                    </a:lnTo>
                    <a:lnTo>
                      <a:pt x="63159" y="79539"/>
                    </a:lnTo>
                    <a:lnTo>
                      <a:pt x="66351" y="82467"/>
                    </a:lnTo>
                    <a:lnTo>
                      <a:pt x="71197" y="83122"/>
                    </a:lnTo>
                    <a:lnTo>
                      <a:pt x="77674" y="83228"/>
                    </a:lnTo>
                    <a:lnTo>
                      <a:pt x="82860" y="83312"/>
                    </a:lnTo>
                    <a:lnTo>
                      <a:pt x="89915" y="87452"/>
                    </a:lnTo>
                    <a:lnTo>
                      <a:pt x="89862" y="90887"/>
                    </a:lnTo>
                    <a:lnTo>
                      <a:pt x="87838" y="96602"/>
                    </a:lnTo>
                    <a:lnTo>
                      <a:pt x="80933" y="101647"/>
                    </a:lnTo>
                    <a:lnTo>
                      <a:pt x="73409" y="106700"/>
                    </a:lnTo>
                    <a:lnTo>
                      <a:pt x="72106" y="107853"/>
                    </a:lnTo>
                    <a:lnTo>
                      <a:pt x="65822" y="113464"/>
                    </a:lnTo>
                    <a:lnTo>
                      <a:pt x="57293" y="118483"/>
                    </a:lnTo>
                    <a:lnTo>
                      <a:pt x="55607" y="118799"/>
                    </a:lnTo>
                    <a:lnTo>
                      <a:pt x="53732" y="118662"/>
                    </a:lnTo>
                    <a:lnTo>
                      <a:pt x="53687" y="118241"/>
                    </a:lnTo>
                    <a:lnTo>
                      <a:pt x="52830" y="110155"/>
                    </a:lnTo>
                    <a:lnTo>
                      <a:pt x="48309" y="102128"/>
                    </a:lnTo>
                    <a:lnTo>
                      <a:pt x="42095" y="96663"/>
                    </a:lnTo>
                    <a:lnTo>
                      <a:pt x="30433" y="91216"/>
                    </a:lnTo>
                    <a:lnTo>
                      <a:pt x="23489" y="90800"/>
                    </a:lnTo>
                    <a:lnTo>
                      <a:pt x="21498" y="89393"/>
                    </a:lnTo>
                    <a:lnTo>
                      <a:pt x="23183" y="85849"/>
                    </a:lnTo>
                    <a:lnTo>
                      <a:pt x="23240" y="83004"/>
                    </a:lnTo>
                    <a:lnTo>
                      <a:pt x="10923" y="74496"/>
                    </a:lnTo>
                    <a:lnTo>
                      <a:pt x="4072" y="67961"/>
                    </a:lnTo>
                    <a:lnTo>
                      <a:pt x="0" y="61669"/>
                    </a:lnTo>
                    <a:lnTo>
                      <a:pt x="9725" y="51673"/>
                    </a:lnTo>
                    <a:lnTo>
                      <a:pt x="13176" y="43533"/>
                    </a:lnTo>
                    <a:lnTo>
                      <a:pt x="12534" y="30627"/>
                    </a:lnTo>
                    <a:lnTo>
                      <a:pt x="11248" y="26028"/>
                    </a:lnTo>
                    <a:lnTo>
                      <a:pt x="10015" y="22722"/>
                    </a:lnTo>
                    <a:lnTo>
                      <a:pt x="9041" y="18750"/>
                    </a:lnTo>
                    <a:lnTo>
                      <a:pt x="8114" y="2231"/>
                    </a:lnTo>
                    <a:lnTo>
                      <a:pt x="8086" y="1939"/>
                    </a:lnTo>
                    <a:lnTo>
                      <a:pt x="8092" y="1936"/>
                    </a:lnTo>
                    <a:lnTo>
                      <a:pt x="8571" y="1818"/>
                    </a:lnTo>
                    <a:lnTo>
                      <a:pt x="16112" y="0"/>
                    </a:lnTo>
                    <a:lnTo>
                      <a:pt x="27399" y="226"/>
                    </a:lnTo>
                    <a:lnTo>
                      <a:pt x="32348" y="71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0" name="Freeform 8">
                <a:extLst>
                  <a:ext uri="{FF2B5EF4-FFF2-40B4-BE49-F238E27FC236}">
                    <a16:creationId xmlns:a16="http://schemas.microsoft.com/office/drawing/2014/main" id="{3D8FCBD9-B92F-0601-0FCD-46951B72BF18}"/>
                  </a:ext>
                </a:extLst>
              </p:cNvPr>
              <p:cNvSpPr>
                <a:spLocks noChangeAspect="1"/>
              </p:cNvSpPr>
              <p:nvPr>
                <p:custDataLst>
                  <p:tags r:id="rId8"/>
                </p:custDataLst>
              </p:nvPr>
            </p:nvSpPr>
            <p:spPr>
              <a:xfrm>
                <a:off x="4377889" y="3432323"/>
                <a:ext cx="97090" cy="109395"/>
              </a:xfrm>
              <a:custGeom>
                <a:avLst/>
                <a:gdLst/>
                <a:ahLst/>
                <a:cxnLst/>
                <a:rect l="0" t="0" r="0" b="0"/>
                <a:pathLst>
                  <a:path w="99685" h="112319">
                    <a:moveTo>
                      <a:pt x="34771" y="5328"/>
                    </a:moveTo>
                    <a:lnTo>
                      <a:pt x="35546" y="8315"/>
                    </a:lnTo>
                    <a:lnTo>
                      <a:pt x="42966" y="7626"/>
                    </a:lnTo>
                    <a:lnTo>
                      <a:pt x="43963" y="10082"/>
                    </a:lnTo>
                    <a:lnTo>
                      <a:pt x="42493" y="15698"/>
                    </a:lnTo>
                    <a:lnTo>
                      <a:pt x="50505" y="16075"/>
                    </a:lnTo>
                    <a:lnTo>
                      <a:pt x="50937" y="22021"/>
                    </a:lnTo>
                    <a:lnTo>
                      <a:pt x="53580" y="26386"/>
                    </a:lnTo>
                    <a:lnTo>
                      <a:pt x="65874" y="27002"/>
                    </a:lnTo>
                    <a:lnTo>
                      <a:pt x="66464" y="28180"/>
                    </a:lnTo>
                    <a:lnTo>
                      <a:pt x="65621" y="29448"/>
                    </a:lnTo>
                    <a:lnTo>
                      <a:pt x="59636" y="35669"/>
                    </a:lnTo>
                    <a:lnTo>
                      <a:pt x="67622" y="41980"/>
                    </a:lnTo>
                    <a:lnTo>
                      <a:pt x="76463" y="46060"/>
                    </a:lnTo>
                    <a:lnTo>
                      <a:pt x="77757" y="50323"/>
                    </a:lnTo>
                    <a:lnTo>
                      <a:pt x="75230" y="52648"/>
                    </a:lnTo>
                    <a:lnTo>
                      <a:pt x="81036" y="59256"/>
                    </a:lnTo>
                    <a:lnTo>
                      <a:pt x="94993" y="54969"/>
                    </a:lnTo>
                    <a:lnTo>
                      <a:pt x="99684" y="57427"/>
                    </a:lnTo>
                    <a:lnTo>
                      <a:pt x="98832" y="59972"/>
                    </a:lnTo>
                    <a:lnTo>
                      <a:pt x="93772" y="61648"/>
                    </a:lnTo>
                    <a:lnTo>
                      <a:pt x="91371" y="64618"/>
                    </a:lnTo>
                    <a:lnTo>
                      <a:pt x="97010" y="82049"/>
                    </a:lnTo>
                    <a:lnTo>
                      <a:pt x="96469" y="85335"/>
                    </a:lnTo>
                    <a:lnTo>
                      <a:pt x="93219" y="91048"/>
                    </a:lnTo>
                    <a:lnTo>
                      <a:pt x="93738" y="93084"/>
                    </a:lnTo>
                    <a:lnTo>
                      <a:pt x="83421" y="100874"/>
                    </a:lnTo>
                    <a:lnTo>
                      <a:pt x="69317" y="108101"/>
                    </a:lnTo>
                    <a:lnTo>
                      <a:pt x="61742" y="112318"/>
                    </a:lnTo>
                    <a:lnTo>
                      <a:pt x="58316" y="111683"/>
                    </a:lnTo>
                    <a:lnTo>
                      <a:pt x="52514" y="106766"/>
                    </a:lnTo>
                    <a:lnTo>
                      <a:pt x="40260" y="95714"/>
                    </a:lnTo>
                    <a:lnTo>
                      <a:pt x="22564" y="81542"/>
                    </a:lnTo>
                    <a:lnTo>
                      <a:pt x="18500" y="76627"/>
                    </a:lnTo>
                    <a:lnTo>
                      <a:pt x="18507" y="75855"/>
                    </a:lnTo>
                    <a:lnTo>
                      <a:pt x="18558" y="70544"/>
                    </a:lnTo>
                    <a:lnTo>
                      <a:pt x="21691" y="65084"/>
                    </a:lnTo>
                    <a:lnTo>
                      <a:pt x="21714" y="62636"/>
                    </a:lnTo>
                    <a:lnTo>
                      <a:pt x="19681" y="60188"/>
                    </a:lnTo>
                    <a:lnTo>
                      <a:pt x="15925" y="60152"/>
                    </a:lnTo>
                    <a:lnTo>
                      <a:pt x="11139" y="60105"/>
                    </a:lnTo>
                    <a:lnTo>
                      <a:pt x="7740" y="57623"/>
                    </a:lnTo>
                    <a:lnTo>
                      <a:pt x="2669" y="52090"/>
                    </a:lnTo>
                    <a:lnTo>
                      <a:pt x="2110" y="51068"/>
                    </a:lnTo>
                    <a:lnTo>
                      <a:pt x="318" y="47810"/>
                    </a:lnTo>
                    <a:lnTo>
                      <a:pt x="0" y="45970"/>
                    </a:lnTo>
                    <a:lnTo>
                      <a:pt x="4795" y="44194"/>
                    </a:lnTo>
                    <a:lnTo>
                      <a:pt x="15387" y="44902"/>
                    </a:lnTo>
                    <a:lnTo>
                      <a:pt x="21878" y="44964"/>
                    </a:lnTo>
                    <a:lnTo>
                      <a:pt x="24960" y="43788"/>
                    </a:lnTo>
                    <a:lnTo>
                      <a:pt x="27394" y="38932"/>
                    </a:lnTo>
                    <a:lnTo>
                      <a:pt x="28483" y="32227"/>
                    </a:lnTo>
                    <a:lnTo>
                      <a:pt x="28521" y="27963"/>
                    </a:lnTo>
                    <a:lnTo>
                      <a:pt x="26829" y="26131"/>
                    </a:lnTo>
                    <a:lnTo>
                      <a:pt x="21031" y="26079"/>
                    </a:lnTo>
                    <a:lnTo>
                      <a:pt x="15907" y="26632"/>
                    </a:lnTo>
                    <a:lnTo>
                      <a:pt x="13507" y="27823"/>
                    </a:lnTo>
                    <a:lnTo>
                      <a:pt x="11156" y="24147"/>
                    </a:lnTo>
                    <a:lnTo>
                      <a:pt x="10208" y="16219"/>
                    </a:lnTo>
                    <a:lnTo>
                      <a:pt x="10295" y="7648"/>
                    </a:lnTo>
                    <a:lnTo>
                      <a:pt x="13724" y="6419"/>
                    </a:lnTo>
                    <a:lnTo>
                      <a:pt x="19720" y="0"/>
                    </a:lnTo>
                    <a:lnTo>
                      <a:pt x="33425" y="12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1" name="Freeform 9">
                <a:extLst>
                  <a:ext uri="{FF2B5EF4-FFF2-40B4-BE49-F238E27FC236}">
                    <a16:creationId xmlns:a16="http://schemas.microsoft.com/office/drawing/2014/main" id="{4686AD88-C4F7-05D4-6D9F-34F01784C12B}"/>
                  </a:ext>
                </a:extLst>
              </p:cNvPr>
              <p:cNvSpPr>
                <a:spLocks noChangeAspect="1"/>
              </p:cNvSpPr>
              <p:nvPr>
                <p:custDataLst>
                  <p:tags r:id="rId9"/>
                </p:custDataLst>
              </p:nvPr>
            </p:nvSpPr>
            <p:spPr>
              <a:xfrm>
                <a:off x="4256619" y="3466545"/>
                <a:ext cx="82726" cy="62496"/>
              </a:xfrm>
              <a:custGeom>
                <a:avLst/>
                <a:gdLst/>
                <a:ahLst/>
                <a:cxnLst/>
                <a:rect l="0" t="0" r="0" b="0"/>
                <a:pathLst>
                  <a:path w="84937" h="64167">
                    <a:moveTo>
                      <a:pt x="56813" y="2044"/>
                    </a:moveTo>
                    <a:lnTo>
                      <a:pt x="58266" y="3834"/>
                    </a:lnTo>
                    <a:lnTo>
                      <a:pt x="61982" y="6182"/>
                    </a:lnTo>
                    <a:lnTo>
                      <a:pt x="67108" y="10285"/>
                    </a:lnTo>
                    <a:lnTo>
                      <a:pt x="76237" y="18454"/>
                    </a:lnTo>
                    <a:lnTo>
                      <a:pt x="84936" y="25997"/>
                    </a:lnTo>
                    <a:lnTo>
                      <a:pt x="84874" y="30637"/>
                    </a:lnTo>
                    <a:lnTo>
                      <a:pt x="84544" y="38285"/>
                    </a:lnTo>
                    <a:lnTo>
                      <a:pt x="84484" y="42707"/>
                    </a:lnTo>
                    <a:lnTo>
                      <a:pt x="84479" y="43152"/>
                    </a:lnTo>
                    <a:lnTo>
                      <a:pt x="78550" y="46646"/>
                    </a:lnTo>
                    <a:lnTo>
                      <a:pt x="66221" y="55318"/>
                    </a:lnTo>
                    <a:lnTo>
                      <a:pt x="55985" y="59195"/>
                    </a:lnTo>
                    <a:lnTo>
                      <a:pt x="50270" y="62721"/>
                    </a:lnTo>
                    <a:lnTo>
                      <a:pt x="49897" y="64166"/>
                    </a:lnTo>
                    <a:lnTo>
                      <a:pt x="44159" y="63433"/>
                    </a:lnTo>
                    <a:lnTo>
                      <a:pt x="36449" y="63713"/>
                    </a:lnTo>
                    <a:lnTo>
                      <a:pt x="24473" y="62296"/>
                    </a:lnTo>
                    <a:lnTo>
                      <a:pt x="17351" y="56147"/>
                    </a:lnTo>
                    <a:lnTo>
                      <a:pt x="7379" y="44697"/>
                    </a:lnTo>
                    <a:lnTo>
                      <a:pt x="2783" y="36564"/>
                    </a:lnTo>
                    <a:lnTo>
                      <a:pt x="0" y="27220"/>
                    </a:lnTo>
                    <a:lnTo>
                      <a:pt x="468" y="27672"/>
                    </a:lnTo>
                    <a:lnTo>
                      <a:pt x="5158" y="30584"/>
                    </a:lnTo>
                    <a:lnTo>
                      <a:pt x="9880" y="31877"/>
                    </a:lnTo>
                    <a:lnTo>
                      <a:pt x="15969" y="32383"/>
                    </a:lnTo>
                    <a:lnTo>
                      <a:pt x="21142" y="33284"/>
                    </a:lnTo>
                    <a:lnTo>
                      <a:pt x="26342" y="33375"/>
                    </a:lnTo>
                    <a:lnTo>
                      <a:pt x="30632" y="33448"/>
                    </a:lnTo>
                    <a:lnTo>
                      <a:pt x="34975" y="30302"/>
                    </a:lnTo>
                    <a:lnTo>
                      <a:pt x="35954" y="25480"/>
                    </a:lnTo>
                    <a:lnTo>
                      <a:pt x="34717" y="18626"/>
                    </a:lnTo>
                    <a:lnTo>
                      <a:pt x="31670" y="12137"/>
                    </a:lnTo>
                    <a:lnTo>
                      <a:pt x="28841" y="6065"/>
                    </a:lnTo>
                    <a:lnTo>
                      <a:pt x="27263" y="24"/>
                    </a:lnTo>
                    <a:lnTo>
                      <a:pt x="27256" y="0"/>
                    </a:lnTo>
                    <a:lnTo>
                      <a:pt x="53060" y="449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2" name="Freeform 10">
                <a:extLst>
                  <a:ext uri="{FF2B5EF4-FFF2-40B4-BE49-F238E27FC236}">
                    <a16:creationId xmlns:a16="http://schemas.microsoft.com/office/drawing/2014/main" id="{E4A2C10C-1162-31F0-4507-A0033FE514FF}"/>
                  </a:ext>
                </a:extLst>
              </p:cNvPr>
              <p:cNvSpPr>
                <a:spLocks noChangeAspect="1"/>
              </p:cNvSpPr>
              <p:nvPr>
                <p:custDataLst>
                  <p:tags r:id="rId10"/>
                </p:custDataLst>
              </p:nvPr>
            </p:nvSpPr>
            <p:spPr>
              <a:xfrm>
                <a:off x="4187052" y="3592643"/>
                <a:ext cx="135651" cy="220481"/>
              </a:xfrm>
              <a:custGeom>
                <a:avLst/>
                <a:gdLst/>
                <a:ahLst/>
                <a:cxnLst/>
                <a:rect l="0" t="0" r="0" b="0"/>
                <a:pathLst>
                  <a:path w="139277" h="226375">
                    <a:moveTo>
                      <a:pt x="125836" y="78945"/>
                    </a:moveTo>
                    <a:lnTo>
                      <a:pt x="119359" y="75972"/>
                    </a:lnTo>
                    <a:lnTo>
                      <a:pt x="113170" y="75874"/>
                    </a:lnTo>
                    <a:lnTo>
                      <a:pt x="107644" y="74628"/>
                    </a:lnTo>
                    <a:lnTo>
                      <a:pt x="105639" y="77479"/>
                    </a:lnTo>
                    <a:lnTo>
                      <a:pt x="105923" y="80347"/>
                    </a:lnTo>
                    <a:lnTo>
                      <a:pt x="109404" y="86724"/>
                    </a:lnTo>
                    <a:lnTo>
                      <a:pt x="111920" y="92511"/>
                    </a:lnTo>
                    <a:lnTo>
                      <a:pt x="115117" y="96572"/>
                    </a:lnTo>
                    <a:lnTo>
                      <a:pt x="121241" y="101842"/>
                    </a:lnTo>
                    <a:lnTo>
                      <a:pt x="127692" y="107678"/>
                    </a:lnTo>
                    <a:lnTo>
                      <a:pt x="132181" y="113481"/>
                    </a:lnTo>
                    <a:lnTo>
                      <a:pt x="134056" y="118683"/>
                    </a:lnTo>
                    <a:lnTo>
                      <a:pt x="134301" y="124996"/>
                    </a:lnTo>
                    <a:lnTo>
                      <a:pt x="134167" y="134187"/>
                    </a:lnTo>
                    <a:lnTo>
                      <a:pt x="134066" y="141068"/>
                    </a:lnTo>
                    <a:lnTo>
                      <a:pt x="133603" y="149683"/>
                    </a:lnTo>
                    <a:lnTo>
                      <a:pt x="131228" y="155958"/>
                    </a:lnTo>
                    <a:lnTo>
                      <a:pt x="128490" y="163372"/>
                    </a:lnTo>
                    <a:lnTo>
                      <a:pt x="128366" y="166016"/>
                    </a:lnTo>
                    <a:lnTo>
                      <a:pt x="123654" y="168315"/>
                    </a:lnTo>
                    <a:lnTo>
                      <a:pt x="112860" y="164435"/>
                    </a:lnTo>
                    <a:lnTo>
                      <a:pt x="110117" y="165239"/>
                    </a:lnTo>
                    <a:lnTo>
                      <a:pt x="96899" y="172249"/>
                    </a:lnTo>
                    <a:lnTo>
                      <a:pt x="88818" y="179950"/>
                    </a:lnTo>
                    <a:lnTo>
                      <a:pt x="87823" y="184505"/>
                    </a:lnTo>
                    <a:lnTo>
                      <a:pt x="89196" y="192913"/>
                    </a:lnTo>
                    <a:lnTo>
                      <a:pt x="94601" y="196404"/>
                    </a:lnTo>
                    <a:lnTo>
                      <a:pt x="95221" y="199178"/>
                    </a:lnTo>
                    <a:lnTo>
                      <a:pt x="94439" y="202563"/>
                    </a:lnTo>
                    <a:lnTo>
                      <a:pt x="92087" y="205169"/>
                    </a:lnTo>
                    <a:lnTo>
                      <a:pt x="76499" y="209464"/>
                    </a:lnTo>
                    <a:lnTo>
                      <a:pt x="62813" y="209415"/>
                    </a:lnTo>
                    <a:lnTo>
                      <a:pt x="60264" y="211915"/>
                    </a:lnTo>
                    <a:lnTo>
                      <a:pt x="54808" y="208194"/>
                    </a:lnTo>
                    <a:lnTo>
                      <a:pt x="39428" y="210758"/>
                    </a:lnTo>
                    <a:lnTo>
                      <a:pt x="36998" y="213581"/>
                    </a:lnTo>
                    <a:lnTo>
                      <a:pt x="35168" y="219053"/>
                    </a:lnTo>
                    <a:lnTo>
                      <a:pt x="29643" y="224565"/>
                    </a:lnTo>
                    <a:lnTo>
                      <a:pt x="27312" y="225267"/>
                    </a:lnTo>
                    <a:lnTo>
                      <a:pt x="19906" y="221491"/>
                    </a:lnTo>
                    <a:lnTo>
                      <a:pt x="13693" y="221255"/>
                    </a:lnTo>
                    <a:lnTo>
                      <a:pt x="3604" y="226374"/>
                    </a:lnTo>
                    <a:lnTo>
                      <a:pt x="3603" y="226370"/>
                    </a:lnTo>
                    <a:lnTo>
                      <a:pt x="3501" y="225777"/>
                    </a:lnTo>
                    <a:lnTo>
                      <a:pt x="609" y="218135"/>
                    </a:lnTo>
                    <a:lnTo>
                      <a:pt x="0" y="213642"/>
                    </a:lnTo>
                    <a:lnTo>
                      <a:pt x="330" y="205174"/>
                    </a:lnTo>
                    <a:lnTo>
                      <a:pt x="845" y="202603"/>
                    </a:lnTo>
                    <a:lnTo>
                      <a:pt x="1828" y="199360"/>
                    </a:lnTo>
                    <a:lnTo>
                      <a:pt x="5905" y="190122"/>
                    </a:lnTo>
                    <a:lnTo>
                      <a:pt x="7518" y="184979"/>
                    </a:lnTo>
                    <a:lnTo>
                      <a:pt x="8300" y="177205"/>
                    </a:lnTo>
                    <a:lnTo>
                      <a:pt x="10291" y="170158"/>
                    </a:lnTo>
                    <a:lnTo>
                      <a:pt x="14654" y="165871"/>
                    </a:lnTo>
                    <a:lnTo>
                      <a:pt x="23734" y="160239"/>
                    </a:lnTo>
                    <a:lnTo>
                      <a:pt x="38291" y="141186"/>
                    </a:lnTo>
                    <a:lnTo>
                      <a:pt x="39364" y="140322"/>
                    </a:lnTo>
                    <a:lnTo>
                      <a:pt x="41620" y="139762"/>
                    </a:lnTo>
                    <a:lnTo>
                      <a:pt x="42071" y="138559"/>
                    </a:lnTo>
                    <a:lnTo>
                      <a:pt x="42093" y="134486"/>
                    </a:lnTo>
                    <a:lnTo>
                      <a:pt x="42301" y="132561"/>
                    </a:lnTo>
                    <a:lnTo>
                      <a:pt x="47543" y="119775"/>
                    </a:lnTo>
                    <a:lnTo>
                      <a:pt x="48471" y="116388"/>
                    </a:lnTo>
                    <a:lnTo>
                      <a:pt x="48716" y="112630"/>
                    </a:lnTo>
                    <a:lnTo>
                      <a:pt x="48335" y="104317"/>
                    </a:lnTo>
                    <a:lnTo>
                      <a:pt x="48789" y="100718"/>
                    </a:lnTo>
                    <a:lnTo>
                      <a:pt x="50030" y="98410"/>
                    </a:lnTo>
                    <a:lnTo>
                      <a:pt x="57441" y="89539"/>
                    </a:lnTo>
                    <a:lnTo>
                      <a:pt x="61448" y="86258"/>
                    </a:lnTo>
                    <a:lnTo>
                      <a:pt x="63223" y="84053"/>
                    </a:lnTo>
                    <a:lnTo>
                      <a:pt x="64583" y="80377"/>
                    </a:lnTo>
                    <a:lnTo>
                      <a:pt x="66573" y="71535"/>
                    </a:lnTo>
                    <a:lnTo>
                      <a:pt x="68722" y="67190"/>
                    </a:lnTo>
                    <a:lnTo>
                      <a:pt x="75829" y="60932"/>
                    </a:lnTo>
                    <a:lnTo>
                      <a:pt x="90372" y="54321"/>
                    </a:lnTo>
                    <a:lnTo>
                      <a:pt x="95740" y="46794"/>
                    </a:lnTo>
                    <a:lnTo>
                      <a:pt x="97769" y="36441"/>
                    </a:lnTo>
                    <a:lnTo>
                      <a:pt x="95982" y="27188"/>
                    </a:lnTo>
                    <a:lnTo>
                      <a:pt x="90906" y="20475"/>
                    </a:lnTo>
                    <a:lnTo>
                      <a:pt x="83090" y="17630"/>
                    </a:lnTo>
                    <a:lnTo>
                      <a:pt x="87734" y="10809"/>
                    </a:lnTo>
                    <a:lnTo>
                      <a:pt x="89609" y="10946"/>
                    </a:lnTo>
                    <a:lnTo>
                      <a:pt x="91295" y="10630"/>
                    </a:lnTo>
                    <a:lnTo>
                      <a:pt x="99824" y="5611"/>
                    </a:lnTo>
                    <a:lnTo>
                      <a:pt x="106108" y="0"/>
                    </a:lnTo>
                    <a:lnTo>
                      <a:pt x="109460" y="3482"/>
                    </a:lnTo>
                    <a:lnTo>
                      <a:pt x="117195" y="7042"/>
                    </a:lnTo>
                    <a:lnTo>
                      <a:pt x="125537" y="13492"/>
                    </a:lnTo>
                    <a:lnTo>
                      <a:pt x="135861" y="18228"/>
                    </a:lnTo>
                    <a:lnTo>
                      <a:pt x="139276" y="28616"/>
                    </a:lnTo>
                    <a:lnTo>
                      <a:pt x="138849" y="36074"/>
                    </a:lnTo>
                    <a:lnTo>
                      <a:pt x="137794" y="41797"/>
                    </a:lnTo>
                    <a:lnTo>
                      <a:pt x="132498" y="48038"/>
                    </a:lnTo>
                    <a:lnTo>
                      <a:pt x="127559" y="51421"/>
                    </a:lnTo>
                    <a:lnTo>
                      <a:pt x="126527" y="55987"/>
                    </a:lnTo>
                    <a:lnTo>
                      <a:pt x="128076" y="60611"/>
                    </a:lnTo>
                    <a:lnTo>
                      <a:pt x="130290" y="64653"/>
                    </a:lnTo>
                    <a:lnTo>
                      <a:pt x="131202" y="69269"/>
                    </a:lnTo>
                    <a:lnTo>
                      <a:pt x="131108" y="75588"/>
                    </a:lnTo>
                    <a:lnTo>
                      <a:pt x="130076" y="7900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3" name="Freeform 11">
                <a:extLst>
                  <a:ext uri="{FF2B5EF4-FFF2-40B4-BE49-F238E27FC236}">
                    <a16:creationId xmlns:a16="http://schemas.microsoft.com/office/drawing/2014/main" id="{C89097D4-DA3C-D197-12FA-C191EC217EEC}"/>
                  </a:ext>
                </a:extLst>
              </p:cNvPr>
              <p:cNvSpPr>
                <a:spLocks noChangeAspect="1"/>
              </p:cNvSpPr>
              <p:nvPr>
                <p:custDataLst>
                  <p:tags r:id="rId11"/>
                </p:custDataLst>
              </p:nvPr>
            </p:nvSpPr>
            <p:spPr>
              <a:xfrm>
                <a:off x="4359330" y="3504682"/>
                <a:ext cx="180805" cy="202175"/>
              </a:xfrm>
              <a:custGeom>
                <a:avLst/>
                <a:gdLst/>
                <a:ahLst/>
                <a:cxnLst/>
                <a:rect l="0" t="0" r="0" b="0"/>
                <a:pathLst>
                  <a:path w="185638" h="207579">
                    <a:moveTo>
                      <a:pt x="32825" y="2169"/>
                    </a:moveTo>
                    <a:lnTo>
                      <a:pt x="37562" y="1562"/>
                    </a:lnTo>
                    <a:lnTo>
                      <a:pt x="37555" y="2334"/>
                    </a:lnTo>
                    <a:lnTo>
                      <a:pt x="41619" y="7249"/>
                    </a:lnTo>
                    <a:lnTo>
                      <a:pt x="59315" y="21421"/>
                    </a:lnTo>
                    <a:lnTo>
                      <a:pt x="71569" y="32473"/>
                    </a:lnTo>
                    <a:lnTo>
                      <a:pt x="77371" y="37390"/>
                    </a:lnTo>
                    <a:lnTo>
                      <a:pt x="80797" y="38025"/>
                    </a:lnTo>
                    <a:lnTo>
                      <a:pt x="88372" y="33808"/>
                    </a:lnTo>
                    <a:lnTo>
                      <a:pt x="102476" y="26581"/>
                    </a:lnTo>
                    <a:lnTo>
                      <a:pt x="112793" y="18791"/>
                    </a:lnTo>
                    <a:lnTo>
                      <a:pt x="113268" y="20688"/>
                    </a:lnTo>
                    <a:lnTo>
                      <a:pt x="114827" y="20912"/>
                    </a:lnTo>
                    <a:lnTo>
                      <a:pt x="118126" y="16780"/>
                    </a:lnTo>
                    <a:lnTo>
                      <a:pt x="122548" y="14367"/>
                    </a:lnTo>
                    <a:lnTo>
                      <a:pt x="139080" y="11123"/>
                    </a:lnTo>
                    <a:lnTo>
                      <a:pt x="143623" y="11983"/>
                    </a:lnTo>
                    <a:lnTo>
                      <a:pt x="148979" y="17308"/>
                    </a:lnTo>
                    <a:lnTo>
                      <a:pt x="158049" y="18172"/>
                    </a:lnTo>
                    <a:lnTo>
                      <a:pt x="171997" y="24247"/>
                    </a:lnTo>
                    <a:lnTo>
                      <a:pt x="171829" y="27525"/>
                    </a:lnTo>
                    <a:lnTo>
                      <a:pt x="176844" y="37813"/>
                    </a:lnTo>
                    <a:lnTo>
                      <a:pt x="176726" y="43876"/>
                    </a:lnTo>
                    <a:lnTo>
                      <a:pt x="179590" y="45990"/>
                    </a:lnTo>
                    <a:lnTo>
                      <a:pt x="184374" y="45771"/>
                    </a:lnTo>
                    <a:lnTo>
                      <a:pt x="185637" y="47903"/>
                    </a:lnTo>
                    <a:lnTo>
                      <a:pt x="167318" y="70510"/>
                    </a:lnTo>
                    <a:lnTo>
                      <a:pt x="167014" y="74853"/>
                    </a:lnTo>
                    <a:lnTo>
                      <a:pt x="168991" y="76454"/>
                    </a:lnTo>
                    <a:lnTo>
                      <a:pt x="169586" y="79209"/>
                    </a:lnTo>
                    <a:lnTo>
                      <a:pt x="167608" y="84412"/>
                    </a:lnTo>
                    <a:lnTo>
                      <a:pt x="159325" y="85785"/>
                    </a:lnTo>
                    <a:lnTo>
                      <a:pt x="157045" y="88961"/>
                    </a:lnTo>
                    <a:lnTo>
                      <a:pt x="162140" y="97566"/>
                    </a:lnTo>
                    <a:lnTo>
                      <a:pt x="162542" y="102019"/>
                    </a:lnTo>
                    <a:lnTo>
                      <a:pt x="165611" y="104254"/>
                    </a:lnTo>
                    <a:lnTo>
                      <a:pt x="166379" y="107020"/>
                    </a:lnTo>
                    <a:lnTo>
                      <a:pt x="165236" y="111046"/>
                    </a:lnTo>
                    <a:lnTo>
                      <a:pt x="166076" y="121553"/>
                    </a:lnTo>
                    <a:lnTo>
                      <a:pt x="160178" y="130254"/>
                    </a:lnTo>
                    <a:lnTo>
                      <a:pt x="159987" y="135349"/>
                    </a:lnTo>
                    <a:lnTo>
                      <a:pt x="155268" y="150942"/>
                    </a:lnTo>
                    <a:lnTo>
                      <a:pt x="162729" y="161782"/>
                    </a:lnTo>
                    <a:lnTo>
                      <a:pt x="148124" y="171623"/>
                    </a:lnTo>
                    <a:lnTo>
                      <a:pt x="148535" y="178950"/>
                    </a:lnTo>
                    <a:lnTo>
                      <a:pt x="147193" y="184911"/>
                    </a:lnTo>
                    <a:lnTo>
                      <a:pt x="147116" y="192335"/>
                    </a:lnTo>
                    <a:lnTo>
                      <a:pt x="139427" y="196443"/>
                    </a:lnTo>
                    <a:lnTo>
                      <a:pt x="138095" y="198888"/>
                    </a:lnTo>
                    <a:lnTo>
                      <a:pt x="137355" y="206430"/>
                    </a:lnTo>
                    <a:lnTo>
                      <a:pt x="131791" y="207578"/>
                    </a:lnTo>
                    <a:lnTo>
                      <a:pt x="125533" y="199797"/>
                    </a:lnTo>
                    <a:lnTo>
                      <a:pt x="118964" y="195646"/>
                    </a:lnTo>
                    <a:lnTo>
                      <a:pt x="117654" y="191810"/>
                    </a:lnTo>
                    <a:lnTo>
                      <a:pt x="117523" y="179605"/>
                    </a:lnTo>
                    <a:lnTo>
                      <a:pt x="109990" y="176394"/>
                    </a:lnTo>
                    <a:lnTo>
                      <a:pt x="104334" y="161813"/>
                    </a:lnTo>
                    <a:lnTo>
                      <a:pt x="92179" y="147532"/>
                    </a:lnTo>
                    <a:lnTo>
                      <a:pt x="80772" y="144184"/>
                    </a:lnTo>
                    <a:lnTo>
                      <a:pt x="63851" y="144263"/>
                    </a:lnTo>
                    <a:lnTo>
                      <a:pt x="59604" y="141148"/>
                    </a:lnTo>
                    <a:lnTo>
                      <a:pt x="58127" y="141690"/>
                    </a:lnTo>
                    <a:lnTo>
                      <a:pt x="60111" y="134359"/>
                    </a:lnTo>
                    <a:lnTo>
                      <a:pt x="62462" y="124050"/>
                    </a:lnTo>
                    <a:lnTo>
                      <a:pt x="63161" y="118309"/>
                    </a:lnTo>
                    <a:lnTo>
                      <a:pt x="63214" y="111427"/>
                    </a:lnTo>
                    <a:lnTo>
                      <a:pt x="60985" y="105674"/>
                    </a:lnTo>
                    <a:lnTo>
                      <a:pt x="56486" y="99892"/>
                    </a:lnTo>
                    <a:lnTo>
                      <a:pt x="52600" y="98714"/>
                    </a:lnTo>
                    <a:lnTo>
                      <a:pt x="48375" y="99251"/>
                    </a:lnTo>
                    <a:lnTo>
                      <a:pt x="44453" y="102080"/>
                    </a:lnTo>
                    <a:lnTo>
                      <a:pt x="40843" y="106076"/>
                    </a:lnTo>
                    <a:lnTo>
                      <a:pt x="34024" y="106585"/>
                    </a:lnTo>
                    <a:lnTo>
                      <a:pt x="22007" y="106465"/>
                    </a:lnTo>
                    <a:lnTo>
                      <a:pt x="16489" y="106406"/>
                    </a:lnTo>
                    <a:lnTo>
                      <a:pt x="12267" y="106360"/>
                    </a:lnTo>
                    <a:lnTo>
                      <a:pt x="9055" y="103460"/>
                    </a:lnTo>
                    <a:lnTo>
                      <a:pt x="10084" y="98870"/>
                    </a:lnTo>
                    <a:lnTo>
                      <a:pt x="15338" y="92609"/>
                    </a:lnTo>
                    <a:lnTo>
                      <a:pt x="17658" y="88625"/>
                    </a:lnTo>
                    <a:lnTo>
                      <a:pt x="17689" y="85742"/>
                    </a:lnTo>
                    <a:lnTo>
                      <a:pt x="16109" y="81716"/>
                    </a:lnTo>
                    <a:lnTo>
                      <a:pt x="11617" y="77067"/>
                    </a:lnTo>
                    <a:lnTo>
                      <a:pt x="8107" y="72445"/>
                    </a:lnTo>
                    <a:lnTo>
                      <a:pt x="3363" y="62635"/>
                    </a:lnTo>
                    <a:lnTo>
                      <a:pt x="1140" y="55165"/>
                    </a:lnTo>
                    <a:lnTo>
                      <a:pt x="3742" y="54544"/>
                    </a:lnTo>
                    <a:lnTo>
                      <a:pt x="6699" y="53374"/>
                    </a:lnTo>
                    <a:lnTo>
                      <a:pt x="7668" y="48555"/>
                    </a:lnTo>
                    <a:lnTo>
                      <a:pt x="8192" y="42114"/>
                    </a:lnTo>
                    <a:lnTo>
                      <a:pt x="6894" y="36472"/>
                    </a:lnTo>
                    <a:lnTo>
                      <a:pt x="4888" y="34039"/>
                    </a:lnTo>
                    <a:lnTo>
                      <a:pt x="1302" y="30778"/>
                    </a:lnTo>
                    <a:lnTo>
                      <a:pt x="0" y="26338"/>
                    </a:lnTo>
                    <a:lnTo>
                      <a:pt x="1152" y="24753"/>
                    </a:lnTo>
                    <a:lnTo>
                      <a:pt x="2991" y="21951"/>
                    </a:lnTo>
                    <a:lnTo>
                      <a:pt x="3948" y="17538"/>
                    </a:lnTo>
                    <a:lnTo>
                      <a:pt x="3910" y="14141"/>
                    </a:lnTo>
                    <a:lnTo>
                      <a:pt x="4436" y="14741"/>
                    </a:lnTo>
                    <a:lnTo>
                      <a:pt x="6890" y="17572"/>
                    </a:lnTo>
                    <a:lnTo>
                      <a:pt x="12092" y="17631"/>
                    </a:lnTo>
                    <a:lnTo>
                      <a:pt x="14851" y="13634"/>
                    </a:lnTo>
                    <a:lnTo>
                      <a:pt x="15116" y="9213"/>
                    </a:lnTo>
                    <a:lnTo>
                      <a:pt x="13365" y="3970"/>
                    </a:lnTo>
                    <a:lnTo>
                      <a:pt x="14307" y="1562"/>
                    </a:lnTo>
                    <a:lnTo>
                      <a:pt x="17702" y="0"/>
                    </a:lnTo>
                    <a:lnTo>
                      <a:pt x="23130" y="5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4" name="Freeform 12">
                <a:extLst>
                  <a:ext uri="{FF2B5EF4-FFF2-40B4-BE49-F238E27FC236}">
                    <a16:creationId xmlns:a16="http://schemas.microsoft.com/office/drawing/2014/main" id="{57C02419-743F-883D-DBB7-E6D61DB4FFEC}"/>
                  </a:ext>
                </a:extLst>
              </p:cNvPr>
              <p:cNvSpPr>
                <a:spLocks noChangeAspect="1"/>
              </p:cNvSpPr>
              <p:nvPr>
                <p:custDataLst>
                  <p:tags r:id="rId12"/>
                </p:custDataLst>
              </p:nvPr>
            </p:nvSpPr>
            <p:spPr>
              <a:xfrm>
                <a:off x="4288987" y="3411548"/>
                <a:ext cx="51419" cy="80319"/>
              </a:xfrm>
              <a:custGeom>
                <a:avLst/>
                <a:gdLst/>
                <a:ahLst/>
                <a:cxnLst/>
                <a:rect l="0" t="0" r="0" b="0"/>
                <a:pathLst>
                  <a:path w="52794" h="82466">
                    <a:moveTo>
                      <a:pt x="17450" y="2342"/>
                    </a:moveTo>
                    <a:lnTo>
                      <a:pt x="17435" y="2243"/>
                    </a:lnTo>
                    <a:lnTo>
                      <a:pt x="21895" y="6104"/>
                    </a:lnTo>
                    <a:lnTo>
                      <a:pt x="33276" y="9672"/>
                    </a:lnTo>
                    <a:lnTo>
                      <a:pt x="37144" y="12908"/>
                    </a:lnTo>
                    <a:lnTo>
                      <a:pt x="36822" y="14602"/>
                    </a:lnTo>
                    <a:lnTo>
                      <a:pt x="28031" y="19252"/>
                    </a:lnTo>
                    <a:lnTo>
                      <a:pt x="27435" y="23606"/>
                    </a:lnTo>
                    <a:lnTo>
                      <a:pt x="30499" y="29063"/>
                    </a:lnTo>
                    <a:lnTo>
                      <a:pt x="36111" y="30844"/>
                    </a:lnTo>
                    <a:lnTo>
                      <a:pt x="40984" y="39612"/>
                    </a:lnTo>
                    <a:lnTo>
                      <a:pt x="44867" y="41257"/>
                    </a:lnTo>
                    <a:lnTo>
                      <a:pt x="50346" y="39811"/>
                    </a:lnTo>
                    <a:lnTo>
                      <a:pt x="50485" y="55720"/>
                    </a:lnTo>
                    <a:lnTo>
                      <a:pt x="51045" y="64169"/>
                    </a:lnTo>
                    <a:lnTo>
                      <a:pt x="52793" y="66740"/>
                    </a:lnTo>
                    <a:lnTo>
                      <a:pt x="51829" y="73038"/>
                    </a:lnTo>
                    <a:lnTo>
                      <a:pt x="51726" y="80678"/>
                    </a:lnTo>
                    <a:lnTo>
                      <a:pt x="51702" y="82465"/>
                    </a:lnTo>
                    <a:lnTo>
                      <a:pt x="43003" y="74922"/>
                    </a:lnTo>
                    <a:lnTo>
                      <a:pt x="33874" y="66753"/>
                    </a:lnTo>
                    <a:lnTo>
                      <a:pt x="28748" y="62650"/>
                    </a:lnTo>
                    <a:lnTo>
                      <a:pt x="25032" y="60302"/>
                    </a:lnTo>
                    <a:lnTo>
                      <a:pt x="23579" y="58512"/>
                    </a:lnTo>
                    <a:lnTo>
                      <a:pt x="25081" y="57529"/>
                    </a:lnTo>
                    <a:lnTo>
                      <a:pt x="1850" y="52106"/>
                    </a:lnTo>
                    <a:lnTo>
                      <a:pt x="1847" y="52104"/>
                    </a:lnTo>
                    <a:lnTo>
                      <a:pt x="1435" y="50683"/>
                    </a:lnTo>
                    <a:lnTo>
                      <a:pt x="431" y="44920"/>
                    </a:lnTo>
                    <a:lnTo>
                      <a:pt x="115" y="37192"/>
                    </a:lnTo>
                    <a:lnTo>
                      <a:pt x="104" y="36857"/>
                    </a:lnTo>
                    <a:lnTo>
                      <a:pt x="45" y="33163"/>
                    </a:lnTo>
                    <a:lnTo>
                      <a:pt x="0" y="29608"/>
                    </a:lnTo>
                    <a:lnTo>
                      <a:pt x="68" y="28898"/>
                    </a:lnTo>
                    <a:lnTo>
                      <a:pt x="500" y="25192"/>
                    </a:lnTo>
                    <a:lnTo>
                      <a:pt x="501" y="25132"/>
                    </a:lnTo>
                    <a:lnTo>
                      <a:pt x="614" y="22389"/>
                    </a:lnTo>
                    <a:lnTo>
                      <a:pt x="719" y="19765"/>
                    </a:lnTo>
                    <a:lnTo>
                      <a:pt x="1197" y="5574"/>
                    </a:lnTo>
                    <a:lnTo>
                      <a:pt x="927" y="0"/>
                    </a:lnTo>
                    <a:lnTo>
                      <a:pt x="1131" y="4"/>
                    </a:lnTo>
                    <a:lnTo>
                      <a:pt x="5886" y="83"/>
                    </a:lnTo>
                    <a:lnTo>
                      <a:pt x="11570" y="195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5" name="Freeform 13">
                <a:extLst>
                  <a:ext uri="{FF2B5EF4-FFF2-40B4-BE49-F238E27FC236}">
                    <a16:creationId xmlns:a16="http://schemas.microsoft.com/office/drawing/2014/main" id="{F4906D14-9DF0-3D39-E41D-58CF6968B01E}"/>
                  </a:ext>
                </a:extLst>
              </p:cNvPr>
              <p:cNvSpPr>
                <a:spLocks noChangeAspect="1"/>
              </p:cNvSpPr>
              <p:nvPr>
                <p:custDataLst>
                  <p:tags r:id="rId13"/>
                </p:custDataLst>
              </p:nvPr>
            </p:nvSpPr>
            <p:spPr>
              <a:xfrm>
                <a:off x="4750041" y="2978734"/>
                <a:ext cx="62389" cy="59255"/>
              </a:xfrm>
              <a:custGeom>
                <a:avLst/>
                <a:gdLst/>
                <a:ahLst/>
                <a:cxnLst/>
                <a:rect l="0" t="0" r="0" b="0"/>
                <a:pathLst>
                  <a:path w="64057" h="60839">
                    <a:moveTo>
                      <a:pt x="36554" y="7320"/>
                    </a:moveTo>
                    <a:lnTo>
                      <a:pt x="39521" y="7266"/>
                    </a:lnTo>
                    <a:lnTo>
                      <a:pt x="42295" y="7215"/>
                    </a:lnTo>
                    <a:lnTo>
                      <a:pt x="44474" y="4785"/>
                    </a:lnTo>
                    <a:lnTo>
                      <a:pt x="46452" y="1668"/>
                    </a:lnTo>
                    <a:lnTo>
                      <a:pt x="48650" y="600"/>
                    </a:lnTo>
                    <a:lnTo>
                      <a:pt x="51422" y="548"/>
                    </a:lnTo>
                    <a:lnTo>
                      <a:pt x="53827" y="502"/>
                    </a:lnTo>
                    <a:lnTo>
                      <a:pt x="58266" y="416"/>
                    </a:lnTo>
                    <a:lnTo>
                      <a:pt x="61989" y="1369"/>
                    </a:lnTo>
                    <a:lnTo>
                      <a:pt x="62578" y="1910"/>
                    </a:lnTo>
                    <a:lnTo>
                      <a:pt x="64055" y="3076"/>
                    </a:lnTo>
                    <a:lnTo>
                      <a:pt x="64056" y="3077"/>
                    </a:lnTo>
                    <a:lnTo>
                      <a:pt x="63460" y="4765"/>
                    </a:lnTo>
                    <a:lnTo>
                      <a:pt x="58920" y="24680"/>
                    </a:lnTo>
                    <a:lnTo>
                      <a:pt x="57911" y="32506"/>
                    </a:lnTo>
                    <a:lnTo>
                      <a:pt x="58616" y="39613"/>
                    </a:lnTo>
                    <a:lnTo>
                      <a:pt x="62627" y="42645"/>
                    </a:lnTo>
                    <a:lnTo>
                      <a:pt x="63326" y="45911"/>
                    </a:lnTo>
                    <a:lnTo>
                      <a:pt x="60158" y="52965"/>
                    </a:lnTo>
                    <a:lnTo>
                      <a:pt x="59536" y="51319"/>
                    </a:lnTo>
                    <a:lnTo>
                      <a:pt x="58129" y="49628"/>
                    </a:lnTo>
                    <a:lnTo>
                      <a:pt x="51988" y="49074"/>
                    </a:lnTo>
                    <a:lnTo>
                      <a:pt x="46261" y="50545"/>
                    </a:lnTo>
                    <a:lnTo>
                      <a:pt x="37205" y="52764"/>
                    </a:lnTo>
                    <a:lnTo>
                      <a:pt x="31283" y="54233"/>
                    </a:lnTo>
                    <a:lnTo>
                      <a:pt x="24260" y="56061"/>
                    </a:lnTo>
                    <a:lnTo>
                      <a:pt x="18157" y="57537"/>
                    </a:lnTo>
                    <a:lnTo>
                      <a:pt x="12634" y="60352"/>
                    </a:lnTo>
                    <a:lnTo>
                      <a:pt x="7441" y="60791"/>
                    </a:lnTo>
                    <a:lnTo>
                      <a:pt x="4468" y="60838"/>
                    </a:lnTo>
                    <a:lnTo>
                      <a:pt x="1834" y="58826"/>
                    </a:lnTo>
                    <a:lnTo>
                      <a:pt x="466" y="54395"/>
                    </a:lnTo>
                    <a:lnTo>
                      <a:pt x="0" y="48251"/>
                    </a:lnTo>
                    <a:lnTo>
                      <a:pt x="483" y="43466"/>
                    </a:lnTo>
                    <a:lnTo>
                      <a:pt x="1929" y="40699"/>
                    </a:lnTo>
                    <a:lnTo>
                      <a:pt x="6928" y="40620"/>
                    </a:lnTo>
                    <a:lnTo>
                      <a:pt x="13234" y="40182"/>
                    </a:lnTo>
                    <a:lnTo>
                      <a:pt x="16305" y="35353"/>
                    </a:lnTo>
                    <a:lnTo>
                      <a:pt x="17685" y="29514"/>
                    </a:lnTo>
                    <a:lnTo>
                      <a:pt x="16286" y="23723"/>
                    </a:lnTo>
                    <a:lnTo>
                      <a:pt x="14014" y="20344"/>
                    </a:lnTo>
                    <a:lnTo>
                      <a:pt x="11187" y="17666"/>
                    </a:lnTo>
                    <a:lnTo>
                      <a:pt x="10172" y="12213"/>
                    </a:lnTo>
                    <a:lnTo>
                      <a:pt x="10667" y="8443"/>
                    </a:lnTo>
                    <a:lnTo>
                      <a:pt x="11926" y="6023"/>
                    </a:lnTo>
                    <a:lnTo>
                      <a:pt x="13900" y="2239"/>
                    </a:lnTo>
                    <a:lnTo>
                      <a:pt x="17195" y="487"/>
                    </a:lnTo>
                    <a:lnTo>
                      <a:pt x="24957" y="0"/>
                    </a:lnTo>
                    <a:lnTo>
                      <a:pt x="29766" y="272"/>
                    </a:lnTo>
                    <a:lnTo>
                      <a:pt x="33342" y="327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6" name="Freeform 14">
                <a:extLst>
                  <a:ext uri="{FF2B5EF4-FFF2-40B4-BE49-F238E27FC236}">
                    <a16:creationId xmlns:a16="http://schemas.microsoft.com/office/drawing/2014/main" id="{AE784FF6-2FDE-7DFF-109E-7E1DA0E6EBCF}"/>
                  </a:ext>
                </a:extLst>
              </p:cNvPr>
              <p:cNvSpPr>
                <a:spLocks noChangeAspect="1"/>
              </p:cNvSpPr>
              <p:nvPr>
                <p:custDataLst>
                  <p:tags r:id="rId14"/>
                </p:custDataLst>
              </p:nvPr>
            </p:nvSpPr>
            <p:spPr>
              <a:xfrm>
                <a:off x="4458297" y="2805620"/>
                <a:ext cx="408792" cy="359974"/>
              </a:xfrm>
              <a:custGeom>
                <a:avLst/>
                <a:gdLst/>
                <a:ahLst/>
                <a:cxnLst/>
                <a:rect l="0" t="0" r="0" b="0"/>
                <a:pathLst>
                  <a:path w="419720" h="369597">
                    <a:moveTo>
                      <a:pt x="363598" y="180819"/>
                    </a:moveTo>
                    <a:lnTo>
                      <a:pt x="363597" y="180818"/>
                    </a:lnTo>
                    <a:lnTo>
                      <a:pt x="362120" y="179652"/>
                    </a:lnTo>
                    <a:lnTo>
                      <a:pt x="361531" y="179111"/>
                    </a:lnTo>
                    <a:lnTo>
                      <a:pt x="357808" y="178158"/>
                    </a:lnTo>
                    <a:lnTo>
                      <a:pt x="353369" y="178244"/>
                    </a:lnTo>
                    <a:lnTo>
                      <a:pt x="350964" y="178290"/>
                    </a:lnTo>
                    <a:lnTo>
                      <a:pt x="348192" y="178342"/>
                    </a:lnTo>
                    <a:lnTo>
                      <a:pt x="345994" y="179410"/>
                    </a:lnTo>
                    <a:lnTo>
                      <a:pt x="344016" y="182527"/>
                    </a:lnTo>
                    <a:lnTo>
                      <a:pt x="341837" y="184957"/>
                    </a:lnTo>
                    <a:lnTo>
                      <a:pt x="339063" y="185008"/>
                    </a:lnTo>
                    <a:lnTo>
                      <a:pt x="336096" y="185062"/>
                    </a:lnTo>
                    <a:lnTo>
                      <a:pt x="332884" y="181012"/>
                    </a:lnTo>
                    <a:lnTo>
                      <a:pt x="329308" y="178014"/>
                    </a:lnTo>
                    <a:lnTo>
                      <a:pt x="324499" y="177742"/>
                    </a:lnTo>
                    <a:lnTo>
                      <a:pt x="316737" y="178229"/>
                    </a:lnTo>
                    <a:lnTo>
                      <a:pt x="313442" y="179981"/>
                    </a:lnTo>
                    <a:lnTo>
                      <a:pt x="311468" y="183765"/>
                    </a:lnTo>
                    <a:lnTo>
                      <a:pt x="310209" y="186185"/>
                    </a:lnTo>
                    <a:lnTo>
                      <a:pt x="309714" y="189955"/>
                    </a:lnTo>
                    <a:lnTo>
                      <a:pt x="310729" y="195408"/>
                    </a:lnTo>
                    <a:lnTo>
                      <a:pt x="313556" y="198086"/>
                    </a:lnTo>
                    <a:lnTo>
                      <a:pt x="315828" y="201465"/>
                    </a:lnTo>
                    <a:lnTo>
                      <a:pt x="317227" y="207256"/>
                    </a:lnTo>
                    <a:lnTo>
                      <a:pt x="315847" y="213095"/>
                    </a:lnTo>
                    <a:lnTo>
                      <a:pt x="312776" y="217924"/>
                    </a:lnTo>
                    <a:lnTo>
                      <a:pt x="306470" y="218362"/>
                    </a:lnTo>
                    <a:lnTo>
                      <a:pt x="301471" y="218441"/>
                    </a:lnTo>
                    <a:lnTo>
                      <a:pt x="300025" y="221208"/>
                    </a:lnTo>
                    <a:lnTo>
                      <a:pt x="299542" y="225993"/>
                    </a:lnTo>
                    <a:lnTo>
                      <a:pt x="300008" y="232137"/>
                    </a:lnTo>
                    <a:lnTo>
                      <a:pt x="301376" y="236568"/>
                    </a:lnTo>
                    <a:lnTo>
                      <a:pt x="304010" y="238580"/>
                    </a:lnTo>
                    <a:lnTo>
                      <a:pt x="306983" y="238533"/>
                    </a:lnTo>
                    <a:lnTo>
                      <a:pt x="312176" y="238094"/>
                    </a:lnTo>
                    <a:lnTo>
                      <a:pt x="317699" y="235279"/>
                    </a:lnTo>
                    <a:lnTo>
                      <a:pt x="323802" y="233803"/>
                    </a:lnTo>
                    <a:lnTo>
                      <a:pt x="330825" y="231975"/>
                    </a:lnTo>
                    <a:lnTo>
                      <a:pt x="336747" y="230506"/>
                    </a:lnTo>
                    <a:lnTo>
                      <a:pt x="345803" y="228287"/>
                    </a:lnTo>
                    <a:lnTo>
                      <a:pt x="351530" y="226816"/>
                    </a:lnTo>
                    <a:lnTo>
                      <a:pt x="357671" y="227370"/>
                    </a:lnTo>
                    <a:lnTo>
                      <a:pt x="359078" y="229061"/>
                    </a:lnTo>
                    <a:lnTo>
                      <a:pt x="359700" y="230707"/>
                    </a:lnTo>
                    <a:lnTo>
                      <a:pt x="359698" y="230713"/>
                    </a:lnTo>
                    <a:lnTo>
                      <a:pt x="359585" y="230980"/>
                    </a:lnTo>
                    <a:lnTo>
                      <a:pt x="341395" y="261566"/>
                    </a:lnTo>
                    <a:lnTo>
                      <a:pt x="335245" y="275438"/>
                    </a:lnTo>
                    <a:lnTo>
                      <a:pt x="332745" y="289228"/>
                    </a:lnTo>
                    <a:lnTo>
                      <a:pt x="333422" y="292449"/>
                    </a:lnTo>
                    <a:lnTo>
                      <a:pt x="334694" y="294759"/>
                    </a:lnTo>
                    <a:lnTo>
                      <a:pt x="335780" y="297571"/>
                    </a:lnTo>
                    <a:lnTo>
                      <a:pt x="335838" y="302235"/>
                    </a:lnTo>
                    <a:lnTo>
                      <a:pt x="334849" y="304398"/>
                    </a:lnTo>
                    <a:lnTo>
                      <a:pt x="331101" y="309470"/>
                    </a:lnTo>
                    <a:lnTo>
                      <a:pt x="330303" y="311443"/>
                    </a:lnTo>
                    <a:lnTo>
                      <a:pt x="329133" y="318367"/>
                    </a:lnTo>
                    <a:lnTo>
                      <a:pt x="326132" y="322710"/>
                    </a:lnTo>
                    <a:lnTo>
                      <a:pt x="319055" y="328583"/>
                    </a:lnTo>
                    <a:lnTo>
                      <a:pt x="313575" y="336727"/>
                    </a:lnTo>
                    <a:lnTo>
                      <a:pt x="308701" y="345855"/>
                    </a:lnTo>
                    <a:lnTo>
                      <a:pt x="305360" y="350012"/>
                    </a:lnTo>
                    <a:lnTo>
                      <a:pt x="293806" y="357698"/>
                    </a:lnTo>
                    <a:lnTo>
                      <a:pt x="290326" y="360907"/>
                    </a:lnTo>
                    <a:lnTo>
                      <a:pt x="286675" y="365406"/>
                    </a:lnTo>
                    <a:lnTo>
                      <a:pt x="284742" y="369596"/>
                    </a:lnTo>
                    <a:lnTo>
                      <a:pt x="282568" y="367686"/>
                    </a:lnTo>
                    <a:lnTo>
                      <a:pt x="278371" y="367744"/>
                    </a:lnTo>
                    <a:lnTo>
                      <a:pt x="272455" y="368348"/>
                    </a:lnTo>
                    <a:lnTo>
                      <a:pt x="263765" y="357946"/>
                    </a:lnTo>
                    <a:lnTo>
                      <a:pt x="251290" y="356402"/>
                    </a:lnTo>
                    <a:lnTo>
                      <a:pt x="246024" y="353068"/>
                    </a:lnTo>
                    <a:lnTo>
                      <a:pt x="235561" y="337704"/>
                    </a:lnTo>
                    <a:lnTo>
                      <a:pt x="235905" y="332597"/>
                    </a:lnTo>
                    <a:lnTo>
                      <a:pt x="234559" y="325611"/>
                    </a:lnTo>
                    <a:lnTo>
                      <a:pt x="238010" y="317933"/>
                    </a:lnTo>
                    <a:lnTo>
                      <a:pt x="238358" y="313358"/>
                    </a:lnTo>
                    <a:lnTo>
                      <a:pt x="233929" y="310434"/>
                    </a:lnTo>
                    <a:lnTo>
                      <a:pt x="231582" y="302818"/>
                    </a:lnTo>
                    <a:lnTo>
                      <a:pt x="223231" y="296852"/>
                    </a:lnTo>
                    <a:lnTo>
                      <a:pt x="219748" y="290095"/>
                    </a:lnTo>
                    <a:lnTo>
                      <a:pt x="216249" y="286940"/>
                    </a:lnTo>
                    <a:lnTo>
                      <a:pt x="206170" y="287033"/>
                    </a:lnTo>
                    <a:lnTo>
                      <a:pt x="201206" y="281459"/>
                    </a:lnTo>
                    <a:lnTo>
                      <a:pt x="192486" y="277297"/>
                    </a:lnTo>
                    <a:lnTo>
                      <a:pt x="188156" y="278060"/>
                    </a:lnTo>
                    <a:lnTo>
                      <a:pt x="180965" y="283001"/>
                    </a:lnTo>
                    <a:lnTo>
                      <a:pt x="160476" y="282490"/>
                    </a:lnTo>
                    <a:lnTo>
                      <a:pt x="153607" y="285391"/>
                    </a:lnTo>
                    <a:lnTo>
                      <a:pt x="149635" y="288709"/>
                    </a:lnTo>
                    <a:lnTo>
                      <a:pt x="147731" y="292538"/>
                    </a:lnTo>
                    <a:lnTo>
                      <a:pt x="143653" y="310910"/>
                    </a:lnTo>
                    <a:lnTo>
                      <a:pt x="140936" y="313588"/>
                    </a:lnTo>
                    <a:lnTo>
                      <a:pt x="132800" y="307460"/>
                    </a:lnTo>
                    <a:lnTo>
                      <a:pt x="124801" y="306531"/>
                    </a:lnTo>
                    <a:lnTo>
                      <a:pt x="108788" y="298509"/>
                    </a:lnTo>
                    <a:lnTo>
                      <a:pt x="106931" y="299679"/>
                    </a:lnTo>
                    <a:lnTo>
                      <a:pt x="106246" y="307537"/>
                    </a:lnTo>
                    <a:lnTo>
                      <a:pt x="104924" y="309870"/>
                    </a:lnTo>
                    <a:lnTo>
                      <a:pt x="94148" y="312433"/>
                    </a:lnTo>
                    <a:lnTo>
                      <a:pt x="88640" y="317433"/>
                    </a:lnTo>
                    <a:lnTo>
                      <a:pt x="83697" y="317160"/>
                    </a:lnTo>
                    <a:lnTo>
                      <a:pt x="75761" y="316688"/>
                    </a:lnTo>
                    <a:lnTo>
                      <a:pt x="69847" y="319449"/>
                    </a:lnTo>
                    <a:lnTo>
                      <a:pt x="61144" y="313717"/>
                    </a:lnTo>
                    <a:lnTo>
                      <a:pt x="51458" y="315499"/>
                    </a:lnTo>
                    <a:lnTo>
                      <a:pt x="48742" y="314329"/>
                    </a:lnTo>
                    <a:lnTo>
                      <a:pt x="47236" y="312411"/>
                    </a:lnTo>
                    <a:lnTo>
                      <a:pt x="47317" y="301907"/>
                    </a:lnTo>
                    <a:lnTo>
                      <a:pt x="43439" y="298622"/>
                    </a:lnTo>
                    <a:lnTo>
                      <a:pt x="35791" y="301129"/>
                    </a:lnTo>
                    <a:lnTo>
                      <a:pt x="27975" y="298578"/>
                    </a:lnTo>
                    <a:lnTo>
                      <a:pt x="22632" y="302269"/>
                    </a:lnTo>
                    <a:lnTo>
                      <a:pt x="18345" y="302786"/>
                    </a:lnTo>
                    <a:lnTo>
                      <a:pt x="14293" y="301269"/>
                    </a:lnTo>
                    <a:lnTo>
                      <a:pt x="11007" y="297433"/>
                    </a:lnTo>
                    <a:lnTo>
                      <a:pt x="0" y="298336"/>
                    </a:lnTo>
                    <a:lnTo>
                      <a:pt x="3193" y="285302"/>
                    </a:lnTo>
                    <a:lnTo>
                      <a:pt x="9006" y="278756"/>
                    </a:lnTo>
                    <a:lnTo>
                      <a:pt x="10649" y="274934"/>
                    </a:lnTo>
                    <a:lnTo>
                      <a:pt x="10079" y="261130"/>
                    </a:lnTo>
                    <a:lnTo>
                      <a:pt x="12098" y="248731"/>
                    </a:lnTo>
                    <a:lnTo>
                      <a:pt x="10955" y="246287"/>
                    </a:lnTo>
                    <a:lnTo>
                      <a:pt x="12648" y="242248"/>
                    </a:lnTo>
                    <a:lnTo>
                      <a:pt x="24616" y="235317"/>
                    </a:lnTo>
                    <a:lnTo>
                      <a:pt x="29366" y="239351"/>
                    </a:lnTo>
                    <a:lnTo>
                      <a:pt x="36982" y="240500"/>
                    </a:lnTo>
                    <a:lnTo>
                      <a:pt x="51004" y="240532"/>
                    </a:lnTo>
                    <a:lnTo>
                      <a:pt x="66234" y="240552"/>
                    </a:lnTo>
                    <a:lnTo>
                      <a:pt x="76902" y="240557"/>
                    </a:lnTo>
                    <a:lnTo>
                      <a:pt x="86658" y="239429"/>
                    </a:lnTo>
                    <a:lnTo>
                      <a:pt x="93969" y="237743"/>
                    </a:lnTo>
                    <a:lnTo>
                      <a:pt x="98535" y="233808"/>
                    </a:lnTo>
                    <a:lnTo>
                      <a:pt x="98528" y="228764"/>
                    </a:lnTo>
                    <a:lnTo>
                      <a:pt x="96391" y="222598"/>
                    </a:lnTo>
                    <a:lnTo>
                      <a:pt x="94864" y="218670"/>
                    </a:lnTo>
                    <a:lnTo>
                      <a:pt x="93943" y="215315"/>
                    </a:lnTo>
                    <a:lnTo>
                      <a:pt x="94542" y="209708"/>
                    </a:lnTo>
                    <a:lnTo>
                      <a:pt x="96667" y="204670"/>
                    </a:lnTo>
                    <a:lnTo>
                      <a:pt x="101834" y="202412"/>
                    </a:lnTo>
                    <a:lnTo>
                      <a:pt x="107292" y="199597"/>
                    </a:lnTo>
                    <a:lnTo>
                      <a:pt x="112141" y="193417"/>
                    </a:lnTo>
                    <a:lnTo>
                      <a:pt x="116984" y="186683"/>
                    </a:lnTo>
                    <a:lnTo>
                      <a:pt x="121214" y="179938"/>
                    </a:lnTo>
                    <a:lnTo>
                      <a:pt x="126050" y="173763"/>
                    </a:lnTo>
                    <a:lnTo>
                      <a:pt x="135435" y="168674"/>
                    </a:lnTo>
                    <a:lnTo>
                      <a:pt x="139972" y="165851"/>
                    </a:lnTo>
                    <a:lnTo>
                      <a:pt x="146041" y="166948"/>
                    </a:lnTo>
                    <a:lnTo>
                      <a:pt x="151504" y="169163"/>
                    </a:lnTo>
                    <a:lnTo>
                      <a:pt x="156056" y="169701"/>
                    </a:lnTo>
                    <a:lnTo>
                      <a:pt x="159095" y="169684"/>
                    </a:lnTo>
                    <a:lnTo>
                      <a:pt x="163314" y="166303"/>
                    </a:lnTo>
                    <a:lnTo>
                      <a:pt x="168113" y="157863"/>
                    </a:lnTo>
                    <a:lnTo>
                      <a:pt x="171980" y="146614"/>
                    </a:lnTo>
                    <a:lnTo>
                      <a:pt x="171931" y="139339"/>
                    </a:lnTo>
                    <a:lnTo>
                      <a:pt x="171279" y="132611"/>
                    </a:lnTo>
                    <a:lnTo>
                      <a:pt x="167601" y="125350"/>
                    </a:lnTo>
                    <a:lnTo>
                      <a:pt x="163934" y="118640"/>
                    </a:lnTo>
                    <a:lnTo>
                      <a:pt x="162377" y="111917"/>
                    </a:lnTo>
                    <a:lnTo>
                      <a:pt x="162615" y="100149"/>
                    </a:lnTo>
                    <a:lnTo>
                      <a:pt x="166469" y="89465"/>
                    </a:lnTo>
                    <a:lnTo>
                      <a:pt x="177850" y="78748"/>
                    </a:lnTo>
                    <a:lnTo>
                      <a:pt x="186842" y="72502"/>
                    </a:lnTo>
                    <a:lnTo>
                      <a:pt x="194665" y="71888"/>
                    </a:lnTo>
                    <a:lnTo>
                      <a:pt x="203705" y="72363"/>
                    </a:lnTo>
                    <a:lnTo>
                      <a:pt x="211268" y="75669"/>
                    </a:lnTo>
                    <a:lnTo>
                      <a:pt x="219724" y="77819"/>
                    </a:lnTo>
                    <a:lnTo>
                      <a:pt x="224814" y="74964"/>
                    </a:lnTo>
                    <a:lnTo>
                      <a:pt x="225051" y="68801"/>
                    </a:lnTo>
                    <a:lnTo>
                      <a:pt x="221966" y="62101"/>
                    </a:lnTo>
                    <a:lnTo>
                      <a:pt x="215868" y="53751"/>
                    </a:lnTo>
                    <a:lnTo>
                      <a:pt x="209497" y="47652"/>
                    </a:lnTo>
                    <a:lnTo>
                      <a:pt x="200616" y="29233"/>
                    </a:lnTo>
                    <a:lnTo>
                      <a:pt x="200492" y="15218"/>
                    </a:lnTo>
                    <a:lnTo>
                      <a:pt x="200652" y="5898"/>
                    </a:lnTo>
                    <a:lnTo>
                      <a:pt x="200763" y="2847"/>
                    </a:lnTo>
                    <a:lnTo>
                      <a:pt x="200763" y="2839"/>
                    </a:lnTo>
                    <a:lnTo>
                      <a:pt x="213658" y="2721"/>
                    </a:lnTo>
                    <a:lnTo>
                      <a:pt x="215062" y="3547"/>
                    </a:lnTo>
                    <a:lnTo>
                      <a:pt x="217161" y="7258"/>
                    </a:lnTo>
                    <a:lnTo>
                      <a:pt x="219223" y="8123"/>
                    </a:lnTo>
                    <a:lnTo>
                      <a:pt x="221501" y="7307"/>
                    </a:lnTo>
                    <a:lnTo>
                      <a:pt x="223191" y="6000"/>
                    </a:lnTo>
                    <a:lnTo>
                      <a:pt x="224826" y="5704"/>
                    </a:lnTo>
                    <a:lnTo>
                      <a:pt x="227012" y="8043"/>
                    </a:lnTo>
                    <a:lnTo>
                      <a:pt x="233923" y="4564"/>
                    </a:lnTo>
                    <a:lnTo>
                      <a:pt x="251468" y="10469"/>
                    </a:lnTo>
                    <a:lnTo>
                      <a:pt x="257882" y="10048"/>
                    </a:lnTo>
                    <a:lnTo>
                      <a:pt x="261194" y="15259"/>
                    </a:lnTo>
                    <a:lnTo>
                      <a:pt x="262817" y="14662"/>
                    </a:lnTo>
                    <a:lnTo>
                      <a:pt x="264224" y="11706"/>
                    </a:lnTo>
                    <a:lnTo>
                      <a:pt x="266878" y="9930"/>
                    </a:lnTo>
                    <a:lnTo>
                      <a:pt x="270542" y="10315"/>
                    </a:lnTo>
                    <a:lnTo>
                      <a:pt x="280259" y="15186"/>
                    </a:lnTo>
                    <a:lnTo>
                      <a:pt x="281713" y="12257"/>
                    </a:lnTo>
                    <a:lnTo>
                      <a:pt x="283302" y="12794"/>
                    </a:lnTo>
                    <a:lnTo>
                      <a:pt x="285174" y="14539"/>
                    </a:lnTo>
                    <a:lnTo>
                      <a:pt x="287370" y="15082"/>
                    </a:lnTo>
                    <a:lnTo>
                      <a:pt x="289695" y="13726"/>
                    </a:lnTo>
                    <a:lnTo>
                      <a:pt x="293135" y="10239"/>
                    </a:lnTo>
                    <a:lnTo>
                      <a:pt x="294961" y="9527"/>
                    </a:lnTo>
                    <a:lnTo>
                      <a:pt x="298975" y="11952"/>
                    </a:lnTo>
                    <a:lnTo>
                      <a:pt x="301455" y="12597"/>
                    </a:lnTo>
                    <a:lnTo>
                      <a:pt x="302523" y="10715"/>
                    </a:lnTo>
                    <a:lnTo>
                      <a:pt x="303112" y="8560"/>
                    </a:lnTo>
                    <a:lnTo>
                      <a:pt x="304541" y="6485"/>
                    </a:lnTo>
                    <a:lnTo>
                      <a:pt x="306419" y="4900"/>
                    </a:lnTo>
                    <a:lnTo>
                      <a:pt x="308127" y="4110"/>
                    </a:lnTo>
                    <a:lnTo>
                      <a:pt x="312496" y="4863"/>
                    </a:lnTo>
                    <a:lnTo>
                      <a:pt x="321619" y="10320"/>
                    </a:lnTo>
                    <a:lnTo>
                      <a:pt x="325768" y="11633"/>
                    </a:lnTo>
                    <a:lnTo>
                      <a:pt x="331035" y="10420"/>
                    </a:lnTo>
                    <a:lnTo>
                      <a:pt x="343063" y="886"/>
                    </a:lnTo>
                    <a:lnTo>
                      <a:pt x="346354" y="0"/>
                    </a:lnTo>
                    <a:lnTo>
                      <a:pt x="368926" y="377"/>
                    </a:lnTo>
                    <a:lnTo>
                      <a:pt x="369106" y="1820"/>
                    </a:lnTo>
                    <a:lnTo>
                      <a:pt x="370422" y="5104"/>
                    </a:lnTo>
                    <a:lnTo>
                      <a:pt x="372267" y="8611"/>
                    </a:lnTo>
                    <a:lnTo>
                      <a:pt x="374083" y="10704"/>
                    </a:lnTo>
                    <a:lnTo>
                      <a:pt x="376584" y="10962"/>
                    </a:lnTo>
                    <a:lnTo>
                      <a:pt x="379903" y="7890"/>
                    </a:lnTo>
                    <a:lnTo>
                      <a:pt x="382407" y="7915"/>
                    </a:lnTo>
                    <a:lnTo>
                      <a:pt x="383830" y="9485"/>
                    </a:lnTo>
                    <a:lnTo>
                      <a:pt x="386288" y="14563"/>
                    </a:lnTo>
                    <a:lnTo>
                      <a:pt x="404068" y="33756"/>
                    </a:lnTo>
                    <a:lnTo>
                      <a:pt x="406062" y="40257"/>
                    </a:lnTo>
                    <a:lnTo>
                      <a:pt x="406934" y="47171"/>
                    </a:lnTo>
                    <a:lnTo>
                      <a:pt x="408244" y="53905"/>
                    </a:lnTo>
                    <a:lnTo>
                      <a:pt x="411541" y="59908"/>
                    </a:lnTo>
                    <a:lnTo>
                      <a:pt x="411597" y="62270"/>
                    </a:lnTo>
                    <a:lnTo>
                      <a:pt x="410885" y="67076"/>
                    </a:lnTo>
                    <a:lnTo>
                      <a:pt x="413139" y="71236"/>
                    </a:lnTo>
                    <a:lnTo>
                      <a:pt x="419129" y="77734"/>
                    </a:lnTo>
                    <a:lnTo>
                      <a:pt x="416214" y="78161"/>
                    </a:lnTo>
                    <a:lnTo>
                      <a:pt x="414896" y="81070"/>
                    </a:lnTo>
                    <a:lnTo>
                      <a:pt x="415159" y="84344"/>
                    </a:lnTo>
                    <a:lnTo>
                      <a:pt x="417153" y="85882"/>
                    </a:lnTo>
                    <a:lnTo>
                      <a:pt x="419719" y="86848"/>
                    </a:lnTo>
                    <a:lnTo>
                      <a:pt x="418422" y="89227"/>
                    </a:lnTo>
                    <a:lnTo>
                      <a:pt x="413748" y="93536"/>
                    </a:lnTo>
                    <a:lnTo>
                      <a:pt x="405595" y="105295"/>
                    </a:lnTo>
                    <a:lnTo>
                      <a:pt x="402188" y="112261"/>
                    </a:lnTo>
                    <a:lnTo>
                      <a:pt x="401799" y="117541"/>
                    </a:lnTo>
                    <a:lnTo>
                      <a:pt x="380713" y="138342"/>
                    </a:lnTo>
                    <a:lnTo>
                      <a:pt x="375569" y="14680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7" name="Freeform 15">
                <a:extLst>
                  <a:ext uri="{FF2B5EF4-FFF2-40B4-BE49-F238E27FC236}">
                    <a16:creationId xmlns:a16="http://schemas.microsoft.com/office/drawing/2014/main" id="{23ACF76E-BAE0-65D0-023E-7B79C55109B0}"/>
                  </a:ext>
                </a:extLst>
              </p:cNvPr>
              <p:cNvSpPr>
                <a:spLocks noChangeAspect="1"/>
              </p:cNvSpPr>
              <p:nvPr>
                <p:custDataLst>
                  <p:tags r:id="rId15"/>
                </p:custDataLst>
              </p:nvPr>
            </p:nvSpPr>
            <p:spPr>
              <a:xfrm>
                <a:off x="4468032" y="2801277"/>
                <a:ext cx="209458" cy="238638"/>
              </a:xfrm>
              <a:custGeom>
                <a:avLst/>
                <a:gdLst/>
                <a:ahLst/>
                <a:cxnLst/>
                <a:rect l="0" t="0" r="0" b="0"/>
                <a:pathLst>
                  <a:path w="215057" h="245017">
                    <a:moveTo>
                      <a:pt x="190768" y="7298"/>
                    </a:moveTo>
                    <a:lnTo>
                      <a:pt x="190768" y="7306"/>
                    </a:lnTo>
                    <a:lnTo>
                      <a:pt x="190657" y="10357"/>
                    </a:lnTo>
                    <a:lnTo>
                      <a:pt x="190497" y="19677"/>
                    </a:lnTo>
                    <a:lnTo>
                      <a:pt x="190621" y="33692"/>
                    </a:lnTo>
                    <a:lnTo>
                      <a:pt x="199502" y="52111"/>
                    </a:lnTo>
                    <a:lnTo>
                      <a:pt x="205873" y="58210"/>
                    </a:lnTo>
                    <a:lnTo>
                      <a:pt x="211971" y="66560"/>
                    </a:lnTo>
                    <a:lnTo>
                      <a:pt x="215056" y="73260"/>
                    </a:lnTo>
                    <a:lnTo>
                      <a:pt x="214819" y="79423"/>
                    </a:lnTo>
                    <a:lnTo>
                      <a:pt x="209729" y="82278"/>
                    </a:lnTo>
                    <a:lnTo>
                      <a:pt x="201273" y="80128"/>
                    </a:lnTo>
                    <a:lnTo>
                      <a:pt x="193710" y="76822"/>
                    </a:lnTo>
                    <a:lnTo>
                      <a:pt x="184670" y="76347"/>
                    </a:lnTo>
                    <a:lnTo>
                      <a:pt x="176847" y="76961"/>
                    </a:lnTo>
                    <a:lnTo>
                      <a:pt x="167855" y="83207"/>
                    </a:lnTo>
                    <a:lnTo>
                      <a:pt x="156474" y="93924"/>
                    </a:lnTo>
                    <a:lnTo>
                      <a:pt x="152620" y="104608"/>
                    </a:lnTo>
                    <a:lnTo>
                      <a:pt x="152382" y="116376"/>
                    </a:lnTo>
                    <a:lnTo>
                      <a:pt x="153939" y="123099"/>
                    </a:lnTo>
                    <a:lnTo>
                      <a:pt x="157606" y="129809"/>
                    </a:lnTo>
                    <a:lnTo>
                      <a:pt x="161284" y="137070"/>
                    </a:lnTo>
                    <a:lnTo>
                      <a:pt x="161936" y="143798"/>
                    </a:lnTo>
                    <a:lnTo>
                      <a:pt x="161985" y="151073"/>
                    </a:lnTo>
                    <a:lnTo>
                      <a:pt x="158118" y="162322"/>
                    </a:lnTo>
                    <a:lnTo>
                      <a:pt x="153319" y="170762"/>
                    </a:lnTo>
                    <a:lnTo>
                      <a:pt x="149100" y="174143"/>
                    </a:lnTo>
                    <a:lnTo>
                      <a:pt x="146061" y="174160"/>
                    </a:lnTo>
                    <a:lnTo>
                      <a:pt x="141509" y="173622"/>
                    </a:lnTo>
                    <a:lnTo>
                      <a:pt x="136046" y="171407"/>
                    </a:lnTo>
                    <a:lnTo>
                      <a:pt x="129977" y="170310"/>
                    </a:lnTo>
                    <a:lnTo>
                      <a:pt x="125440" y="173133"/>
                    </a:lnTo>
                    <a:lnTo>
                      <a:pt x="116055" y="178222"/>
                    </a:lnTo>
                    <a:lnTo>
                      <a:pt x="111219" y="184397"/>
                    </a:lnTo>
                    <a:lnTo>
                      <a:pt x="106989" y="191142"/>
                    </a:lnTo>
                    <a:lnTo>
                      <a:pt x="102146" y="197876"/>
                    </a:lnTo>
                    <a:lnTo>
                      <a:pt x="97297" y="204056"/>
                    </a:lnTo>
                    <a:lnTo>
                      <a:pt x="91839" y="206871"/>
                    </a:lnTo>
                    <a:lnTo>
                      <a:pt x="86672" y="209129"/>
                    </a:lnTo>
                    <a:lnTo>
                      <a:pt x="84547" y="214167"/>
                    </a:lnTo>
                    <a:lnTo>
                      <a:pt x="83948" y="219774"/>
                    </a:lnTo>
                    <a:lnTo>
                      <a:pt x="84869" y="223129"/>
                    </a:lnTo>
                    <a:lnTo>
                      <a:pt x="86396" y="227057"/>
                    </a:lnTo>
                    <a:lnTo>
                      <a:pt x="88533" y="233223"/>
                    </a:lnTo>
                    <a:lnTo>
                      <a:pt x="88540" y="238267"/>
                    </a:lnTo>
                    <a:lnTo>
                      <a:pt x="83974" y="242202"/>
                    </a:lnTo>
                    <a:lnTo>
                      <a:pt x="76663" y="243888"/>
                    </a:lnTo>
                    <a:lnTo>
                      <a:pt x="66907" y="245016"/>
                    </a:lnTo>
                    <a:lnTo>
                      <a:pt x="56239" y="245011"/>
                    </a:lnTo>
                    <a:lnTo>
                      <a:pt x="41009" y="244991"/>
                    </a:lnTo>
                    <a:lnTo>
                      <a:pt x="26987" y="244959"/>
                    </a:lnTo>
                    <a:lnTo>
                      <a:pt x="19371" y="243810"/>
                    </a:lnTo>
                    <a:lnTo>
                      <a:pt x="14621" y="239776"/>
                    </a:lnTo>
                    <a:lnTo>
                      <a:pt x="15378" y="239334"/>
                    </a:lnTo>
                    <a:lnTo>
                      <a:pt x="22488" y="232033"/>
                    </a:lnTo>
                    <a:lnTo>
                      <a:pt x="28194" y="231418"/>
                    </a:lnTo>
                    <a:lnTo>
                      <a:pt x="33807" y="224759"/>
                    </a:lnTo>
                    <a:lnTo>
                      <a:pt x="40208" y="220725"/>
                    </a:lnTo>
                    <a:lnTo>
                      <a:pt x="45512" y="213726"/>
                    </a:lnTo>
                    <a:lnTo>
                      <a:pt x="57092" y="208122"/>
                    </a:lnTo>
                    <a:lnTo>
                      <a:pt x="61749" y="208331"/>
                    </a:lnTo>
                    <a:lnTo>
                      <a:pt x="65036" y="204305"/>
                    </a:lnTo>
                    <a:lnTo>
                      <a:pt x="66984" y="198994"/>
                    </a:lnTo>
                    <a:lnTo>
                      <a:pt x="66353" y="194967"/>
                    </a:lnTo>
                    <a:lnTo>
                      <a:pt x="68422" y="191147"/>
                    </a:lnTo>
                    <a:lnTo>
                      <a:pt x="61245" y="185725"/>
                    </a:lnTo>
                    <a:lnTo>
                      <a:pt x="63260" y="167168"/>
                    </a:lnTo>
                    <a:lnTo>
                      <a:pt x="55520" y="162169"/>
                    </a:lnTo>
                    <a:lnTo>
                      <a:pt x="54717" y="159720"/>
                    </a:lnTo>
                    <a:lnTo>
                      <a:pt x="57537" y="155162"/>
                    </a:lnTo>
                    <a:lnTo>
                      <a:pt x="63265" y="150506"/>
                    </a:lnTo>
                    <a:lnTo>
                      <a:pt x="68824" y="139687"/>
                    </a:lnTo>
                    <a:lnTo>
                      <a:pt x="74494" y="134888"/>
                    </a:lnTo>
                    <a:lnTo>
                      <a:pt x="75807" y="130643"/>
                    </a:lnTo>
                    <a:lnTo>
                      <a:pt x="73044" y="115364"/>
                    </a:lnTo>
                    <a:lnTo>
                      <a:pt x="64648" y="113568"/>
                    </a:lnTo>
                    <a:lnTo>
                      <a:pt x="52432" y="101566"/>
                    </a:lnTo>
                    <a:lnTo>
                      <a:pt x="35919" y="104827"/>
                    </a:lnTo>
                    <a:lnTo>
                      <a:pt x="32371" y="106418"/>
                    </a:lnTo>
                    <a:lnTo>
                      <a:pt x="29326" y="110339"/>
                    </a:lnTo>
                    <a:lnTo>
                      <a:pt x="17781" y="111685"/>
                    </a:lnTo>
                    <a:lnTo>
                      <a:pt x="10494" y="120364"/>
                    </a:lnTo>
                    <a:lnTo>
                      <a:pt x="7049" y="121298"/>
                    </a:lnTo>
                    <a:lnTo>
                      <a:pt x="5861" y="119161"/>
                    </a:lnTo>
                    <a:lnTo>
                      <a:pt x="6907" y="114714"/>
                    </a:lnTo>
                    <a:lnTo>
                      <a:pt x="14040" y="105827"/>
                    </a:lnTo>
                    <a:lnTo>
                      <a:pt x="13605" y="99983"/>
                    </a:lnTo>
                    <a:lnTo>
                      <a:pt x="15243" y="87888"/>
                    </a:lnTo>
                    <a:lnTo>
                      <a:pt x="14809" y="82061"/>
                    </a:lnTo>
                    <a:lnTo>
                      <a:pt x="13631" y="76647"/>
                    </a:lnTo>
                    <a:lnTo>
                      <a:pt x="8625" y="72818"/>
                    </a:lnTo>
                    <a:lnTo>
                      <a:pt x="8938" y="66334"/>
                    </a:lnTo>
                    <a:lnTo>
                      <a:pt x="7757" y="62509"/>
                    </a:lnTo>
                    <a:lnTo>
                      <a:pt x="9134" y="59968"/>
                    </a:lnTo>
                    <a:lnTo>
                      <a:pt x="9274" y="55605"/>
                    </a:lnTo>
                    <a:lnTo>
                      <a:pt x="5183" y="52726"/>
                    </a:lnTo>
                    <a:lnTo>
                      <a:pt x="3399" y="44663"/>
                    </a:lnTo>
                    <a:lnTo>
                      <a:pt x="122" y="37383"/>
                    </a:lnTo>
                    <a:lnTo>
                      <a:pt x="3" y="36909"/>
                    </a:lnTo>
                    <a:lnTo>
                      <a:pt x="0" y="36897"/>
                    </a:lnTo>
                    <a:lnTo>
                      <a:pt x="14327" y="26218"/>
                    </a:lnTo>
                    <a:lnTo>
                      <a:pt x="26534" y="23398"/>
                    </a:lnTo>
                    <a:lnTo>
                      <a:pt x="25007" y="27590"/>
                    </a:lnTo>
                    <a:lnTo>
                      <a:pt x="23953" y="29391"/>
                    </a:lnTo>
                    <a:lnTo>
                      <a:pt x="22324" y="31219"/>
                    </a:lnTo>
                    <a:lnTo>
                      <a:pt x="25006" y="33436"/>
                    </a:lnTo>
                    <a:lnTo>
                      <a:pt x="27638" y="33226"/>
                    </a:lnTo>
                    <a:lnTo>
                      <a:pt x="30413" y="31989"/>
                    </a:lnTo>
                    <a:lnTo>
                      <a:pt x="33503" y="31251"/>
                    </a:lnTo>
                    <a:lnTo>
                      <a:pt x="29319" y="21043"/>
                    </a:lnTo>
                    <a:lnTo>
                      <a:pt x="36832" y="23736"/>
                    </a:lnTo>
                    <a:lnTo>
                      <a:pt x="40891" y="24225"/>
                    </a:lnTo>
                    <a:lnTo>
                      <a:pt x="44811" y="23439"/>
                    </a:lnTo>
                    <a:lnTo>
                      <a:pt x="47735" y="21205"/>
                    </a:lnTo>
                    <a:lnTo>
                      <a:pt x="51017" y="17059"/>
                    </a:lnTo>
                    <a:lnTo>
                      <a:pt x="52959" y="12211"/>
                    </a:lnTo>
                    <a:lnTo>
                      <a:pt x="51792" y="7826"/>
                    </a:lnTo>
                    <a:lnTo>
                      <a:pt x="53807" y="3897"/>
                    </a:lnTo>
                    <a:lnTo>
                      <a:pt x="55652" y="3556"/>
                    </a:lnTo>
                    <a:lnTo>
                      <a:pt x="57645" y="4707"/>
                    </a:lnTo>
                    <a:lnTo>
                      <a:pt x="60170" y="5222"/>
                    </a:lnTo>
                    <a:lnTo>
                      <a:pt x="62788" y="4150"/>
                    </a:lnTo>
                    <a:lnTo>
                      <a:pt x="68221" y="747"/>
                    </a:lnTo>
                    <a:lnTo>
                      <a:pt x="70687" y="0"/>
                    </a:lnTo>
                    <a:lnTo>
                      <a:pt x="96087" y="1077"/>
                    </a:lnTo>
                    <a:lnTo>
                      <a:pt x="111360" y="11141"/>
                    </a:lnTo>
                    <a:lnTo>
                      <a:pt x="138247" y="20421"/>
                    </a:lnTo>
                    <a:lnTo>
                      <a:pt x="147199" y="20684"/>
                    </a:lnTo>
                    <a:lnTo>
                      <a:pt x="155441" y="17993"/>
                    </a:lnTo>
                    <a:lnTo>
                      <a:pt x="168007" y="8707"/>
                    </a:lnTo>
                    <a:lnTo>
                      <a:pt x="171389" y="745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8" name="Freeform 16">
                <a:extLst>
                  <a:ext uri="{FF2B5EF4-FFF2-40B4-BE49-F238E27FC236}">
                    <a16:creationId xmlns:a16="http://schemas.microsoft.com/office/drawing/2014/main" id="{F644A101-8788-D2AF-624A-01B59EF1F2BB}"/>
                  </a:ext>
                </a:extLst>
              </p:cNvPr>
              <p:cNvSpPr>
                <a:spLocks noChangeAspect="1"/>
              </p:cNvSpPr>
              <p:nvPr>
                <p:custDataLst>
                  <p:tags r:id="rId16"/>
                </p:custDataLst>
              </p:nvPr>
            </p:nvSpPr>
            <p:spPr>
              <a:xfrm>
                <a:off x="4411755" y="3423156"/>
                <a:ext cx="105265" cy="58181"/>
              </a:xfrm>
              <a:custGeom>
                <a:avLst/>
                <a:gdLst/>
                <a:ahLst/>
                <a:cxnLst/>
                <a:rect l="0" t="0" r="0" b="0"/>
                <a:pathLst>
                  <a:path w="108079" h="59736">
                    <a:moveTo>
                      <a:pt x="58210" y="405"/>
                    </a:moveTo>
                    <a:lnTo>
                      <a:pt x="60890" y="5252"/>
                    </a:lnTo>
                    <a:lnTo>
                      <a:pt x="61946" y="8055"/>
                    </a:lnTo>
                    <a:lnTo>
                      <a:pt x="63820" y="8716"/>
                    </a:lnTo>
                    <a:lnTo>
                      <a:pt x="67915" y="7909"/>
                    </a:lnTo>
                    <a:lnTo>
                      <a:pt x="69374" y="8085"/>
                    </a:lnTo>
                    <a:lnTo>
                      <a:pt x="70879" y="10096"/>
                    </a:lnTo>
                    <a:lnTo>
                      <a:pt x="71886" y="12681"/>
                    </a:lnTo>
                    <a:lnTo>
                      <a:pt x="73268" y="14956"/>
                    </a:lnTo>
                    <a:lnTo>
                      <a:pt x="75838" y="15944"/>
                    </a:lnTo>
                    <a:lnTo>
                      <a:pt x="87919" y="13290"/>
                    </a:lnTo>
                    <a:lnTo>
                      <a:pt x="92690" y="13378"/>
                    </a:lnTo>
                    <a:lnTo>
                      <a:pt x="108078" y="17777"/>
                    </a:lnTo>
                    <a:lnTo>
                      <a:pt x="108073" y="17784"/>
                    </a:lnTo>
                    <a:lnTo>
                      <a:pt x="106530" y="19983"/>
                    </a:lnTo>
                    <a:lnTo>
                      <a:pt x="100769" y="25020"/>
                    </a:lnTo>
                    <a:lnTo>
                      <a:pt x="94947" y="25009"/>
                    </a:lnTo>
                    <a:lnTo>
                      <a:pt x="92225" y="22348"/>
                    </a:lnTo>
                    <a:lnTo>
                      <a:pt x="88125" y="23296"/>
                    </a:lnTo>
                    <a:lnTo>
                      <a:pt x="80314" y="33148"/>
                    </a:lnTo>
                    <a:lnTo>
                      <a:pt x="74060" y="37265"/>
                    </a:lnTo>
                    <a:lnTo>
                      <a:pt x="73392" y="41932"/>
                    </a:lnTo>
                    <a:lnTo>
                      <a:pt x="62256" y="45818"/>
                    </a:lnTo>
                    <a:lnTo>
                      <a:pt x="50490" y="57020"/>
                    </a:lnTo>
                    <a:lnTo>
                      <a:pt x="42986" y="59735"/>
                    </a:lnTo>
                    <a:lnTo>
                      <a:pt x="41692" y="55472"/>
                    </a:lnTo>
                    <a:lnTo>
                      <a:pt x="32851" y="51392"/>
                    </a:lnTo>
                    <a:lnTo>
                      <a:pt x="24865" y="45081"/>
                    </a:lnTo>
                    <a:lnTo>
                      <a:pt x="30850" y="38860"/>
                    </a:lnTo>
                    <a:lnTo>
                      <a:pt x="31693" y="37592"/>
                    </a:lnTo>
                    <a:lnTo>
                      <a:pt x="31103" y="36414"/>
                    </a:lnTo>
                    <a:lnTo>
                      <a:pt x="18809" y="35798"/>
                    </a:lnTo>
                    <a:lnTo>
                      <a:pt x="16166" y="31433"/>
                    </a:lnTo>
                    <a:lnTo>
                      <a:pt x="15734" y="25487"/>
                    </a:lnTo>
                    <a:lnTo>
                      <a:pt x="7722" y="25110"/>
                    </a:lnTo>
                    <a:lnTo>
                      <a:pt x="9192" y="19494"/>
                    </a:lnTo>
                    <a:lnTo>
                      <a:pt x="8195" y="17038"/>
                    </a:lnTo>
                    <a:lnTo>
                      <a:pt x="775" y="17727"/>
                    </a:lnTo>
                    <a:lnTo>
                      <a:pt x="0" y="14740"/>
                    </a:lnTo>
                    <a:lnTo>
                      <a:pt x="4885" y="10653"/>
                    </a:lnTo>
                    <a:lnTo>
                      <a:pt x="19226" y="5282"/>
                    </a:lnTo>
                    <a:lnTo>
                      <a:pt x="40013" y="2977"/>
                    </a:lnTo>
                    <a:lnTo>
                      <a:pt x="51935" y="0"/>
                    </a:lnTo>
                    <a:lnTo>
                      <a:pt x="58202" y="40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9" name="Freeform 17">
                <a:extLst>
                  <a:ext uri="{FF2B5EF4-FFF2-40B4-BE49-F238E27FC236}">
                    <a16:creationId xmlns:a16="http://schemas.microsoft.com/office/drawing/2014/main" id="{270A060D-B767-2127-A2DD-30BC8376743F}"/>
                  </a:ext>
                </a:extLst>
              </p:cNvPr>
              <p:cNvSpPr>
                <a:spLocks noChangeAspect="1"/>
              </p:cNvSpPr>
              <p:nvPr>
                <p:custDataLst>
                  <p:tags r:id="rId17"/>
                </p:custDataLst>
              </p:nvPr>
            </p:nvSpPr>
            <p:spPr>
              <a:xfrm>
                <a:off x="4242703" y="3240043"/>
                <a:ext cx="225747" cy="217317"/>
              </a:xfrm>
              <a:custGeom>
                <a:avLst/>
                <a:gdLst/>
                <a:ahLst/>
                <a:cxnLst/>
                <a:rect l="0" t="0" r="0" b="0"/>
                <a:pathLst>
                  <a:path w="231782" h="223126">
                    <a:moveTo>
                      <a:pt x="116233" y="20818"/>
                    </a:moveTo>
                    <a:lnTo>
                      <a:pt x="116260" y="20798"/>
                    </a:lnTo>
                    <a:lnTo>
                      <a:pt x="117390" y="22905"/>
                    </a:lnTo>
                    <a:lnTo>
                      <a:pt x="128062" y="19143"/>
                    </a:lnTo>
                    <a:lnTo>
                      <a:pt x="140532" y="12411"/>
                    </a:lnTo>
                    <a:lnTo>
                      <a:pt x="144970" y="11077"/>
                    </a:lnTo>
                    <a:lnTo>
                      <a:pt x="146833" y="11619"/>
                    </a:lnTo>
                    <a:lnTo>
                      <a:pt x="147042" y="11454"/>
                    </a:lnTo>
                    <a:lnTo>
                      <a:pt x="151868" y="15313"/>
                    </a:lnTo>
                    <a:lnTo>
                      <a:pt x="157312" y="28321"/>
                    </a:lnTo>
                    <a:lnTo>
                      <a:pt x="150774" y="30172"/>
                    </a:lnTo>
                    <a:lnTo>
                      <a:pt x="146106" y="34151"/>
                    </a:lnTo>
                    <a:lnTo>
                      <a:pt x="137913" y="32366"/>
                    </a:lnTo>
                    <a:lnTo>
                      <a:pt x="137756" y="57522"/>
                    </a:lnTo>
                    <a:lnTo>
                      <a:pt x="136448" y="60173"/>
                    </a:lnTo>
                    <a:lnTo>
                      <a:pt x="136388" y="60173"/>
                    </a:lnTo>
                    <a:lnTo>
                      <a:pt x="134787" y="62050"/>
                    </a:lnTo>
                    <a:lnTo>
                      <a:pt x="129716" y="61756"/>
                    </a:lnTo>
                    <a:lnTo>
                      <a:pt x="128746" y="64302"/>
                    </a:lnTo>
                    <a:lnTo>
                      <a:pt x="127492" y="64436"/>
                    </a:lnTo>
                    <a:lnTo>
                      <a:pt x="128564" y="64961"/>
                    </a:lnTo>
                    <a:lnTo>
                      <a:pt x="128608" y="71004"/>
                    </a:lnTo>
                    <a:lnTo>
                      <a:pt x="131102" y="73896"/>
                    </a:lnTo>
                    <a:lnTo>
                      <a:pt x="130488" y="81215"/>
                    </a:lnTo>
                    <a:lnTo>
                      <a:pt x="140725" y="92367"/>
                    </a:lnTo>
                    <a:lnTo>
                      <a:pt x="151361" y="94924"/>
                    </a:lnTo>
                    <a:lnTo>
                      <a:pt x="155786" y="100813"/>
                    </a:lnTo>
                    <a:lnTo>
                      <a:pt x="159299" y="102644"/>
                    </a:lnTo>
                    <a:lnTo>
                      <a:pt x="160890" y="102442"/>
                    </a:lnTo>
                    <a:lnTo>
                      <a:pt x="162402" y="98526"/>
                    </a:lnTo>
                    <a:lnTo>
                      <a:pt x="163819" y="98125"/>
                    </a:lnTo>
                    <a:lnTo>
                      <a:pt x="167315" y="103142"/>
                    </a:lnTo>
                    <a:lnTo>
                      <a:pt x="177555" y="104602"/>
                    </a:lnTo>
                    <a:lnTo>
                      <a:pt x="184688" y="111669"/>
                    </a:lnTo>
                    <a:lnTo>
                      <a:pt x="196503" y="118231"/>
                    </a:lnTo>
                    <a:lnTo>
                      <a:pt x="202522" y="125914"/>
                    </a:lnTo>
                    <a:lnTo>
                      <a:pt x="210032" y="124263"/>
                    </a:lnTo>
                    <a:lnTo>
                      <a:pt x="211032" y="125216"/>
                    </a:lnTo>
                    <a:lnTo>
                      <a:pt x="211459" y="132653"/>
                    </a:lnTo>
                    <a:lnTo>
                      <a:pt x="213157" y="134588"/>
                    </a:lnTo>
                    <a:lnTo>
                      <a:pt x="213884" y="134119"/>
                    </a:lnTo>
                    <a:lnTo>
                      <a:pt x="213096" y="138359"/>
                    </a:lnTo>
                    <a:lnTo>
                      <a:pt x="210556" y="147744"/>
                    </a:lnTo>
                    <a:lnTo>
                      <a:pt x="207269" y="153766"/>
                    </a:lnTo>
                    <a:lnTo>
                      <a:pt x="205871" y="158239"/>
                    </a:lnTo>
                    <a:lnTo>
                      <a:pt x="206721" y="162274"/>
                    </a:lnTo>
                    <a:lnTo>
                      <a:pt x="209061" y="166533"/>
                    </a:lnTo>
                    <a:lnTo>
                      <a:pt x="210914" y="166643"/>
                    </a:lnTo>
                    <a:lnTo>
                      <a:pt x="210911" y="167004"/>
                    </a:lnTo>
                    <a:lnTo>
                      <a:pt x="223603" y="176091"/>
                    </a:lnTo>
                    <a:lnTo>
                      <a:pt x="225410" y="179039"/>
                    </a:lnTo>
                    <a:lnTo>
                      <a:pt x="227176" y="180073"/>
                    </a:lnTo>
                    <a:lnTo>
                      <a:pt x="231781" y="188413"/>
                    </a:lnTo>
                    <a:lnTo>
                      <a:pt x="231773" y="188413"/>
                    </a:lnTo>
                    <a:lnTo>
                      <a:pt x="225506" y="188008"/>
                    </a:lnTo>
                    <a:lnTo>
                      <a:pt x="213584" y="190985"/>
                    </a:lnTo>
                    <a:lnTo>
                      <a:pt x="192797" y="193290"/>
                    </a:lnTo>
                    <a:lnTo>
                      <a:pt x="178456" y="198661"/>
                    </a:lnTo>
                    <a:lnTo>
                      <a:pt x="173571" y="202748"/>
                    </a:lnTo>
                    <a:lnTo>
                      <a:pt x="172225" y="197543"/>
                    </a:lnTo>
                    <a:lnTo>
                      <a:pt x="158520" y="197420"/>
                    </a:lnTo>
                    <a:lnTo>
                      <a:pt x="152524" y="203839"/>
                    </a:lnTo>
                    <a:lnTo>
                      <a:pt x="149095" y="205068"/>
                    </a:lnTo>
                    <a:lnTo>
                      <a:pt x="147638" y="205587"/>
                    </a:lnTo>
                    <a:lnTo>
                      <a:pt x="145872" y="203871"/>
                    </a:lnTo>
                    <a:lnTo>
                      <a:pt x="146390" y="199098"/>
                    </a:lnTo>
                    <a:lnTo>
                      <a:pt x="145659" y="196227"/>
                    </a:lnTo>
                    <a:lnTo>
                      <a:pt x="142205" y="197257"/>
                    </a:lnTo>
                    <a:lnTo>
                      <a:pt x="140676" y="201388"/>
                    </a:lnTo>
                    <a:lnTo>
                      <a:pt x="138704" y="203065"/>
                    </a:lnTo>
                    <a:lnTo>
                      <a:pt x="133644" y="199495"/>
                    </a:lnTo>
                    <a:lnTo>
                      <a:pt x="123130" y="199493"/>
                    </a:lnTo>
                    <a:lnTo>
                      <a:pt x="116817" y="197186"/>
                    </a:lnTo>
                    <a:lnTo>
                      <a:pt x="114581" y="200447"/>
                    </a:lnTo>
                    <a:lnTo>
                      <a:pt x="118658" y="211427"/>
                    </a:lnTo>
                    <a:lnTo>
                      <a:pt x="119107" y="219074"/>
                    </a:lnTo>
                    <a:lnTo>
                      <a:pt x="117097" y="222565"/>
                    </a:lnTo>
                    <a:lnTo>
                      <a:pt x="111269" y="223125"/>
                    </a:lnTo>
                    <a:lnTo>
                      <a:pt x="98883" y="215637"/>
                    </a:lnTo>
                    <a:lnTo>
                      <a:pt x="97868" y="215900"/>
                    </a:lnTo>
                    <a:lnTo>
                      <a:pt x="92389" y="217346"/>
                    </a:lnTo>
                    <a:lnTo>
                      <a:pt x="88506" y="215701"/>
                    </a:lnTo>
                    <a:lnTo>
                      <a:pt x="83633" y="206933"/>
                    </a:lnTo>
                    <a:lnTo>
                      <a:pt x="78021" y="205152"/>
                    </a:lnTo>
                    <a:lnTo>
                      <a:pt x="74957" y="199695"/>
                    </a:lnTo>
                    <a:lnTo>
                      <a:pt x="75553" y="195341"/>
                    </a:lnTo>
                    <a:lnTo>
                      <a:pt x="84344" y="190691"/>
                    </a:lnTo>
                    <a:lnTo>
                      <a:pt x="84666" y="188997"/>
                    </a:lnTo>
                    <a:lnTo>
                      <a:pt x="80798" y="185761"/>
                    </a:lnTo>
                    <a:lnTo>
                      <a:pt x="69417" y="182193"/>
                    </a:lnTo>
                    <a:lnTo>
                      <a:pt x="64957" y="178332"/>
                    </a:lnTo>
                    <a:lnTo>
                      <a:pt x="64972" y="178431"/>
                    </a:lnTo>
                    <a:lnTo>
                      <a:pt x="59092" y="178042"/>
                    </a:lnTo>
                    <a:lnTo>
                      <a:pt x="53408" y="176172"/>
                    </a:lnTo>
                    <a:lnTo>
                      <a:pt x="48653" y="176093"/>
                    </a:lnTo>
                    <a:lnTo>
                      <a:pt x="45901" y="172037"/>
                    </a:lnTo>
                    <a:lnTo>
                      <a:pt x="41553" y="157920"/>
                    </a:lnTo>
                    <a:lnTo>
                      <a:pt x="34815" y="139534"/>
                    </a:lnTo>
                    <a:lnTo>
                      <a:pt x="31909" y="129707"/>
                    </a:lnTo>
                    <a:lnTo>
                      <a:pt x="31613" y="119728"/>
                    </a:lnTo>
                    <a:lnTo>
                      <a:pt x="31588" y="118996"/>
                    </a:lnTo>
                    <a:lnTo>
                      <a:pt x="31566" y="118383"/>
                    </a:lnTo>
                    <a:lnTo>
                      <a:pt x="31263" y="110587"/>
                    </a:lnTo>
                    <a:lnTo>
                      <a:pt x="32356" y="106885"/>
                    </a:lnTo>
                    <a:lnTo>
                      <a:pt x="32464" y="107321"/>
                    </a:lnTo>
                    <a:lnTo>
                      <a:pt x="33637" y="101871"/>
                    </a:lnTo>
                    <a:lnTo>
                      <a:pt x="36249" y="99331"/>
                    </a:lnTo>
                    <a:lnTo>
                      <a:pt x="37365" y="98235"/>
                    </a:lnTo>
                    <a:lnTo>
                      <a:pt x="37382" y="98226"/>
                    </a:lnTo>
                    <a:lnTo>
                      <a:pt x="35224" y="95067"/>
                    </a:lnTo>
                    <a:lnTo>
                      <a:pt x="34728" y="92195"/>
                    </a:lnTo>
                    <a:lnTo>
                      <a:pt x="34483" y="90847"/>
                    </a:lnTo>
                    <a:lnTo>
                      <a:pt x="39388" y="83074"/>
                    </a:lnTo>
                    <a:lnTo>
                      <a:pt x="27523" y="80570"/>
                    </a:lnTo>
                    <a:lnTo>
                      <a:pt x="24622" y="79963"/>
                    </a:lnTo>
                    <a:lnTo>
                      <a:pt x="22927" y="80425"/>
                    </a:lnTo>
                    <a:lnTo>
                      <a:pt x="11887" y="83533"/>
                    </a:lnTo>
                    <a:lnTo>
                      <a:pt x="10852" y="81854"/>
                    </a:lnTo>
                    <a:lnTo>
                      <a:pt x="10698" y="81594"/>
                    </a:lnTo>
                    <a:lnTo>
                      <a:pt x="11293" y="80321"/>
                    </a:lnTo>
                    <a:lnTo>
                      <a:pt x="12961" y="76760"/>
                    </a:lnTo>
                    <a:lnTo>
                      <a:pt x="12837" y="75295"/>
                    </a:lnTo>
                    <a:lnTo>
                      <a:pt x="12735" y="74089"/>
                    </a:lnTo>
                    <a:lnTo>
                      <a:pt x="771" y="66268"/>
                    </a:lnTo>
                    <a:lnTo>
                      <a:pt x="0" y="63547"/>
                    </a:lnTo>
                    <a:lnTo>
                      <a:pt x="5813" y="55171"/>
                    </a:lnTo>
                    <a:lnTo>
                      <a:pt x="6572" y="52224"/>
                    </a:lnTo>
                    <a:lnTo>
                      <a:pt x="7411" y="49042"/>
                    </a:lnTo>
                    <a:lnTo>
                      <a:pt x="14469" y="42070"/>
                    </a:lnTo>
                    <a:lnTo>
                      <a:pt x="23995" y="38222"/>
                    </a:lnTo>
                    <a:lnTo>
                      <a:pt x="24715" y="33082"/>
                    </a:lnTo>
                    <a:lnTo>
                      <a:pt x="24877" y="31958"/>
                    </a:lnTo>
                    <a:lnTo>
                      <a:pt x="29377" y="29455"/>
                    </a:lnTo>
                    <a:lnTo>
                      <a:pt x="36891" y="29729"/>
                    </a:lnTo>
                    <a:lnTo>
                      <a:pt x="42488" y="25423"/>
                    </a:lnTo>
                    <a:lnTo>
                      <a:pt x="42521" y="25443"/>
                    </a:lnTo>
                    <a:lnTo>
                      <a:pt x="50867" y="17688"/>
                    </a:lnTo>
                    <a:lnTo>
                      <a:pt x="58247" y="14828"/>
                    </a:lnTo>
                    <a:lnTo>
                      <a:pt x="65810" y="14634"/>
                    </a:lnTo>
                    <a:lnTo>
                      <a:pt x="67713" y="12868"/>
                    </a:lnTo>
                    <a:lnTo>
                      <a:pt x="67705" y="9569"/>
                    </a:lnTo>
                    <a:lnTo>
                      <a:pt x="69494" y="7781"/>
                    </a:lnTo>
                    <a:lnTo>
                      <a:pt x="72185" y="7723"/>
                    </a:lnTo>
                    <a:lnTo>
                      <a:pt x="75822" y="11078"/>
                    </a:lnTo>
                    <a:lnTo>
                      <a:pt x="78345" y="10682"/>
                    </a:lnTo>
                    <a:lnTo>
                      <a:pt x="95292" y="5516"/>
                    </a:lnTo>
                    <a:lnTo>
                      <a:pt x="103564" y="0"/>
                    </a:lnTo>
                    <a:lnTo>
                      <a:pt x="109612" y="2942"/>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0" name="Freeform 18">
                <a:extLst>
                  <a:ext uri="{FF2B5EF4-FFF2-40B4-BE49-F238E27FC236}">
                    <a16:creationId xmlns:a16="http://schemas.microsoft.com/office/drawing/2014/main" id="{549BC580-7F57-4C5B-E35E-B1FACF5C1747}"/>
                  </a:ext>
                </a:extLst>
              </p:cNvPr>
              <p:cNvSpPr>
                <a:spLocks noChangeAspect="1"/>
              </p:cNvSpPr>
              <p:nvPr>
                <p:custDataLst>
                  <p:tags r:id="rId18"/>
                </p:custDataLst>
              </p:nvPr>
            </p:nvSpPr>
            <p:spPr>
              <a:xfrm>
                <a:off x="4443214" y="3362088"/>
                <a:ext cx="63757" cy="53238"/>
              </a:xfrm>
              <a:custGeom>
                <a:avLst/>
                <a:gdLst/>
                <a:ahLst/>
                <a:cxnLst/>
                <a:rect l="0" t="0" r="0" b="0"/>
                <a:pathLst>
                  <a:path w="65461" h="54661">
                    <a:moveTo>
                      <a:pt x="42068" y="11021"/>
                    </a:moveTo>
                    <a:lnTo>
                      <a:pt x="43915" y="7315"/>
                    </a:lnTo>
                    <a:lnTo>
                      <a:pt x="49762" y="8498"/>
                    </a:lnTo>
                    <a:lnTo>
                      <a:pt x="53249" y="6909"/>
                    </a:lnTo>
                    <a:lnTo>
                      <a:pt x="63925" y="11179"/>
                    </a:lnTo>
                    <a:lnTo>
                      <a:pt x="65460" y="13098"/>
                    </a:lnTo>
                    <a:lnTo>
                      <a:pt x="63687" y="14911"/>
                    </a:lnTo>
                    <a:lnTo>
                      <a:pt x="46579" y="23239"/>
                    </a:lnTo>
                    <a:lnTo>
                      <a:pt x="47796" y="31417"/>
                    </a:lnTo>
                    <a:lnTo>
                      <a:pt x="49149" y="33574"/>
                    </a:lnTo>
                    <a:lnTo>
                      <a:pt x="45360" y="36090"/>
                    </a:lnTo>
                    <a:lnTo>
                      <a:pt x="46178" y="38521"/>
                    </a:lnTo>
                    <a:lnTo>
                      <a:pt x="48834" y="39694"/>
                    </a:lnTo>
                    <a:lnTo>
                      <a:pt x="48948" y="41926"/>
                    </a:lnTo>
                    <a:lnTo>
                      <a:pt x="35912" y="45594"/>
                    </a:lnTo>
                    <a:lnTo>
                      <a:pt x="31000" y="45258"/>
                    </a:lnTo>
                    <a:lnTo>
                      <a:pt x="28902" y="50343"/>
                    </a:lnTo>
                    <a:lnTo>
                      <a:pt x="25217" y="53940"/>
                    </a:lnTo>
                    <a:lnTo>
                      <a:pt x="24372" y="54660"/>
                    </a:lnTo>
                    <a:lnTo>
                      <a:pt x="24369" y="54657"/>
                    </a:lnTo>
                    <a:lnTo>
                      <a:pt x="16787" y="47203"/>
                    </a:lnTo>
                    <a:lnTo>
                      <a:pt x="12360" y="41473"/>
                    </a:lnTo>
                    <a:lnTo>
                      <a:pt x="9415" y="39498"/>
                    </a:lnTo>
                    <a:lnTo>
                      <a:pt x="5054" y="39333"/>
                    </a:lnTo>
                    <a:lnTo>
                      <a:pt x="5043" y="41336"/>
                    </a:lnTo>
                    <a:lnTo>
                      <a:pt x="3190" y="41226"/>
                    </a:lnTo>
                    <a:lnTo>
                      <a:pt x="850" y="36967"/>
                    </a:lnTo>
                    <a:lnTo>
                      <a:pt x="0" y="32932"/>
                    </a:lnTo>
                    <a:lnTo>
                      <a:pt x="1398" y="28459"/>
                    </a:lnTo>
                    <a:lnTo>
                      <a:pt x="4685" y="22437"/>
                    </a:lnTo>
                    <a:lnTo>
                      <a:pt x="7225" y="13052"/>
                    </a:lnTo>
                    <a:lnTo>
                      <a:pt x="8013" y="8812"/>
                    </a:lnTo>
                    <a:lnTo>
                      <a:pt x="21978" y="0"/>
                    </a:lnTo>
                    <a:lnTo>
                      <a:pt x="24331" y="1492"/>
                    </a:lnTo>
                    <a:lnTo>
                      <a:pt x="27260" y="8535"/>
                    </a:lnTo>
                    <a:lnTo>
                      <a:pt x="29555" y="1001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1" name="Freeform 19">
                <a:extLst>
                  <a:ext uri="{FF2B5EF4-FFF2-40B4-BE49-F238E27FC236}">
                    <a16:creationId xmlns:a16="http://schemas.microsoft.com/office/drawing/2014/main" id="{BA8E63B5-6B58-B4AE-2E7E-E5A2F3095A1E}"/>
                  </a:ext>
                </a:extLst>
              </p:cNvPr>
              <p:cNvSpPr>
                <a:spLocks noChangeAspect="1"/>
              </p:cNvSpPr>
              <p:nvPr>
                <p:custDataLst>
                  <p:tags r:id="rId19"/>
                </p:custDataLst>
              </p:nvPr>
            </p:nvSpPr>
            <p:spPr>
              <a:xfrm>
                <a:off x="4271026" y="3089598"/>
                <a:ext cx="338686" cy="305191"/>
              </a:xfrm>
              <a:custGeom>
                <a:avLst/>
                <a:gdLst/>
                <a:ahLst/>
                <a:cxnLst/>
                <a:rect l="0" t="0" r="0" b="0"/>
                <a:pathLst>
                  <a:path w="347740" h="313349">
                    <a:moveTo>
                      <a:pt x="175226" y="8798"/>
                    </a:moveTo>
                    <a:lnTo>
                      <a:pt x="188045" y="5254"/>
                    </a:lnTo>
                    <a:lnTo>
                      <a:pt x="192277" y="6767"/>
                    </a:lnTo>
                    <a:lnTo>
                      <a:pt x="203284" y="5864"/>
                    </a:lnTo>
                    <a:lnTo>
                      <a:pt x="206570" y="9700"/>
                    </a:lnTo>
                    <a:lnTo>
                      <a:pt x="210622" y="11217"/>
                    </a:lnTo>
                    <a:lnTo>
                      <a:pt x="214909" y="10700"/>
                    </a:lnTo>
                    <a:lnTo>
                      <a:pt x="220252" y="7009"/>
                    </a:lnTo>
                    <a:lnTo>
                      <a:pt x="228068" y="9560"/>
                    </a:lnTo>
                    <a:lnTo>
                      <a:pt x="235716" y="7053"/>
                    </a:lnTo>
                    <a:lnTo>
                      <a:pt x="239594" y="10338"/>
                    </a:lnTo>
                    <a:lnTo>
                      <a:pt x="239513" y="20842"/>
                    </a:lnTo>
                    <a:lnTo>
                      <a:pt x="241019" y="22760"/>
                    </a:lnTo>
                    <a:lnTo>
                      <a:pt x="243735" y="23930"/>
                    </a:lnTo>
                    <a:lnTo>
                      <a:pt x="253421" y="22148"/>
                    </a:lnTo>
                    <a:lnTo>
                      <a:pt x="262124" y="27880"/>
                    </a:lnTo>
                    <a:lnTo>
                      <a:pt x="268038" y="25119"/>
                    </a:lnTo>
                    <a:lnTo>
                      <a:pt x="275974" y="25591"/>
                    </a:lnTo>
                    <a:lnTo>
                      <a:pt x="276643" y="36805"/>
                    </a:lnTo>
                    <a:lnTo>
                      <a:pt x="279084" y="46281"/>
                    </a:lnTo>
                    <a:lnTo>
                      <a:pt x="281226" y="49064"/>
                    </a:lnTo>
                    <a:lnTo>
                      <a:pt x="284278" y="57985"/>
                    </a:lnTo>
                    <a:lnTo>
                      <a:pt x="284285" y="65232"/>
                    </a:lnTo>
                    <a:lnTo>
                      <a:pt x="284292" y="71904"/>
                    </a:lnTo>
                    <a:lnTo>
                      <a:pt x="286754" y="80826"/>
                    </a:lnTo>
                    <a:lnTo>
                      <a:pt x="288591" y="85839"/>
                    </a:lnTo>
                    <a:lnTo>
                      <a:pt x="295028" y="95307"/>
                    </a:lnTo>
                    <a:lnTo>
                      <a:pt x="300554" y="103648"/>
                    </a:lnTo>
                    <a:lnTo>
                      <a:pt x="303929" y="106424"/>
                    </a:lnTo>
                    <a:lnTo>
                      <a:pt x="310059" y="108078"/>
                    </a:lnTo>
                    <a:lnTo>
                      <a:pt x="316489" y="109726"/>
                    </a:lnTo>
                    <a:lnTo>
                      <a:pt x="320786" y="110828"/>
                    </a:lnTo>
                    <a:lnTo>
                      <a:pt x="326315" y="114706"/>
                    </a:lnTo>
                    <a:lnTo>
                      <a:pt x="327859" y="118047"/>
                    </a:lnTo>
                    <a:lnTo>
                      <a:pt x="328182" y="122499"/>
                    </a:lnTo>
                    <a:lnTo>
                      <a:pt x="331883" y="126946"/>
                    </a:lnTo>
                    <a:lnTo>
                      <a:pt x="337102" y="127475"/>
                    </a:lnTo>
                    <a:lnTo>
                      <a:pt x="341402" y="130239"/>
                    </a:lnTo>
                    <a:lnTo>
                      <a:pt x="341419" y="133596"/>
                    </a:lnTo>
                    <a:lnTo>
                      <a:pt x="335610" y="136407"/>
                    </a:lnTo>
                    <a:lnTo>
                      <a:pt x="329196" y="144786"/>
                    </a:lnTo>
                    <a:lnTo>
                      <a:pt x="323723" y="159301"/>
                    </a:lnTo>
                    <a:lnTo>
                      <a:pt x="323433" y="164870"/>
                    </a:lnTo>
                    <a:lnTo>
                      <a:pt x="328392" y="174880"/>
                    </a:lnTo>
                    <a:lnTo>
                      <a:pt x="335805" y="179312"/>
                    </a:lnTo>
                    <a:lnTo>
                      <a:pt x="341647" y="179837"/>
                    </a:lnTo>
                    <a:lnTo>
                      <a:pt x="342683" y="180761"/>
                    </a:lnTo>
                    <a:lnTo>
                      <a:pt x="345362" y="183156"/>
                    </a:lnTo>
                    <a:lnTo>
                      <a:pt x="347532" y="188090"/>
                    </a:lnTo>
                    <a:lnTo>
                      <a:pt x="347739" y="189432"/>
                    </a:lnTo>
                    <a:lnTo>
                      <a:pt x="347729" y="189433"/>
                    </a:lnTo>
                    <a:lnTo>
                      <a:pt x="346681" y="189593"/>
                    </a:lnTo>
                    <a:lnTo>
                      <a:pt x="338536" y="193397"/>
                    </a:lnTo>
                    <a:lnTo>
                      <a:pt x="331244" y="199134"/>
                    </a:lnTo>
                    <a:lnTo>
                      <a:pt x="309267" y="221831"/>
                    </a:lnTo>
                    <a:lnTo>
                      <a:pt x="300387" y="225616"/>
                    </a:lnTo>
                    <a:lnTo>
                      <a:pt x="291217" y="222568"/>
                    </a:lnTo>
                    <a:lnTo>
                      <a:pt x="293755" y="226156"/>
                    </a:lnTo>
                    <a:lnTo>
                      <a:pt x="297462" y="227581"/>
                    </a:lnTo>
                    <a:lnTo>
                      <a:pt x="304155" y="227543"/>
                    </a:lnTo>
                    <a:lnTo>
                      <a:pt x="304155" y="227559"/>
                    </a:lnTo>
                    <a:lnTo>
                      <a:pt x="304157" y="228269"/>
                    </a:lnTo>
                    <a:lnTo>
                      <a:pt x="304707" y="229789"/>
                    </a:lnTo>
                    <a:lnTo>
                      <a:pt x="306202" y="234485"/>
                    </a:lnTo>
                    <a:lnTo>
                      <a:pt x="303449" y="237137"/>
                    </a:lnTo>
                    <a:lnTo>
                      <a:pt x="303453" y="238736"/>
                    </a:lnTo>
                    <a:lnTo>
                      <a:pt x="308522" y="242535"/>
                    </a:lnTo>
                    <a:lnTo>
                      <a:pt x="308234" y="245399"/>
                    </a:lnTo>
                    <a:lnTo>
                      <a:pt x="305001" y="247105"/>
                    </a:lnTo>
                    <a:lnTo>
                      <a:pt x="298217" y="246596"/>
                    </a:lnTo>
                    <a:lnTo>
                      <a:pt x="297228" y="247655"/>
                    </a:lnTo>
                    <a:lnTo>
                      <a:pt x="298054" y="252866"/>
                    </a:lnTo>
                    <a:lnTo>
                      <a:pt x="296299" y="254774"/>
                    </a:lnTo>
                    <a:lnTo>
                      <a:pt x="288932" y="254677"/>
                    </a:lnTo>
                    <a:lnTo>
                      <a:pt x="282931" y="261259"/>
                    </a:lnTo>
                    <a:lnTo>
                      <a:pt x="282932" y="262858"/>
                    </a:lnTo>
                    <a:lnTo>
                      <a:pt x="286171" y="265185"/>
                    </a:lnTo>
                    <a:lnTo>
                      <a:pt x="286002" y="271978"/>
                    </a:lnTo>
                    <a:lnTo>
                      <a:pt x="298632" y="273340"/>
                    </a:lnTo>
                    <a:lnTo>
                      <a:pt x="303896" y="278641"/>
                    </a:lnTo>
                    <a:lnTo>
                      <a:pt x="304565" y="287337"/>
                    </a:lnTo>
                    <a:lnTo>
                      <a:pt x="296838" y="291609"/>
                    </a:lnTo>
                    <a:lnTo>
                      <a:pt x="295594" y="293723"/>
                    </a:lnTo>
                    <a:lnTo>
                      <a:pt x="297908" y="296701"/>
                    </a:lnTo>
                    <a:lnTo>
                      <a:pt x="302528" y="297856"/>
                    </a:lnTo>
                    <a:lnTo>
                      <a:pt x="301701" y="299023"/>
                    </a:lnTo>
                    <a:lnTo>
                      <a:pt x="298036" y="300511"/>
                    </a:lnTo>
                    <a:lnTo>
                      <a:pt x="291232" y="298410"/>
                    </a:lnTo>
                    <a:lnTo>
                      <a:pt x="285802" y="299365"/>
                    </a:lnTo>
                    <a:lnTo>
                      <a:pt x="283554" y="300532"/>
                    </a:lnTo>
                    <a:lnTo>
                      <a:pt x="282202" y="307226"/>
                    </a:lnTo>
                    <a:lnTo>
                      <a:pt x="277825" y="309994"/>
                    </a:lnTo>
                    <a:lnTo>
                      <a:pt x="259610" y="307445"/>
                    </a:lnTo>
                    <a:lnTo>
                      <a:pt x="247540" y="308282"/>
                    </a:lnTo>
                    <a:lnTo>
                      <a:pt x="242938" y="304127"/>
                    </a:lnTo>
                    <a:lnTo>
                      <a:pt x="239092" y="305284"/>
                    </a:lnTo>
                    <a:lnTo>
                      <a:pt x="237723" y="309645"/>
                    </a:lnTo>
                    <a:lnTo>
                      <a:pt x="235713" y="310905"/>
                    </a:lnTo>
                    <a:lnTo>
                      <a:pt x="225939" y="313348"/>
                    </a:lnTo>
                    <a:lnTo>
                      <a:pt x="224586" y="311191"/>
                    </a:lnTo>
                    <a:lnTo>
                      <a:pt x="223369" y="303013"/>
                    </a:lnTo>
                    <a:lnTo>
                      <a:pt x="240477" y="294685"/>
                    </a:lnTo>
                    <a:lnTo>
                      <a:pt x="242250" y="292872"/>
                    </a:lnTo>
                    <a:lnTo>
                      <a:pt x="240715" y="290953"/>
                    </a:lnTo>
                    <a:lnTo>
                      <a:pt x="230039" y="286683"/>
                    </a:lnTo>
                    <a:lnTo>
                      <a:pt x="226552" y="288272"/>
                    </a:lnTo>
                    <a:lnTo>
                      <a:pt x="220705" y="287089"/>
                    </a:lnTo>
                    <a:lnTo>
                      <a:pt x="218858" y="290795"/>
                    </a:lnTo>
                    <a:lnTo>
                      <a:pt x="206345" y="289790"/>
                    </a:lnTo>
                    <a:lnTo>
                      <a:pt x="204050" y="288309"/>
                    </a:lnTo>
                    <a:lnTo>
                      <a:pt x="201121" y="281266"/>
                    </a:lnTo>
                    <a:lnTo>
                      <a:pt x="198768" y="279774"/>
                    </a:lnTo>
                    <a:lnTo>
                      <a:pt x="184803" y="288586"/>
                    </a:lnTo>
                    <a:lnTo>
                      <a:pt x="184076" y="289055"/>
                    </a:lnTo>
                    <a:lnTo>
                      <a:pt x="182378" y="287120"/>
                    </a:lnTo>
                    <a:lnTo>
                      <a:pt x="181951" y="279683"/>
                    </a:lnTo>
                    <a:lnTo>
                      <a:pt x="180951" y="278730"/>
                    </a:lnTo>
                    <a:lnTo>
                      <a:pt x="173441" y="280381"/>
                    </a:lnTo>
                    <a:lnTo>
                      <a:pt x="167422" y="272698"/>
                    </a:lnTo>
                    <a:lnTo>
                      <a:pt x="155607" y="266136"/>
                    </a:lnTo>
                    <a:lnTo>
                      <a:pt x="148474" y="259069"/>
                    </a:lnTo>
                    <a:lnTo>
                      <a:pt x="138234" y="257609"/>
                    </a:lnTo>
                    <a:lnTo>
                      <a:pt x="134738" y="252592"/>
                    </a:lnTo>
                    <a:lnTo>
                      <a:pt x="133321" y="252993"/>
                    </a:lnTo>
                    <a:lnTo>
                      <a:pt x="131809" y="256909"/>
                    </a:lnTo>
                    <a:lnTo>
                      <a:pt x="130218" y="257111"/>
                    </a:lnTo>
                    <a:lnTo>
                      <a:pt x="126705" y="255280"/>
                    </a:lnTo>
                    <a:lnTo>
                      <a:pt x="122280" y="249391"/>
                    </a:lnTo>
                    <a:lnTo>
                      <a:pt x="111644" y="246834"/>
                    </a:lnTo>
                    <a:lnTo>
                      <a:pt x="101407" y="235682"/>
                    </a:lnTo>
                    <a:lnTo>
                      <a:pt x="102021" y="228363"/>
                    </a:lnTo>
                    <a:lnTo>
                      <a:pt x="99527" y="225471"/>
                    </a:lnTo>
                    <a:lnTo>
                      <a:pt x="99483" y="219428"/>
                    </a:lnTo>
                    <a:lnTo>
                      <a:pt x="98411" y="218903"/>
                    </a:lnTo>
                    <a:lnTo>
                      <a:pt x="99665" y="218769"/>
                    </a:lnTo>
                    <a:lnTo>
                      <a:pt x="100635" y="216223"/>
                    </a:lnTo>
                    <a:lnTo>
                      <a:pt x="105706" y="216517"/>
                    </a:lnTo>
                    <a:lnTo>
                      <a:pt x="107307" y="214640"/>
                    </a:lnTo>
                    <a:lnTo>
                      <a:pt x="107367" y="214640"/>
                    </a:lnTo>
                    <a:lnTo>
                      <a:pt x="108675" y="211989"/>
                    </a:lnTo>
                    <a:lnTo>
                      <a:pt x="108832" y="186833"/>
                    </a:lnTo>
                    <a:lnTo>
                      <a:pt x="117025" y="188618"/>
                    </a:lnTo>
                    <a:lnTo>
                      <a:pt x="121693" y="184639"/>
                    </a:lnTo>
                    <a:lnTo>
                      <a:pt x="128231" y="182788"/>
                    </a:lnTo>
                    <a:lnTo>
                      <a:pt x="122787" y="169780"/>
                    </a:lnTo>
                    <a:lnTo>
                      <a:pt x="117961" y="165921"/>
                    </a:lnTo>
                    <a:lnTo>
                      <a:pt x="117752" y="166086"/>
                    </a:lnTo>
                    <a:lnTo>
                      <a:pt x="115889" y="165544"/>
                    </a:lnTo>
                    <a:lnTo>
                      <a:pt x="111451" y="166878"/>
                    </a:lnTo>
                    <a:lnTo>
                      <a:pt x="98981" y="173610"/>
                    </a:lnTo>
                    <a:lnTo>
                      <a:pt x="88309" y="177372"/>
                    </a:lnTo>
                    <a:lnTo>
                      <a:pt x="87179" y="175265"/>
                    </a:lnTo>
                    <a:lnTo>
                      <a:pt x="87152" y="175285"/>
                    </a:lnTo>
                    <a:lnTo>
                      <a:pt x="80531" y="157409"/>
                    </a:lnTo>
                    <a:lnTo>
                      <a:pt x="74483" y="154467"/>
                    </a:lnTo>
                    <a:lnTo>
                      <a:pt x="66211" y="159983"/>
                    </a:lnTo>
                    <a:lnTo>
                      <a:pt x="49264" y="165149"/>
                    </a:lnTo>
                    <a:lnTo>
                      <a:pt x="46741" y="165545"/>
                    </a:lnTo>
                    <a:lnTo>
                      <a:pt x="43104" y="162190"/>
                    </a:lnTo>
                    <a:lnTo>
                      <a:pt x="40413" y="162248"/>
                    </a:lnTo>
                    <a:lnTo>
                      <a:pt x="38624" y="164036"/>
                    </a:lnTo>
                    <a:lnTo>
                      <a:pt x="38632" y="167335"/>
                    </a:lnTo>
                    <a:lnTo>
                      <a:pt x="36729" y="169101"/>
                    </a:lnTo>
                    <a:lnTo>
                      <a:pt x="29166" y="169295"/>
                    </a:lnTo>
                    <a:lnTo>
                      <a:pt x="21786" y="172155"/>
                    </a:lnTo>
                    <a:lnTo>
                      <a:pt x="13440" y="179910"/>
                    </a:lnTo>
                    <a:lnTo>
                      <a:pt x="13407" y="179890"/>
                    </a:lnTo>
                    <a:lnTo>
                      <a:pt x="8269" y="178062"/>
                    </a:lnTo>
                    <a:lnTo>
                      <a:pt x="5795" y="175263"/>
                    </a:lnTo>
                    <a:lnTo>
                      <a:pt x="5736" y="172171"/>
                    </a:lnTo>
                    <a:lnTo>
                      <a:pt x="11662" y="161750"/>
                    </a:lnTo>
                    <a:lnTo>
                      <a:pt x="11599" y="158827"/>
                    </a:lnTo>
                    <a:lnTo>
                      <a:pt x="10934" y="157966"/>
                    </a:lnTo>
                    <a:lnTo>
                      <a:pt x="9309" y="155904"/>
                    </a:lnTo>
                    <a:lnTo>
                      <a:pt x="3651" y="154418"/>
                    </a:lnTo>
                    <a:lnTo>
                      <a:pt x="2288" y="152163"/>
                    </a:lnTo>
                    <a:lnTo>
                      <a:pt x="2477" y="151376"/>
                    </a:lnTo>
                    <a:lnTo>
                      <a:pt x="2666" y="150579"/>
                    </a:lnTo>
                    <a:lnTo>
                      <a:pt x="23375" y="140862"/>
                    </a:lnTo>
                    <a:lnTo>
                      <a:pt x="27591" y="143479"/>
                    </a:lnTo>
                    <a:lnTo>
                      <a:pt x="29858" y="144898"/>
                    </a:lnTo>
                    <a:lnTo>
                      <a:pt x="31120" y="142589"/>
                    </a:lnTo>
                    <a:lnTo>
                      <a:pt x="25984" y="132867"/>
                    </a:lnTo>
                    <a:lnTo>
                      <a:pt x="23530" y="128225"/>
                    </a:lnTo>
                    <a:lnTo>
                      <a:pt x="22383" y="127900"/>
                    </a:lnTo>
                    <a:lnTo>
                      <a:pt x="16731" y="126312"/>
                    </a:lnTo>
                    <a:lnTo>
                      <a:pt x="16695" y="121848"/>
                    </a:lnTo>
                    <a:lnTo>
                      <a:pt x="19075" y="118986"/>
                    </a:lnTo>
                    <a:lnTo>
                      <a:pt x="18535" y="113171"/>
                    </a:lnTo>
                    <a:lnTo>
                      <a:pt x="15815" y="111959"/>
                    </a:lnTo>
                    <a:lnTo>
                      <a:pt x="7696" y="115628"/>
                    </a:lnTo>
                    <a:lnTo>
                      <a:pt x="0" y="114816"/>
                    </a:lnTo>
                    <a:lnTo>
                      <a:pt x="99" y="106583"/>
                    </a:lnTo>
                    <a:lnTo>
                      <a:pt x="1431" y="103843"/>
                    </a:lnTo>
                    <a:lnTo>
                      <a:pt x="13541" y="102046"/>
                    </a:lnTo>
                    <a:lnTo>
                      <a:pt x="26006" y="95783"/>
                    </a:lnTo>
                    <a:lnTo>
                      <a:pt x="23725" y="89601"/>
                    </a:lnTo>
                    <a:lnTo>
                      <a:pt x="24587" y="86734"/>
                    </a:lnTo>
                    <a:lnTo>
                      <a:pt x="28918" y="82461"/>
                    </a:lnTo>
                    <a:lnTo>
                      <a:pt x="28103" y="71943"/>
                    </a:lnTo>
                    <a:lnTo>
                      <a:pt x="33732" y="68736"/>
                    </a:lnTo>
                    <a:lnTo>
                      <a:pt x="35342" y="63253"/>
                    </a:lnTo>
                    <a:lnTo>
                      <a:pt x="41837" y="53582"/>
                    </a:lnTo>
                    <a:lnTo>
                      <a:pt x="46012" y="54180"/>
                    </a:lnTo>
                    <a:lnTo>
                      <a:pt x="50042" y="60501"/>
                    </a:lnTo>
                    <a:lnTo>
                      <a:pt x="55732" y="63409"/>
                    </a:lnTo>
                    <a:lnTo>
                      <a:pt x="57934" y="63441"/>
                    </a:lnTo>
                    <a:lnTo>
                      <a:pt x="67142" y="50382"/>
                    </a:lnTo>
                    <a:lnTo>
                      <a:pt x="69777" y="47911"/>
                    </a:lnTo>
                    <a:lnTo>
                      <a:pt x="70401" y="46922"/>
                    </a:lnTo>
                    <a:lnTo>
                      <a:pt x="72818" y="45227"/>
                    </a:lnTo>
                    <a:lnTo>
                      <a:pt x="79889" y="46270"/>
                    </a:lnTo>
                    <a:lnTo>
                      <a:pt x="86204" y="38392"/>
                    </a:lnTo>
                    <a:lnTo>
                      <a:pt x="96695" y="35441"/>
                    </a:lnTo>
                    <a:lnTo>
                      <a:pt x="107617" y="29308"/>
                    </a:lnTo>
                    <a:lnTo>
                      <a:pt x="108916" y="27091"/>
                    </a:lnTo>
                    <a:lnTo>
                      <a:pt x="107487" y="20283"/>
                    </a:lnTo>
                    <a:lnTo>
                      <a:pt x="112644" y="14830"/>
                    </a:lnTo>
                    <a:lnTo>
                      <a:pt x="115490" y="14426"/>
                    </a:lnTo>
                    <a:lnTo>
                      <a:pt x="129009" y="19658"/>
                    </a:lnTo>
                    <a:lnTo>
                      <a:pt x="142829" y="17032"/>
                    </a:lnTo>
                    <a:lnTo>
                      <a:pt x="154691" y="19786"/>
                    </a:lnTo>
                    <a:lnTo>
                      <a:pt x="156786" y="18203"/>
                    </a:lnTo>
                    <a:lnTo>
                      <a:pt x="158151" y="6978"/>
                    </a:lnTo>
                    <a:lnTo>
                      <a:pt x="160337" y="1566"/>
                    </a:lnTo>
                    <a:lnTo>
                      <a:pt x="162256" y="0"/>
                    </a:lnTo>
                    <a:lnTo>
                      <a:pt x="171010" y="748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2" name="Freeform 20">
                <a:extLst>
                  <a:ext uri="{FF2B5EF4-FFF2-40B4-BE49-F238E27FC236}">
                    <a16:creationId xmlns:a16="http://schemas.microsoft.com/office/drawing/2014/main" id="{E19235C2-688F-5D20-7FF0-7DF087E9AE63}"/>
                  </a:ext>
                </a:extLst>
              </p:cNvPr>
              <p:cNvSpPr>
                <a:spLocks noChangeAspect="1"/>
              </p:cNvSpPr>
              <p:nvPr>
                <p:custDataLst>
                  <p:tags r:id="rId20"/>
                </p:custDataLst>
              </p:nvPr>
            </p:nvSpPr>
            <p:spPr>
              <a:xfrm>
                <a:off x="4539815" y="3075697"/>
                <a:ext cx="195812" cy="192364"/>
              </a:xfrm>
              <a:custGeom>
                <a:avLst/>
                <a:gdLst/>
                <a:ahLst/>
                <a:cxnLst/>
                <a:rect l="0" t="0" r="0" b="0"/>
                <a:pathLst>
                  <a:path w="201046" h="197506">
                    <a:moveTo>
                      <a:pt x="122473" y="9736"/>
                    </a:moveTo>
                    <a:lnTo>
                      <a:pt x="132552" y="9643"/>
                    </a:lnTo>
                    <a:lnTo>
                      <a:pt x="136051" y="12798"/>
                    </a:lnTo>
                    <a:lnTo>
                      <a:pt x="139534" y="19555"/>
                    </a:lnTo>
                    <a:lnTo>
                      <a:pt x="147885" y="25521"/>
                    </a:lnTo>
                    <a:lnTo>
                      <a:pt x="150232" y="33137"/>
                    </a:lnTo>
                    <a:lnTo>
                      <a:pt x="154661" y="36061"/>
                    </a:lnTo>
                    <a:lnTo>
                      <a:pt x="154313" y="40636"/>
                    </a:lnTo>
                    <a:lnTo>
                      <a:pt x="150862" y="48314"/>
                    </a:lnTo>
                    <a:lnTo>
                      <a:pt x="152208" y="55300"/>
                    </a:lnTo>
                    <a:lnTo>
                      <a:pt x="151864" y="60407"/>
                    </a:lnTo>
                    <a:lnTo>
                      <a:pt x="162327" y="75771"/>
                    </a:lnTo>
                    <a:lnTo>
                      <a:pt x="167593" y="79105"/>
                    </a:lnTo>
                    <a:lnTo>
                      <a:pt x="180068" y="80649"/>
                    </a:lnTo>
                    <a:lnTo>
                      <a:pt x="188758" y="91051"/>
                    </a:lnTo>
                    <a:lnTo>
                      <a:pt x="194674" y="90447"/>
                    </a:lnTo>
                    <a:lnTo>
                      <a:pt x="198871" y="90389"/>
                    </a:lnTo>
                    <a:lnTo>
                      <a:pt x="201045" y="92299"/>
                    </a:lnTo>
                    <a:lnTo>
                      <a:pt x="201043" y="92304"/>
                    </a:lnTo>
                    <a:lnTo>
                      <a:pt x="200067" y="94433"/>
                    </a:lnTo>
                    <a:lnTo>
                      <a:pt x="198018" y="111222"/>
                    </a:lnTo>
                    <a:lnTo>
                      <a:pt x="195547" y="115921"/>
                    </a:lnTo>
                    <a:lnTo>
                      <a:pt x="192730" y="119816"/>
                    </a:lnTo>
                    <a:lnTo>
                      <a:pt x="190697" y="125502"/>
                    </a:lnTo>
                    <a:lnTo>
                      <a:pt x="190720" y="128487"/>
                    </a:lnTo>
                    <a:lnTo>
                      <a:pt x="192108" y="133693"/>
                    </a:lnTo>
                    <a:lnTo>
                      <a:pt x="192276" y="135930"/>
                    </a:lnTo>
                    <a:lnTo>
                      <a:pt x="191140" y="138604"/>
                    </a:lnTo>
                    <a:lnTo>
                      <a:pt x="187440" y="142758"/>
                    </a:lnTo>
                    <a:lnTo>
                      <a:pt x="185320" y="149410"/>
                    </a:lnTo>
                    <a:lnTo>
                      <a:pt x="182120" y="153556"/>
                    </a:lnTo>
                    <a:lnTo>
                      <a:pt x="162555" y="168068"/>
                    </a:lnTo>
                    <a:lnTo>
                      <a:pt x="159029" y="176147"/>
                    </a:lnTo>
                    <a:lnTo>
                      <a:pt x="154758" y="179303"/>
                    </a:lnTo>
                    <a:lnTo>
                      <a:pt x="146702" y="183433"/>
                    </a:lnTo>
                    <a:lnTo>
                      <a:pt x="144844" y="186375"/>
                    </a:lnTo>
                    <a:lnTo>
                      <a:pt x="140956" y="196520"/>
                    </a:lnTo>
                    <a:lnTo>
                      <a:pt x="138929" y="197505"/>
                    </a:lnTo>
                    <a:lnTo>
                      <a:pt x="137426" y="196555"/>
                    </a:lnTo>
                    <a:lnTo>
                      <a:pt x="135735" y="195017"/>
                    </a:lnTo>
                    <a:lnTo>
                      <a:pt x="133091" y="194234"/>
                    </a:lnTo>
                    <a:lnTo>
                      <a:pt x="121599" y="196033"/>
                    </a:lnTo>
                    <a:lnTo>
                      <a:pt x="121596" y="196033"/>
                    </a:lnTo>
                    <a:lnTo>
                      <a:pt x="120989" y="193854"/>
                    </a:lnTo>
                    <a:lnTo>
                      <a:pt x="118864" y="187632"/>
                    </a:lnTo>
                    <a:lnTo>
                      <a:pt x="118515" y="182609"/>
                    </a:lnTo>
                    <a:lnTo>
                      <a:pt x="116025" y="178731"/>
                    </a:lnTo>
                    <a:lnTo>
                      <a:pt x="108024" y="178233"/>
                    </a:lnTo>
                    <a:lnTo>
                      <a:pt x="98496" y="178867"/>
                    </a:lnTo>
                    <a:lnTo>
                      <a:pt x="89907" y="181709"/>
                    </a:lnTo>
                    <a:lnTo>
                      <a:pt x="76699" y="183467"/>
                    </a:lnTo>
                    <a:lnTo>
                      <a:pt x="69940" y="185163"/>
                    </a:lnTo>
                    <a:lnTo>
                      <a:pt x="67502" y="190191"/>
                    </a:lnTo>
                    <a:lnTo>
                      <a:pt x="66709" y="195033"/>
                    </a:lnTo>
                    <a:lnTo>
                      <a:pt x="65673" y="194109"/>
                    </a:lnTo>
                    <a:lnTo>
                      <a:pt x="59831" y="193584"/>
                    </a:lnTo>
                    <a:lnTo>
                      <a:pt x="52418" y="189152"/>
                    </a:lnTo>
                    <a:lnTo>
                      <a:pt x="47459" y="179142"/>
                    </a:lnTo>
                    <a:lnTo>
                      <a:pt x="47749" y="173573"/>
                    </a:lnTo>
                    <a:lnTo>
                      <a:pt x="53222" y="159058"/>
                    </a:lnTo>
                    <a:lnTo>
                      <a:pt x="59636" y="150679"/>
                    </a:lnTo>
                    <a:lnTo>
                      <a:pt x="65445" y="147868"/>
                    </a:lnTo>
                    <a:lnTo>
                      <a:pt x="65428" y="144511"/>
                    </a:lnTo>
                    <a:lnTo>
                      <a:pt x="61128" y="141747"/>
                    </a:lnTo>
                    <a:lnTo>
                      <a:pt x="55909" y="141218"/>
                    </a:lnTo>
                    <a:lnTo>
                      <a:pt x="52208" y="136771"/>
                    </a:lnTo>
                    <a:lnTo>
                      <a:pt x="51885" y="132319"/>
                    </a:lnTo>
                    <a:lnTo>
                      <a:pt x="50341" y="128978"/>
                    </a:lnTo>
                    <a:lnTo>
                      <a:pt x="44812" y="125100"/>
                    </a:lnTo>
                    <a:lnTo>
                      <a:pt x="40515" y="123998"/>
                    </a:lnTo>
                    <a:lnTo>
                      <a:pt x="34085" y="122350"/>
                    </a:lnTo>
                    <a:lnTo>
                      <a:pt x="27955" y="120696"/>
                    </a:lnTo>
                    <a:lnTo>
                      <a:pt x="24580" y="117920"/>
                    </a:lnTo>
                    <a:lnTo>
                      <a:pt x="19054" y="109579"/>
                    </a:lnTo>
                    <a:lnTo>
                      <a:pt x="12617" y="100111"/>
                    </a:lnTo>
                    <a:lnTo>
                      <a:pt x="10780" y="95098"/>
                    </a:lnTo>
                    <a:lnTo>
                      <a:pt x="8318" y="86176"/>
                    </a:lnTo>
                    <a:lnTo>
                      <a:pt x="8311" y="79504"/>
                    </a:lnTo>
                    <a:lnTo>
                      <a:pt x="8304" y="72257"/>
                    </a:lnTo>
                    <a:lnTo>
                      <a:pt x="5252" y="63336"/>
                    </a:lnTo>
                    <a:lnTo>
                      <a:pt x="3110" y="60553"/>
                    </a:lnTo>
                    <a:lnTo>
                      <a:pt x="669" y="51077"/>
                    </a:lnTo>
                    <a:lnTo>
                      <a:pt x="0" y="39863"/>
                    </a:lnTo>
                    <a:lnTo>
                      <a:pt x="4943" y="40136"/>
                    </a:lnTo>
                    <a:lnTo>
                      <a:pt x="10451" y="35136"/>
                    </a:lnTo>
                    <a:lnTo>
                      <a:pt x="21227" y="32573"/>
                    </a:lnTo>
                    <a:lnTo>
                      <a:pt x="22549" y="30240"/>
                    </a:lnTo>
                    <a:lnTo>
                      <a:pt x="23234" y="22382"/>
                    </a:lnTo>
                    <a:lnTo>
                      <a:pt x="25091" y="21212"/>
                    </a:lnTo>
                    <a:lnTo>
                      <a:pt x="41104" y="29234"/>
                    </a:lnTo>
                    <a:lnTo>
                      <a:pt x="49103" y="30163"/>
                    </a:lnTo>
                    <a:lnTo>
                      <a:pt x="57239" y="36291"/>
                    </a:lnTo>
                    <a:lnTo>
                      <a:pt x="59956" y="33613"/>
                    </a:lnTo>
                    <a:lnTo>
                      <a:pt x="64034" y="15241"/>
                    </a:lnTo>
                    <a:lnTo>
                      <a:pt x="65938" y="11412"/>
                    </a:lnTo>
                    <a:lnTo>
                      <a:pt x="69910" y="8094"/>
                    </a:lnTo>
                    <a:lnTo>
                      <a:pt x="76779" y="5193"/>
                    </a:lnTo>
                    <a:lnTo>
                      <a:pt x="97268" y="5704"/>
                    </a:lnTo>
                    <a:lnTo>
                      <a:pt x="104459" y="763"/>
                    </a:lnTo>
                    <a:lnTo>
                      <a:pt x="108789" y="0"/>
                    </a:lnTo>
                    <a:lnTo>
                      <a:pt x="117509" y="4162"/>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63" name="Freeform 21">
                <a:extLst>
                  <a:ext uri="{FF2B5EF4-FFF2-40B4-BE49-F238E27FC236}">
                    <a16:creationId xmlns:a16="http://schemas.microsoft.com/office/drawing/2014/main" id="{B425CF27-EA65-A493-4FBE-B5337059E5E9}"/>
                  </a:ext>
                </a:extLst>
              </p:cNvPr>
              <p:cNvSpPr>
                <a:spLocks noChangeAspect="1"/>
              </p:cNvSpPr>
              <p:nvPr>
                <p:custDataLst>
                  <p:tags r:id="rId21"/>
                </p:custDataLst>
              </p:nvPr>
            </p:nvSpPr>
            <p:spPr>
              <a:xfrm>
                <a:off x="4604787" y="3249290"/>
                <a:ext cx="53459" cy="24809"/>
              </a:xfrm>
              <a:custGeom>
                <a:avLst/>
                <a:gdLst/>
                <a:ahLst/>
                <a:cxnLst/>
                <a:rect l="0" t="0" r="0" b="0"/>
                <a:pathLst>
                  <a:path w="54888" h="25472">
                    <a:moveTo>
                      <a:pt x="54887" y="17800"/>
                    </a:moveTo>
                    <a:lnTo>
                      <a:pt x="5056" y="25471"/>
                    </a:lnTo>
                    <a:lnTo>
                      <a:pt x="4849" y="24129"/>
                    </a:lnTo>
                    <a:lnTo>
                      <a:pt x="2679" y="19195"/>
                    </a:lnTo>
                    <a:lnTo>
                      <a:pt x="0" y="16800"/>
                    </a:lnTo>
                    <a:lnTo>
                      <a:pt x="793" y="11958"/>
                    </a:lnTo>
                    <a:lnTo>
                      <a:pt x="3231" y="6930"/>
                    </a:lnTo>
                    <a:lnTo>
                      <a:pt x="9990" y="5234"/>
                    </a:lnTo>
                    <a:lnTo>
                      <a:pt x="23198" y="3476"/>
                    </a:lnTo>
                    <a:lnTo>
                      <a:pt x="31787" y="634"/>
                    </a:lnTo>
                    <a:lnTo>
                      <a:pt x="41315" y="0"/>
                    </a:lnTo>
                    <a:lnTo>
                      <a:pt x="49316" y="498"/>
                    </a:lnTo>
                    <a:lnTo>
                      <a:pt x="51806" y="4376"/>
                    </a:lnTo>
                    <a:lnTo>
                      <a:pt x="52155" y="9399"/>
                    </a:lnTo>
                    <a:lnTo>
                      <a:pt x="54280" y="15621"/>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66" name="Freeform 22">
                <a:extLst>
                  <a:ext uri="{FF2B5EF4-FFF2-40B4-BE49-F238E27FC236}">
                    <a16:creationId xmlns:a16="http://schemas.microsoft.com/office/drawing/2014/main" id="{9B5F5578-4220-A24C-549E-31278981C03F}"/>
                  </a:ext>
                </a:extLst>
              </p:cNvPr>
              <p:cNvSpPr>
                <a:spLocks noChangeAspect="1"/>
              </p:cNvSpPr>
              <p:nvPr>
                <p:custDataLst>
                  <p:tags r:id="rId22"/>
                </p:custDataLst>
              </p:nvPr>
            </p:nvSpPr>
            <p:spPr>
              <a:xfrm>
                <a:off x="4466951" y="3271689"/>
                <a:ext cx="242036" cy="162168"/>
              </a:xfrm>
              <a:custGeom>
                <a:avLst/>
                <a:gdLst/>
                <a:ahLst/>
                <a:cxnLst/>
                <a:rect l="0" t="0" r="0" b="0"/>
                <a:pathLst>
                  <a:path w="248506" h="166503">
                    <a:moveTo>
                      <a:pt x="0" y="147475"/>
                    </a:moveTo>
                    <a:lnTo>
                      <a:pt x="845" y="146755"/>
                    </a:lnTo>
                    <a:lnTo>
                      <a:pt x="4530" y="143158"/>
                    </a:lnTo>
                    <a:lnTo>
                      <a:pt x="6628" y="138073"/>
                    </a:lnTo>
                    <a:lnTo>
                      <a:pt x="11540" y="138409"/>
                    </a:lnTo>
                    <a:lnTo>
                      <a:pt x="24576" y="134741"/>
                    </a:lnTo>
                    <a:lnTo>
                      <a:pt x="24462" y="132509"/>
                    </a:lnTo>
                    <a:lnTo>
                      <a:pt x="21806" y="131336"/>
                    </a:lnTo>
                    <a:lnTo>
                      <a:pt x="20988" y="128905"/>
                    </a:lnTo>
                    <a:lnTo>
                      <a:pt x="24777" y="126389"/>
                    </a:lnTo>
                    <a:lnTo>
                      <a:pt x="34551" y="123946"/>
                    </a:lnTo>
                    <a:lnTo>
                      <a:pt x="36561" y="122686"/>
                    </a:lnTo>
                    <a:lnTo>
                      <a:pt x="37930" y="118325"/>
                    </a:lnTo>
                    <a:lnTo>
                      <a:pt x="41776" y="117168"/>
                    </a:lnTo>
                    <a:lnTo>
                      <a:pt x="46378" y="121323"/>
                    </a:lnTo>
                    <a:lnTo>
                      <a:pt x="58448" y="120486"/>
                    </a:lnTo>
                    <a:lnTo>
                      <a:pt x="76663" y="123035"/>
                    </a:lnTo>
                    <a:lnTo>
                      <a:pt x="81040" y="120267"/>
                    </a:lnTo>
                    <a:lnTo>
                      <a:pt x="82392" y="113573"/>
                    </a:lnTo>
                    <a:lnTo>
                      <a:pt x="84640" y="112406"/>
                    </a:lnTo>
                    <a:lnTo>
                      <a:pt x="90070" y="111451"/>
                    </a:lnTo>
                    <a:lnTo>
                      <a:pt x="96874" y="113552"/>
                    </a:lnTo>
                    <a:lnTo>
                      <a:pt x="100539" y="112064"/>
                    </a:lnTo>
                    <a:lnTo>
                      <a:pt x="101366" y="110897"/>
                    </a:lnTo>
                    <a:lnTo>
                      <a:pt x="96746" y="109742"/>
                    </a:lnTo>
                    <a:lnTo>
                      <a:pt x="94432" y="106764"/>
                    </a:lnTo>
                    <a:lnTo>
                      <a:pt x="95676" y="104650"/>
                    </a:lnTo>
                    <a:lnTo>
                      <a:pt x="103403" y="100378"/>
                    </a:lnTo>
                    <a:lnTo>
                      <a:pt x="102734" y="91682"/>
                    </a:lnTo>
                    <a:lnTo>
                      <a:pt x="97470" y="86381"/>
                    </a:lnTo>
                    <a:lnTo>
                      <a:pt x="84840" y="85019"/>
                    </a:lnTo>
                    <a:lnTo>
                      <a:pt x="85009" y="78226"/>
                    </a:lnTo>
                    <a:lnTo>
                      <a:pt x="81770" y="75899"/>
                    </a:lnTo>
                    <a:lnTo>
                      <a:pt x="81769" y="74300"/>
                    </a:lnTo>
                    <a:lnTo>
                      <a:pt x="87770" y="67718"/>
                    </a:lnTo>
                    <a:lnTo>
                      <a:pt x="95137" y="67815"/>
                    </a:lnTo>
                    <a:lnTo>
                      <a:pt x="96892" y="65907"/>
                    </a:lnTo>
                    <a:lnTo>
                      <a:pt x="96066" y="60696"/>
                    </a:lnTo>
                    <a:lnTo>
                      <a:pt x="97055" y="59637"/>
                    </a:lnTo>
                    <a:lnTo>
                      <a:pt x="103839" y="60146"/>
                    </a:lnTo>
                    <a:lnTo>
                      <a:pt x="107072" y="58440"/>
                    </a:lnTo>
                    <a:lnTo>
                      <a:pt x="107360" y="55576"/>
                    </a:lnTo>
                    <a:lnTo>
                      <a:pt x="102291" y="51777"/>
                    </a:lnTo>
                    <a:lnTo>
                      <a:pt x="102287" y="50178"/>
                    </a:lnTo>
                    <a:lnTo>
                      <a:pt x="105040" y="47526"/>
                    </a:lnTo>
                    <a:lnTo>
                      <a:pt x="103545" y="42830"/>
                    </a:lnTo>
                    <a:lnTo>
                      <a:pt x="102995" y="41310"/>
                    </a:lnTo>
                    <a:lnTo>
                      <a:pt x="102993" y="40600"/>
                    </a:lnTo>
                    <a:lnTo>
                      <a:pt x="102993" y="40584"/>
                    </a:lnTo>
                    <a:lnTo>
                      <a:pt x="105294" y="40570"/>
                    </a:lnTo>
                    <a:lnTo>
                      <a:pt x="109719" y="39345"/>
                    </a:lnTo>
                    <a:lnTo>
                      <a:pt x="118643" y="33907"/>
                    </a:lnTo>
                    <a:lnTo>
                      <a:pt x="126851" y="31825"/>
                    </a:lnTo>
                    <a:lnTo>
                      <a:pt x="168876" y="10082"/>
                    </a:lnTo>
                    <a:lnTo>
                      <a:pt x="171042" y="7516"/>
                    </a:lnTo>
                    <a:lnTo>
                      <a:pt x="172976" y="3864"/>
                    </a:lnTo>
                    <a:lnTo>
                      <a:pt x="177509" y="909"/>
                    </a:lnTo>
                    <a:lnTo>
                      <a:pt x="182589" y="0"/>
                    </a:lnTo>
                    <a:lnTo>
                      <a:pt x="186216" y="2319"/>
                    </a:lnTo>
                    <a:lnTo>
                      <a:pt x="190011" y="6035"/>
                    </a:lnTo>
                    <a:lnTo>
                      <a:pt x="197477" y="6594"/>
                    </a:lnTo>
                    <a:lnTo>
                      <a:pt x="200047" y="11329"/>
                    </a:lnTo>
                    <a:lnTo>
                      <a:pt x="200517" y="18601"/>
                    </a:lnTo>
                    <a:lnTo>
                      <a:pt x="199021" y="25439"/>
                    </a:lnTo>
                    <a:lnTo>
                      <a:pt x="196247" y="31154"/>
                    </a:lnTo>
                    <a:lnTo>
                      <a:pt x="192905" y="35101"/>
                    </a:lnTo>
                    <a:lnTo>
                      <a:pt x="198107" y="35056"/>
                    </a:lnTo>
                    <a:lnTo>
                      <a:pt x="198919" y="36215"/>
                    </a:lnTo>
                    <a:lnTo>
                      <a:pt x="199905" y="41462"/>
                    </a:lnTo>
                    <a:lnTo>
                      <a:pt x="200331" y="42872"/>
                    </a:lnTo>
                    <a:lnTo>
                      <a:pt x="202737" y="43970"/>
                    </a:lnTo>
                    <a:lnTo>
                      <a:pt x="204619" y="44280"/>
                    </a:lnTo>
                    <a:lnTo>
                      <a:pt x="206186" y="45104"/>
                    </a:lnTo>
                    <a:lnTo>
                      <a:pt x="207617" y="47796"/>
                    </a:lnTo>
                    <a:lnTo>
                      <a:pt x="227010" y="49094"/>
                    </a:lnTo>
                    <a:lnTo>
                      <a:pt x="231674" y="51438"/>
                    </a:lnTo>
                    <a:lnTo>
                      <a:pt x="238970" y="58135"/>
                    </a:lnTo>
                    <a:lnTo>
                      <a:pt x="240680" y="59079"/>
                    </a:lnTo>
                    <a:lnTo>
                      <a:pt x="248477" y="65859"/>
                    </a:lnTo>
                    <a:lnTo>
                      <a:pt x="248505" y="68205"/>
                    </a:lnTo>
                    <a:lnTo>
                      <a:pt x="237326" y="79518"/>
                    </a:lnTo>
                    <a:lnTo>
                      <a:pt x="233541" y="87132"/>
                    </a:lnTo>
                    <a:lnTo>
                      <a:pt x="228537" y="89597"/>
                    </a:lnTo>
                    <a:lnTo>
                      <a:pt x="218326" y="92037"/>
                    </a:lnTo>
                    <a:lnTo>
                      <a:pt x="204942" y="101463"/>
                    </a:lnTo>
                    <a:lnTo>
                      <a:pt x="200162" y="102875"/>
                    </a:lnTo>
                    <a:lnTo>
                      <a:pt x="194928" y="102018"/>
                    </a:lnTo>
                    <a:lnTo>
                      <a:pt x="181827" y="95190"/>
                    </a:lnTo>
                    <a:lnTo>
                      <a:pt x="171630" y="95062"/>
                    </a:lnTo>
                    <a:lnTo>
                      <a:pt x="166478" y="96543"/>
                    </a:lnTo>
                    <a:lnTo>
                      <a:pt x="164299" y="99356"/>
                    </a:lnTo>
                    <a:lnTo>
                      <a:pt x="162678" y="102880"/>
                    </a:lnTo>
                    <a:lnTo>
                      <a:pt x="151423" y="111048"/>
                    </a:lnTo>
                    <a:lnTo>
                      <a:pt x="139681" y="124728"/>
                    </a:lnTo>
                    <a:lnTo>
                      <a:pt x="136181" y="126797"/>
                    </a:lnTo>
                    <a:lnTo>
                      <a:pt x="131924" y="128355"/>
                    </a:lnTo>
                    <a:lnTo>
                      <a:pt x="129653" y="132438"/>
                    </a:lnTo>
                    <a:lnTo>
                      <a:pt x="126730" y="145324"/>
                    </a:lnTo>
                    <a:lnTo>
                      <a:pt x="124338" y="150930"/>
                    </a:lnTo>
                    <a:lnTo>
                      <a:pt x="121187" y="153150"/>
                    </a:lnTo>
                    <a:lnTo>
                      <a:pt x="106239" y="154003"/>
                    </a:lnTo>
                    <a:lnTo>
                      <a:pt x="101988" y="155942"/>
                    </a:lnTo>
                    <a:lnTo>
                      <a:pt x="94599" y="161071"/>
                    </a:lnTo>
                    <a:lnTo>
                      <a:pt x="86143" y="165048"/>
                    </a:lnTo>
                    <a:lnTo>
                      <a:pt x="77786" y="166502"/>
                    </a:lnTo>
                    <a:lnTo>
                      <a:pt x="69426" y="165930"/>
                    </a:lnTo>
                    <a:lnTo>
                      <a:pt x="34936" y="155630"/>
                    </a:lnTo>
                    <a:lnTo>
                      <a:pt x="15962" y="155917"/>
                    </a:lnTo>
                    <a:lnTo>
                      <a:pt x="7750" y="153119"/>
                    </a:lnTo>
                    <a:lnTo>
                      <a:pt x="221" y="14769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67" name="Freeform 23">
                <a:extLst>
                  <a:ext uri="{FF2B5EF4-FFF2-40B4-BE49-F238E27FC236}">
                    <a16:creationId xmlns:a16="http://schemas.microsoft.com/office/drawing/2014/main" id="{4D97B7F3-6D0C-EFE0-3A7D-1DC7570EA978}"/>
                  </a:ext>
                </a:extLst>
              </p:cNvPr>
              <p:cNvSpPr>
                <a:spLocks noChangeAspect="1"/>
              </p:cNvSpPr>
              <p:nvPr>
                <p:custDataLst>
                  <p:tags r:id="rId23"/>
                </p:custDataLst>
              </p:nvPr>
            </p:nvSpPr>
            <p:spPr>
              <a:xfrm>
                <a:off x="4609549" y="3417852"/>
                <a:ext cx="146014" cy="90535"/>
              </a:xfrm>
              <a:custGeom>
                <a:avLst/>
                <a:gdLst/>
                <a:ahLst/>
                <a:cxnLst/>
                <a:rect l="0" t="0" r="0" b="0"/>
                <a:pathLst>
                  <a:path w="149917" h="92955">
                    <a:moveTo>
                      <a:pt x="149916" y="41714"/>
                    </a:moveTo>
                    <a:lnTo>
                      <a:pt x="149909" y="41731"/>
                    </a:lnTo>
                    <a:lnTo>
                      <a:pt x="148947" y="44205"/>
                    </a:lnTo>
                    <a:lnTo>
                      <a:pt x="148824" y="44523"/>
                    </a:lnTo>
                    <a:lnTo>
                      <a:pt x="146243" y="49390"/>
                    </a:lnTo>
                    <a:lnTo>
                      <a:pt x="134082" y="63905"/>
                    </a:lnTo>
                    <a:lnTo>
                      <a:pt x="141694" y="67192"/>
                    </a:lnTo>
                    <a:lnTo>
                      <a:pt x="143054" y="70775"/>
                    </a:lnTo>
                    <a:lnTo>
                      <a:pt x="142660" y="72589"/>
                    </a:lnTo>
                    <a:lnTo>
                      <a:pt x="139560" y="71991"/>
                    </a:lnTo>
                    <a:lnTo>
                      <a:pt x="136286" y="75870"/>
                    </a:lnTo>
                    <a:lnTo>
                      <a:pt x="125988" y="76863"/>
                    </a:lnTo>
                    <a:lnTo>
                      <a:pt x="122762" y="80935"/>
                    </a:lnTo>
                    <a:lnTo>
                      <a:pt x="120408" y="78103"/>
                    </a:lnTo>
                    <a:lnTo>
                      <a:pt x="113448" y="79044"/>
                    </a:lnTo>
                    <a:lnTo>
                      <a:pt x="110411" y="84709"/>
                    </a:lnTo>
                    <a:lnTo>
                      <a:pt x="106475" y="83910"/>
                    </a:lnTo>
                    <a:lnTo>
                      <a:pt x="103611" y="88605"/>
                    </a:lnTo>
                    <a:lnTo>
                      <a:pt x="100291" y="90145"/>
                    </a:lnTo>
                    <a:lnTo>
                      <a:pt x="90556" y="88028"/>
                    </a:lnTo>
                    <a:lnTo>
                      <a:pt x="90390" y="84633"/>
                    </a:lnTo>
                    <a:lnTo>
                      <a:pt x="87449" y="82434"/>
                    </a:lnTo>
                    <a:lnTo>
                      <a:pt x="70068" y="90356"/>
                    </a:lnTo>
                    <a:lnTo>
                      <a:pt x="60426" y="86518"/>
                    </a:lnTo>
                    <a:lnTo>
                      <a:pt x="51838" y="92954"/>
                    </a:lnTo>
                    <a:lnTo>
                      <a:pt x="46605" y="88594"/>
                    </a:lnTo>
                    <a:lnTo>
                      <a:pt x="31465" y="77122"/>
                    </a:lnTo>
                    <a:lnTo>
                      <a:pt x="7077" y="59015"/>
                    </a:lnTo>
                    <a:lnTo>
                      <a:pt x="1239" y="52945"/>
                    </a:lnTo>
                    <a:lnTo>
                      <a:pt x="182" y="46396"/>
                    </a:lnTo>
                    <a:lnTo>
                      <a:pt x="20" y="45191"/>
                    </a:lnTo>
                    <a:lnTo>
                      <a:pt x="3" y="45113"/>
                    </a:lnTo>
                    <a:lnTo>
                      <a:pt x="0" y="45096"/>
                    </a:lnTo>
                    <a:lnTo>
                      <a:pt x="9729" y="44024"/>
                    </a:lnTo>
                    <a:lnTo>
                      <a:pt x="25889" y="36737"/>
                    </a:lnTo>
                    <a:lnTo>
                      <a:pt x="30834" y="32380"/>
                    </a:lnTo>
                    <a:lnTo>
                      <a:pt x="34339" y="26414"/>
                    </a:lnTo>
                    <a:lnTo>
                      <a:pt x="37971" y="21675"/>
                    </a:lnTo>
                    <a:lnTo>
                      <a:pt x="43286" y="20980"/>
                    </a:lnTo>
                    <a:lnTo>
                      <a:pt x="42040" y="16372"/>
                    </a:lnTo>
                    <a:lnTo>
                      <a:pt x="41453" y="14667"/>
                    </a:lnTo>
                    <a:lnTo>
                      <a:pt x="40450" y="13166"/>
                    </a:lnTo>
                    <a:lnTo>
                      <a:pt x="44305" y="9668"/>
                    </a:lnTo>
                    <a:lnTo>
                      <a:pt x="50562" y="1980"/>
                    </a:lnTo>
                    <a:lnTo>
                      <a:pt x="54885" y="0"/>
                    </a:lnTo>
                    <a:lnTo>
                      <a:pt x="90684" y="2233"/>
                    </a:lnTo>
                    <a:lnTo>
                      <a:pt x="94795" y="4052"/>
                    </a:lnTo>
                    <a:lnTo>
                      <a:pt x="100958" y="12469"/>
                    </a:lnTo>
                    <a:lnTo>
                      <a:pt x="104863" y="14894"/>
                    </a:lnTo>
                    <a:lnTo>
                      <a:pt x="103028" y="21213"/>
                    </a:lnTo>
                    <a:lnTo>
                      <a:pt x="101923" y="23233"/>
                    </a:lnTo>
                    <a:lnTo>
                      <a:pt x="104944" y="24269"/>
                    </a:lnTo>
                    <a:lnTo>
                      <a:pt x="110382" y="23161"/>
                    </a:lnTo>
                    <a:lnTo>
                      <a:pt x="113637" y="25451"/>
                    </a:lnTo>
                    <a:lnTo>
                      <a:pt x="114504" y="23915"/>
                    </a:lnTo>
                    <a:lnTo>
                      <a:pt x="116669" y="21897"/>
                    </a:lnTo>
                    <a:lnTo>
                      <a:pt x="118064" y="20184"/>
                    </a:lnTo>
                    <a:lnTo>
                      <a:pt x="121237" y="23454"/>
                    </a:lnTo>
                    <a:lnTo>
                      <a:pt x="130035" y="29554"/>
                    </a:lnTo>
                    <a:lnTo>
                      <a:pt x="138223" y="32081"/>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68" name="Freeform 24">
                <a:extLst>
                  <a:ext uri="{FF2B5EF4-FFF2-40B4-BE49-F238E27FC236}">
                    <a16:creationId xmlns:a16="http://schemas.microsoft.com/office/drawing/2014/main" id="{4FEA2F86-5549-14B6-9ECA-4CA3D2EB34AA}"/>
                  </a:ext>
                </a:extLst>
              </p:cNvPr>
              <p:cNvSpPr>
                <a:spLocks noChangeAspect="1"/>
              </p:cNvSpPr>
              <p:nvPr>
                <p:custDataLst>
                  <p:tags r:id="rId24"/>
                </p:custDataLst>
              </p:nvPr>
            </p:nvSpPr>
            <p:spPr>
              <a:xfrm>
                <a:off x="4528286" y="3443761"/>
                <a:ext cx="77798" cy="68878"/>
              </a:xfrm>
              <a:custGeom>
                <a:avLst/>
                <a:gdLst/>
                <a:ahLst/>
                <a:cxnLst/>
                <a:rect l="0" t="0" r="0" b="0"/>
                <a:pathLst>
                  <a:path w="79878" h="70719">
                    <a:moveTo>
                      <a:pt x="79769" y="18891"/>
                    </a:moveTo>
                    <a:lnTo>
                      <a:pt x="79769" y="18904"/>
                    </a:lnTo>
                    <a:lnTo>
                      <a:pt x="79770" y="18924"/>
                    </a:lnTo>
                    <a:lnTo>
                      <a:pt x="79877" y="22715"/>
                    </a:lnTo>
                    <a:lnTo>
                      <a:pt x="78547" y="31252"/>
                    </a:lnTo>
                    <a:lnTo>
                      <a:pt x="77917" y="40397"/>
                    </a:lnTo>
                    <a:lnTo>
                      <a:pt x="67665" y="41045"/>
                    </a:lnTo>
                    <a:lnTo>
                      <a:pt x="56045" y="43527"/>
                    </a:lnTo>
                    <a:lnTo>
                      <a:pt x="42742" y="53933"/>
                    </a:lnTo>
                    <a:lnTo>
                      <a:pt x="23949" y="66765"/>
                    </a:lnTo>
                    <a:lnTo>
                      <a:pt x="19509" y="70718"/>
                    </a:lnTo>
                    <a:lnTo>
                      <a:pt x="17871" y="68527"/>
                    </a:lnTo>
                    <a:lnTo>
                      <a:pt x="13804" y="67365"/>
                    </a:lnTo>
                    <a:lnTo>
                      <a:pt x="11969" y="68570"/>
                    </a:lnTo>
                    <a:lnTo>
                      <a:pt x="11965" y="60673"/>
                    </a:lnTo>
                    <a:lnTo>
                      <a:pt x="12982" y="42999"/>
                    </a:lnTo>
                    <a:lnTo>
                      <a:pt x="12300" y="39958"/>
                    </a:lnTo>
                    <a:lnTo>
                      <a:pt x="8191" y="37531"/>
                    </a:lnTo>
                    <a:lnTo>
                      <a:pt x="3414" y="35695"/>
                    </a:lnTo>
                    <a:lnTo>
                      <a:pt x="344" y="30817"/>
                    </a:lnTo>
                    <a:lnTo>
                      <a:pt x="0" y="19246"/>
                    </a:lnTo>
                    <a:lnTo>
                      <a:pt x="3" y="10706"/>
                    </a:lnTo>
                    <a:lnTo>
                      <a:pt x="244" y="1653"/>
                    </a:lnTo>
                    <a:lnTo>
                      <a:pt x="255" y="1653"/>
                    </a:lnTo>
                    <a:lnTo>
                      <a:pt x="300" y="112"/>
                    </a:lnTo>
                    <a:lnTo>
                      <a:pt x="300" y="13"/>
                    </a:lnTo>
                    <a:lnTo>
                      <a:pt x="300" y="0"/>
                    </a:lnTo>
                    <a:lnTo>
                      <a:pt x="9774" y="2691"/>
                    </a:lnTo>
                    <a:lnTo>
                      <a:pt x="19854" y="2685"/>
                    </a:lnTo>
                    <a:lnTo>
                      <a:pt x="23566" y="876"/>
                    </a:lnTo>
                    <a:lnTo>
                      <a:pt x="25670" y="1013"/>
                    </a:lnTo>
                    <a:lnTo>
                      <a:pt x="27945" y="4089"/>
                    </a:lnTo>
                    <a:lnTo>
                      <a:pt x="31577" y="7301"/>
                    </a:lnTo>
                    <a:lnTo>
                      <a:pt x="70427" y="10355"/>
                    </a:lnTo>
                    <a:lnTo>
                      <a:pt x="71947" y="11561"/>
                    </a:lnTo>
                    <a:lnTo>
                      <a:pt x="75802" y="16954"/>
                    </a:lnTo>
                    <a:lnTo>
                      <a:pt x="77115" y="1839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69" name="Freeform 25">
                <a:extLst>
                  <a:ext uri="{FF2B5EF4-FFF2-40B4-BE49-F238E27FC236}">
                    <a16:creationId xmlns:a16="http://schemas.microsoft.com/office/drawing/2014/main" id="{06FAC8D7-5965-BAF1-3090-2DA86FE706F3}"/>
                  </a:ext>
                </a:extLst>
              </p:cNvPr>
              <p:cNvSpPr>
                <a:spLocks noChangeAspect="1"/>
              </p:cNvSpPr>
              <p:nvPr>
                <p:custDataLst>
                  <p:tags r:id="rId25"/>
                </p:custDataLst>
              </p:nvPr>
            </p:nvSpPr>
            <p:spPr>
              <a:xfrm>
                <a:off x="4547287" y="3461774"/>
                <a:ext cx="112751" cy="87870"/>
              </a:xfrm>
              <a:custGeom>
                <a:avLst/>
                <a:gdLst/>
                <a:ahLst/>
                <a:cxnLst/>
                <a:rect l="0" t="0" r="0" b="0"/>
                <a:pathLst>
                  <a:path w="115765" h="90219">
                    <a:moveTo>
                      <a:pt x="115764" y="47858"/>
                    </a:moveTo>
                    <a:lnTo>
                      <a:pt x="113455" y="49596"/>
                    </a:lnTo>
                    <a:lnTo>
                      <a:pt x="108342" y="51119"/>
                    </a:lnTo>
                    <a:lnTo>
                      <a:pt x="101854" y="60827"/>
                    </a:lnTo>
                    <a:lnTo>
                      <a:pt x="97391" y="63092"/>
                    </a:lnTo>
                    <a:lnTo>
                      <a:pt x="91895" y="61651"/>
                    </a:lnTo>
                    <a:lnTo>
                      <a:pt x="92919" y="54218"/>
                    </a:lnTo>
                    <a:lnTo>
                      <a:pt x="91401" y="50715"/>
                    </a:lnTo>
                    <a:lnTo>
                      <a:pt x="89608" y="50530"/>
                    </a:lnTo>
                    <a:lnTo>
                      <a:pt x="61633" y="75103"/>
                    </a:lnTo>
                    <a:lnTo>
                      <a:pt x="56955" y="80961"/>
                    </a:lnTo>
                    <a:lnTo>
                      <a:pt x="58102" y="84896"/>
                    </a:lnTo>
                    <a:lnTo>
                      <a:pt x="57465" y="87643"/>
                    </a:lnTo>
                    <a:lnTo>
                      <a:pt x="51547" y="90218"/>
                    </a:lnTo>
                    <a:lnTo>
                      <a:pt x="46337" y="86310"/>
                    </a:lnTo>
                    <a:lnTo>
                      <a:pt x="46667" y="79951"/>
                    </a:lnTo>
                    <a:lnTo>
                      <a:pt x="42148" y="69660"/>
                    </a:lnTo>
                    <a:lnTo>
                      <a:pt x="41710" y="63836"/>
                    </a:lnTo>
                    <a:lnTo>
                      <a:pt x="37801" y="55991"/>
                    </a:lnTo>
                    <a:lnTo>
                      <a:pt x="27984" y="65679"/>
                    </a:lnTo>
                    <a:lnTo>
                      <a:pt x="19451" y="66647"/>
                    </a:lnTo>
                    <a:lnTo>
                      <a:pt x="14781" y="64011"/>
                    </a:lnTo>
                    <a:lnTo>
                      <a:pt x="13467" y="59027"/>
                    </a:lnTo>
                    <a:lnTo>
                      <a:pt x="4991" y="58933"/>
                    </a:lnTo>
                    <a:lnTo>
                      <a:pt x="0" y="52224"/>
                    </a:lnTo>
                    <a:lnTo>
                      <a:pt x="4440" y="48271"/>
                    </a:lnTo>
                    <a:lnTo>
                      <a:pt x="23233" y="35439"/>
                    </a:lnTo>
                    <a:lnTo>
                      <a:pt x="36536" y="25033"/>
                    </a:lnTo>
                    <a:lnTo>
                      <a:pt x="48156" y="22551"/>
                    </a:lnTo>
                    <a:lnTo>
                      <a:pt x="58408" y="21903"/>
                    </a:lnTo>
                    <a:lnTo>
                      <a:pt x="59038" y="12758"/>
                    </a:lnTo>
                    <a:lnTo>
                      <a:pt x="60368" y="4221"/>
                    </a:lnTo>
                    <a:lnTo>
                      <a:pt x="60261" y="430"/>
                    </a:lnTo>
                    <a:lnTo>
                      <a:pt x="60260" y="410"/>
                    </a:lnTo>
                    <a:lnTo>
                      <a:pt x="60260" y="397"/>
                    </a:lnTo>
                    <a:lnTo>
                      <a:pt x="60281" y="400"/>
                    </a:lnTo>
                    <a:lnTo>
                      <a:pt x="63926" y="0"/>
                    </a:lnTo>
                    <a:lnTo>
                      <a:pt x="63929" y="17"/>
                    </a:lnTo>
                    <a:lnTo>
                      <a:pt x="63946" y="95"/>
                    </a:lnTo>
                    <a:lnTo>
                      <a:pt x="64108" y="1300"/>
                    </a:lnTo>
                    <a:lnTo>
                      <a:pt x="65165" y="7849"/>
                    </a:lnTo>
                    <a:lnTo>
                      <a:pt x="71003" y="13919"/>
                    </a:lnTo>
                    <a:lnTo>
                      <a:pt x="95391" y="32026"/>
                    </a:lnTo>
                    <a:lnTo>
                      <a:pt x="110531" y="4349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70" name="Freeform 26">
                <a:extLst>
                  <a:ext uri="{FF2B5EF4-FFF2-40B4-BE49-F238E27FC236}">
                    <a16:creationId xmlns:a16="http://schemas.microsoft.com/office/drawing/2014/main" id="{B5E0C250-5E56-F1C3-9C97-5C60F177ED97}"/>
                  </a:ext>
                </a:extLst>
              </p:cNvPr>
              <p:cNvSpPr>
                <a:spLocks noChangeAspect="1"/>
              </p:cNvSpPr>
              <p:nvPr>
                <p:custDataLst>
                  <p:tags r:id="rId26"/>
                </p:custDataLst>
              </p:nvPr>
            </p:nvSpPr>
            <p:spPr>
              <a:xfrm>
                <a:off x="4451160" y="3440470"/>
                <a:ext cx="89771" cy="87828"/>
              </a:xfrm>
              <a:custGeom>
                <a:avLst/>
                <a:gdLst/>
                <a:ahLst/>
                <a:cxnLst/>
                <a:rect l="0" t="0" r="0" b="0"/>
                <a:pathLst>
                  <a:path w="92171" h="90176">
                    <a:moveTo>
                      <a:pt x="79488" y="3379"/>
                    </a:moveTo>
                    <a:lnTo>
                      <a:pt x="79488" y="3392"/>
                    </a:lnTo>
                    <a:lnTo>
                      <a:pt x="79488" y="3491"/>
                    </a:lnTo>
                    <a:lnTo>
                      <a:pt x="79443" y="5032"/>
                    </a:lnTo>
                    <a:lnTo>
                      <a:pt x="79432" y="5032"/>
                    </a:lnTo>
                    <a:lnTo>
                      <a:pt x="79191" y="14085"/>
                    </a:lnTo>
                    <a:lnTo>
                      <a:pt x="79188" y="22625"/>
                    </a:lnTo>
                    <a:lnTo>
                      <a:pt x="79532" y="34196"/>
                    </a:lnTo>
                    <a:lnTo>
                      <a:pt x="82602" y="39074"/>
                    </a:lnTo>
                    <a:lnTo>
                      <a:pt x="87379" y="40910"/>
                    </a:lnTo>
                    <a:lnTo>
                      <a:pt x="91488" y="43337"/>
                    </a:lnTo>
                    <a:lnTo>
                      <a:pt x="92170" y="46378"/>
                    </a:lnTo>
                    <a:lnTo>
                      <a:pt x="91153" y="64052"/>
                    </a:lnTo>
                    <a:lnTo>
                      <a:pt x="91157" y="71949"/>
                    </a:lnTo>
                    <a:lnTo>
                      <a:pt x="85365" y="75723"/>
                    </a:lnTo>
                    <a:lnTo>
                      <a:pt x="82746" y="79652"/>
                    </a:lnTo>
                    <a:lnTo>
                      <a:pt x="81968" y="86228"/>
                    </a:lnTo>
                    <a:lnTo>
                      <a:pt x="77712" y="90175"/>
                    </a:lnTo>
                    <a:lnTo>
                      <a:pt x="63764" y="84100"/>
                    </a:lnTo>
                    <a:lnTo>
                      <a:pt x="54694" y="83236"/>
                    </a:lnTo>
                    <a:lnTo>
                      <a:pt x="49338" y="77911"/>
                    </a:lnTo>
                    <a:lnTo>
                      <a:pt x="44795" y="77051"/>
                    </a:lnTo>
                    <a:lnTo>
                      <a:pt x="28263" y="80295"/>
                    </a:lnTo>
                    <a:lnTo>
                      <a:pt x="23841" y="82708"/>
                    </a:lnTo>
                    <a:lnTo>
                      <a:pt x="20542" y="86840"/>
                    </a:lnTo>
                    <a:lnTo>
                      <a:pt x="18983" y="86616"/>
                    </a:lnTo>
                    <a:lnTo>
                      <a:pt x="18508" y="84719"/>
                    </a:lnTo>
                    <a:lnTo>
                      <a:pt x="17989" y="82683"/>
                    </a:lnTo>
                    <a:lnTo>
                      <a:pt x="21239" y="76970"/>
                    </a:lnTo>
                    <a:lnTo>
                      <a:pt x="21780" y="73684"/>
                    </a:lnTo>
                    <a:lnTo>
                      <a:pt x="16141" y="56253"/>
                    </a:lnTo>
                    <a:lnTo>
                      <a:pt x="18542" y="53283"/>
                    </a:lnTo>
                    <a:lnTo>
                      <a:pt x="23602" y="51607"/>
                    </a:lnTo>
                    <a:lnTo>
                      <a:pt x="24454" y="49062"/>
                    </a:lnTo>
                    <a:lnTo>
                      <a:pt x="19763" y="46604"/>
                    </a:lnTo>
                    <a:lnTo>
                      <a:pt x="5806" y="50891"/>
                    </a:lnTo>
                    <a:lnTo>
                      <a:pt x="0" y="44283"/>
                    </a:lnTo>
                    <a:lnTo>
                      <a:pt x="2527" y="41958"/>
                    </a:lnTo>
                    <a:lnTo>
                      <a:pt x="10031" y="39243"/>
                    </a:lnTo>
                    <a:lnTo>
                      <a:pt x="21797" y="28041"/>
                    </a:lnTo>
                    <a:lnTo>
                      <a:pt x="32933" y="24155"/>
                    </a:lnTo>
                    <a:lnTo>
                      <a:pt x="33601" y="19488"/>
                    </a:lnTo>
                    <a:lnTo>
                      <a:pt x="39855" y="15371"/>
                    </a:lnTo>
                    <a:lnTo>
                      <a:pt x="47666" y="5519"/>
                    </a:lnTo>
                    <a:lnTo>
                      <a:pt x="51766" y="4571"/>
                    </a:lnTo>
                    <a:lnTo>
                      <a:pt x="54488" y="7232"/>
                    </a:lnTo>
                    <a:lnTo>
                      <a:pt x="60310" y="7243"/>
                    </a:lnTo>
                    <a:lnTo>
                      <a:pt x="66071" y="2206"/>
                    </a:lnTo>
                    <a:lnTo>
                      <a:pt x="67614" y="7"/>
                    </a:lnTo>
                    <a:lnTo>
                      <a:pt x="67619"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71" name="Freeform 27">
                <a:extLst>
                  <a:ext uri="{FF2B5EF4-FFF2-40B4-BE49-F238E27FC236}">
                    <a16:creationId xmlns:a16="http://schemas.microsoft.com/office/drawing/2014/main" id="{7410173B-B50C-AFD8-B13A-99AD7B40A6BA}"/>
                  </a:ext>
                </a:extLst>
              </p:cNvPr>
              <p:cNvSpPr>
                <a:spLocks noChangeAspect="1"/>
              </p:cNvSpPr>
              <p:nvPr>
                <p:custDataLst>
                  <p:tags r:id="rId27"/>
                </p:custDataLst>
              </p:nvPr>
            </p:nvSpPr>
            <p:spPr>
              <a:xfrm>
                <a:off x="4510555" y="3458480"/>
                <a:ext cx="316435" cy="314325"/>
              </a:xfrm>
              <a:custGeom>
                <a:avLst/>
                <a:gdLst/>
                <a:ahLst/>
                <a:cxnLst/>
                <a:rect l="0" t="0" r="0" b="0"/>
                <a:pathLst>
                  <a:path w="324894" h="322727">
                    <a:moveTo>
                      <a:pt x="324893" y="54956"/>
                    </a:moveTo>
                    <a:lnTo>
                      <a:pt x="315281" y="58820"/>
                    </a:lnTo>
                    <a:lnTo>
                      <a:pt x="314076" y="59644"/>
                    </a:lnTo>
                    <a:lnTo>
                      <a:pt x="313058" y="60967"/>
                    </a:lnTo>
                    <a:lnTo>
                      <a:pt x="312416" y="63971"/>
                    </a:lnTo>
                    <a:lnTo>
                      <a:pt x="311907" y="69788"/>
                    </a:lnTo>
                    <a:lnTo>
                      <a:pt x="311388" y="71674"/>
                    </a:lnTo>
                    <a:lnTo>
                      <a:pt x="310393" y="73706"/>
                    </a:lnTo>
                    <a:lnTo>
                      <a:pt x="305215" y="79611"/>
                    </a:lnTo>
                    <a:lnTo>
                      <a:pt x="304183" y="80342"/>
                    </a:lnTo>
                    <a:lnTo>
                      <a:pt x="300702" y="82056"/>
                    </a:lnTo>
                    <a:lnTo>
                      <a:pt x="299585" y="82995"/>
                    </a:lnTo>
                    <a:lnTo>
                      <a:pt x="297396" y="85503"/>
                    </a:lnTo>
                    <a:lnTo>
                      <a:pt x="295401" y="87120"/>
                    </a:lnTo>
                    <a:lnTo>
                      <a:pt x="294420" y="88244"/>
                    </a:lnTo>
                    <a:lnTo>
                      <a:pt x="293602" y="89798"/>
                    </a:lnTo>
                    <a:lnTo>
                      <a:pt x="292711" y="92836"/>
                    </a:lnTo>
                    <a:lnTo>
                      <a:pt x="291610" y="95305"/>
                    </a:lnTo>
                    <a:lnTo>
                      <a:pt x="280189" y="113377"/>
                    </a:lnTo>
                    <a:lnTo>
                      <a:pt x="278672" y="115260"/>
                    </a:lnTo>
                    <a:lnTo>
                      <a:pt x="276529" y="116362"/>
                    </a:lnTo>
                    <a:lnTo>
                      <a:pt x="273422" y="117144"/>
                    </a:lnTo>
                    <a:lnTo>
                      <a:pt x="264944" y="117342"/>
                    </a:lnTo>
                    <a:lnTo>
                      <a:pt x="262316" y="118213"/>
                    </a:lnTo>
                    <a:lnTo>
                      <a:pt x="261238" y="119080"/>
                    </a:lnTo>
                    <a:lnTo>
                      <a:pt x="260372" y="120041"/>
                    </a:lnTo>
                    <a:lnTo>
                      <a:pt x="260203" y="121979"/>
                    </a:lnTo>
                    <a:lnTo>
                      <a:pt x="260283" y="123558"/>
                    </a:lnTo>
                    <a:lnTo>
                      <a:pt x="260607" y="125034"/>
                    </a:lnTo>
                    <a:lnTo>
                      <a:pt x="261172" y="126150"/>
                    </a:lnTo>
                    <a:lnTo>
                      <a:pt x="261945" y="127087"/>
                    </a:lnTo>
                    <a:lnTo>
                      <a:pt x="265433" y="129045"/>
                    </a:lnTo>
                    <a:lnTo>
                      <a:pt x="266316" y="129821"/>
                    </a:lnTo>
                    <a:lnTo>
                      <a:pt x="266684" y="131178"/>
                    </a:lnTo>
                    <a:lnTo>
                      <a:pt x="266841" y="132636"/>
                    </a:lnTo>
                    <a:lnTo>
                      <a:pt x="267385" y="133873"/>
                    </a:lnTo>
                    <a:lnTo>
                      <a:pt x="268104" y="134868"/>
                    </a:lnTo>
                    <a:lnTo>
                      <a:pt x="270725" y="137511"/>
                    </a:lnTo>
                    <a:lnTo>
                      <a:pt x="271313" y="138647"/>
                    </a:lnTo>
                    <a:lnTo>
                      <a:pt x="271636" y="139945"/>
                    </a:lnTo>
                    <a:lnTo>
                      <a:pt x="271849" y="141363"/>
                    </a:lnTo>
                    <a:lnTo>
                      <a:pt x="272551" y="143958"/>
                    </a:lnTo>
                    <a:lnTo>
                      <a:pt x="276320" y="153691"/>
                    </a:lnTo>
                    <a:lnTo>
                      <a:pt x="279997" y="160305"/>
                    </a:lnTo>
                    <a:lnTo>
                      <a:pt x="282886" y="164542"/>
                    </a:lnTo>
                    <a:lnTo>
                      <a:pt x="285179" y="169064"/>
                    </a:lnTo>
                    <a:lnTo>
                      <a:pt x="285491" y="170304"/>
                    </a:lnTo>
                    <a:lnTo>
                      <a:pt x="285578" y="171467"/>
                    </a:lnTo>
                    <a:lnTo>
                      <a:pt x="285545" y="172138"/>
                    </a:lnTo>
                    <a:lnTo>
                      <a:pt x="285498" y="172633"/>
                    </a:lnTo>
                    <a:lnTo>
                      <a:pt x="285518" y="173818"/>
                    </a:lnTo>
                    <a:lnTo>
                      <a:pt x="285773" y="174960"/>
                    </a:lnTo>
                    <a:lnTo>
                      <a:pt x="286241" y="176156"/>
                    </a:lnTo>
                    <a:lnTo>
                      <a:pt x="291157" y="183337"/>
                    </a:lnTo>
                    <a:lnTo>
                      <a:pt x="291968" y="184252"/>
                    </a:lnTo>
                    <a:lnTo>
                      <a:pt x="292504" y="185388"/>
                    </a:lnTo>
                    <a:lnTo>
                      <a:pt x="292874" y="186685"/>
                    </a:lnTo>
                    <a:lnTo>
                      <a:pt x="292923" y="188165"/>
                    </a:lnTo>
                    <a:lnTo>
                      <a:pt x="292584" y="189870"/>
                    </a:lnTo>
                    <a:lnTo>
                      <a:pt x="291711" y="191820"/>
                    </a:lnTo>
                    <a:lnTo>
                      <a:pt x="289614" y="194840"/>
                    </a:lnTo>
                    <a:lnTo>
                      <a:pt x="286901" y="197928"/>
                    </a:lnTo>
                    <a:lnTo>
                      <a:pt x="282449" y="201027"/>
                    </a:lnTo>
                    <a:lnTo>
                      <a:pt x="279915" y="202254"/>
                    </a:lnTo>
                    <a:lnTo>
                      <a:pt x="273795" y="203620"/>
                    </a:lnTo>
                    <a:lnTo>
                      <a:pt x="271011" y="206076"/>
                    </a:lnTo>
                    <a:lnTo>
                      <a:pt x="268801" y="208758"/>
                    </a:lnTo>
                    <a:lnTo>
                      <a:pt x="262446" y="211763"/>
                    </a:lnTo>
                    <a:lnTo>
                      <a:pt x="261099" y="213087"/>
                    </a:lnTo>
                    <a:lnTo>
                      <a:pt x="259619" y="216013"/>
                    </a:lnTo>
                    <a:lnTo>
                      <a:pt x="258842" y="218020"/>
                    </a:lnTo>
                    <a:lnTo>
                      <a:pt x="258021" y="221469"/>
                    </a:lnTo>
                    <a:lnTo>
                      <a:pt x="256941" y="223521"/>
                    </a:lnTo>
                    <a:lnTo>
                      <a:pt x="255209" y="225481"/>
                    </a:lnTo>
                    <a:lnTo>
                      <a:pt x="250940" y="228233"/>
                    </a:lnTo>
                    <a:lnTo>
                      <a:pt x="249068" y="228438"/>
                    </a:lnTo>
                    <a:lnTo>
                      <a:pt x="247692" y="228004"/>
                    </a:lnTo>
                    <a:lnTo>
                      <a:pt x="246892" y="227029"/>
                    </a:lnTo>
                    <a:lnTo>
                      <a:pt x="244837" y="225458"/>
                    </a:lnTo>
                    <a:lnTo>
                      <a:pt x="243628" y="224884"/>
                    </a:lnTo>
                    <a:lnTo>
                      <a:pt x="240579" y="224375"/>
                    </a:lnTo>
                    <a:lnTo>
                      <a:pt x="235128" y="225460"/>
                    </a:lnTo>
                    <a:lnTo>
                      <a:pt x="232787" y="226617"/>
                    </a:lnTo>
                    <a:lnTo>
                      <a:pt x="213726" y="244463"/>
                    </a:lnTo>
                    <a:lnTo>
                      <a:pt x="202179" y="259276"/>
                    </a:lnTo>
                    <a:lnTo>
                      <a:pt x="199260" y="261719"/>
                    </a:lnTo>
                    <a:lnTo>
                      <a:pt x="198385" y="262973"/>
                    </a:lnTo>
                    <a:lnTo>
                      <a:pt x="197817" y="264461"/>
                    </a:lnTo>
                    <a:lnTo>
                      <a:pt x="197860" y="267205"/>
                    </a:lnTo>
                    <a:lnTo>
                      <a:pt x="198419" y="268819"/>
                    </a:lnTo>
                    <a:lnTo>
                      <a:pt x="199018" y="269997"/>
                    </a:lnTo>
                    <a:lnTo>
                      <a:pt x="199366" y="270961"/>
                    </a:lnTo>
                    <a:lnTo>
                      <a:pt x="199479" y="271907"/>
                    </a:lnTo>
                    <a:lnTo>
                      <a:pt x="199359" y="273251"/>
                    </a:lnTo>
                    <a:lnTo>
                      <a:pt x="198788" y="276417"/>
                    </a:lnTo>
                    <a:lnTo>
                      <a:pt x="198029" y="278026"/>
                    </a:lnTo>
                    <a:lnTo>
                      <a:pt x="196784" y="279422"/>
                    </a:lnTo>
                    <a:lnTo>
                      <a:pt x="194049" y="280696"/>
                    </a:lnTo>
                    <a:lnTo>
                      <a:pt x="190274" y="283642"/>
                    </a:lnTo>
                    <a:lnTo>
                      <a:pt x="185207" y="291997"/>
                    </a:lnTo>
                    <a:lnTo>
                      <a:pt x="185207" y="291997"/>
                    </a:lnTo>
                    <a:lnTo>
                      <a:pt x="182532" y="296403"/>
                    </a:lnTo>
                    <a:lnTo>
                      <a:pt x="177900" y="301090"/>
                    </a:lnTo>
                    <a:lnTo>
                      <a:pt x="171907" y="305356"/>
                    </a:lnTo>
                    <a:lnTo>
                      <a:pt x="162314" y="310008"/>
                    </a:lnTo>
                    <a:lnTo>
                      <a:pt x="158503" y="311107"/>
                    </a:lnTo>
                    <a:lnTo>
                      <a:pt x="155404" y="313544"/>
                    </a:lnTo>
                    <a:lnTo>
                      <a:pt x="149405" y="322726"/>
                    </a:lnTo>
                    <a:lnTo>
                      <a:pt x="149365" y="322520"/>
                    </a:lnTo>
                    <a:lnTo>
                      <a:pt x="149342" y="322403"/>
                    </a:lnTo>
                    <a:lnTo>
                      <a:pt x="147324" y="313177"/>
                    </a:lnTo>
                    <a:lnTo>
                      <a:pt x="142075" y="309497"/>
                    </a:lnTo>
                    <a:lnTo>
                      <a:pt x="140716" y="306012"/>
                    </a:lnTo>
                    <a:lnTo>
                      <a:pt x="141723" y="288164"/>
                    </a:lnTo>
                    <a:lnTo>
                      <a:pt x="146101" y="281770"/>
                    </a:lnTo>
                    <a:lnTo>
                      <a:pt x="146113" y="276990"/>
                    </a:lnTo>
                    <a:lnTo>
                      <a:pt x="144947" y="274768"/>
                    </a:lnTo>
                    <a:lnTo>
                      <a:pt x="138532" y="274403"/>
                    </a:lnTo>
                    <a:lnTo>
                      <a:pt x="136942" y="272500"/>
                    </a:lnTo>
                    <a:lnTo>
                      <a:pt x="138545" y="268657"/>
                    </a:lnTo>
                    <a:lnTo>
                      <a:pt x="144083" y="265218"/>
                    </a:lnTo>
                    <a:lnTo>
                      <a:pt x="142724" y="261298"/>
                    </a:lnTo>
                    <a:lnTo>
                      <a:pt x="139986" y="259098"/>
                    </a:lnTo>
                    <a:lnTo>
                      <a:pt x="132853" y="258193"/>
                    </a:lnTo>
                    <a:lnTo>
                      <a:pt x="128234" y="255363"/>
                    </a:lnTo>
                    <a:lnTo>
                      <a:pt x="122318" y="257732"/>
                    </a:lnTo>
                    <a:lnTo>
                      <a:pt x="116856" y="262960"/>
                    </a:lnTo>
                    <a:lnTo>
                      <a:pt x="113752" y="259483"/>
                    </a:lnTo>
                    <a:lnTo>
                      <a:pt x="108802" y="261210"/>
                    </a:lnTo>
                    <a:lnTo>
                      <a:pt x="106311" y="258261"/>
                    </a:lnTo>
                    <a:lnTo>
                      <a:pt x="106645" y="253580"/>
                    </a:lnTo>
                    <a:lnTo>
                      <a:pt x="103840" y="248185"/>
                    </a:lnTo>
                    <a:lnTo>
                      <a:pt x="94791" y="239639"/>
                    </a:lnTo>
                    <a:lnTo>
                      <a:pt x="94762" y="233262"/>
                    </a:lnTo>
                    <a:lnTo>
                      <a:pt x="93426" y="231037"/>
                    </a:lnTo>
                    <a:lnTo>
                      <a:pt x="87812" y="229363"/>
                    </a:lnTo>
                    <a:lnTo>
                      <a:pt x="80458" y="232048"/>
                    </a:lnTo>
                    <a:lnTo>
                      <a:pt x="76578" y="227075"/>
                    </a:lnTo>
                    <a:lnTo>
                      <a:pt x="71017" y="223480"/>
                    </a:lnTo>
                    <a:lnTo>
                      <a:pt x="59750" y="230206"/>
                    </a:lnTo>
                    <a:lnTo>
                      <a:pt x="54215" y="235411"/>
                    </a:lnTo>
                    <a:lnTo>
                      <a:pt x="50110" y="234787"/>
                    </a:lnTo>
                    <a:lnTo>
                      <a:pt x="48893" y="232361"/>
                    </a:lnTo>
                    <a:lnTo>
                      <a:pt x="50153" y="227777"/>
                    </a:lnTo>
                    <a:lnTo>
                      <a:pt x="50194" y="218653"/>
                    </a:lnTo>
                    <a:lnTo>
                      <a:pt x="54589" y="212386"/>
                    </a:lnTo>
                    <a:lnTo>
                      <a:pt x="63615" y="205671"/>
                    </a:lnTo>
                    <a:lnTo>
                      <a:pt x="63916" y="203023"/>
                    </a:lnTo>
                    <a:lnTo>
                      <a:pt x="61196" y="201866"/>
                    </a:lnTo>
                    <a:lnTo>
                      <a:pt x="52999" y="201568"/>
                    </a:lnTo>
                    <a:lnTo>
                      <a:pt x="47330" y="198280"/>
                    </a:lnTo>
                    <a:lnTo>
                      <a:pt x="43129" y="206777"/>
                    </a:lnTo>
                    <a:lnTo>
                      <a:pt x="41147" y="208370"/>
                    </a:lnTo>
                    <a:lnTo>
                      <a:pt x="26916" y="208379"/>
                    </a:lnTo>
                    <a:lnTo>
                      <a:pt x="19746" y="211242"/>
                    </a:lnTo>
                    <a:lnTo>
                      <a:pt x="7461" y="209219"/>
                    </a:lnTo>
                    <a:lnTo>
                      <a:pt x="0" y="198379"/>
                    </a:lnTo>
                    <a:lnTo>
                      <a:pt x="4719" y="182786"/>
                    </a:lnTo>
                    <a:lnTo>
                      <a:pt x="4910" y="177691"/>
                    </a:lnTo>
                    <a:lnTo>
                      <a:pt x="10808" y="168990"/>
                    </a:lnTo>
                    <a:lnTo>
                      <a:pt x="9968" y="158483"/>
                    </a:lnTo>
                    <a:lnTo>
                      <a:pt x="11111" y="154457"/>
                    </a:lnTo>
                    <a:lnTo>
                      <a:pt x="10343" y="151691"/>
                    </a:lnTo>
                    <a:lnTo>
                      <a:pt x="7274" y="149456"/>
                    </a:lnTo>
                    <a:lnTo>
                      <a:pt x="6872" y="145003"/>
                    </a:lnTo>
                    <a:lnTo>
                      <a:pt x="1777" y="136398"/>
                    </a:lnTo>
                    <a:lnTo>
                      <a:pt x="4057" y="133222"/>
                    </a:lnTo>
                    <a:lnTo>
                      <a:pt x="12340" y="131849"/>
                    </a:lnTo>
                    <a:lnTo>
                      <a:pt x="14318" y="126646"/>
                    </a:lnTo>
                    <a:lnTo>
                      <a:pt x="13723" y="123891"/>
                    </a:lnTo>
                    <a:lnTo>
                      <a:pt x="11746" y="122290"/>
                    </a:lnTo>
                    <a:lnTo>
                      <a:pt x="12050" y="117947"/>
                    </a:lnTo>
                    <a:lnTo>
                      <a:pt x="30369" y="95340"/>
                    </a:lnTo>
                    <a:lnTo>
                      <a:pt x="29106" y="93208"/>
                    </a:lnTo>
                    <a:lnTo>
                      <a:pt x="24322" y="93427"/>
                    </a:lnTo>
                    <a:lnTo>
                      <a:pt x="21458" y="91313"/>
                    </a:lnTo>
                    <a:lnTo>
                      <a:pt x="21576" y="85250"/>
                    </a:lnTo>
                    <a:lnTo>
                      <a:pt x="16561" y="74962"/>
                    </a:lnTo>
                    <a:lnTo>
                      <a:pt x="16729" y="71684"/>
                    </a:lnTo>
                    <a:lnTo>
                      <a:pt x="20985" y="67737"/>
                    </a:lnTo>
                    <a:lnTo>
                      <a:pt x="21763" y="61161"/>
                    </a:lnTo>
                    <a:lnTo>
                      <a:pt x="24382" y="57232"/>
                    </a:lnTo>
                    <a:lnTo>
                      <a:pt x="30174" y="53458"/>
                    </a:lnTo>
                    <a:lnTo>
                      <a:pt x="32009" y="52253"/>
                    </a:lnTo>
                    <a:lnTo>
                      <a:pt x="36076" y="53415"/>
                    </a:lnTo>
                    <a:lnTo>
                      <a:pt x="37714" y="55606"/>
                    </a:lnTo>
                    <a:lnTo>
                      <a:pt x="42705" y="62315"/>
                    </a:lnTo>
                    <a:lnTo>
                      <a:pt x="51181" y="62409"/>
                    </a:lnTo>
                    <a:lnTo>
                      <a:pt x="52495" y="67393"/>
                    </a:lnTo>
                    <a:lnTo>
                      <a:pt x="57165" y="70029"/>
                    </a:lnTo>
                    <a:lnTo>
                      <a:pt x="65698" y="69061"/>
                    </a:lnTo>
                    <a:lnTo>
                      <a:pt x="75515" y="59373"/>
                    </a:lnTo>
                    <a:lnTo>
                      <a:pt x="79424" y="67218"/>
                    </a:lnTo>
                    <a:lnTo>
                      <a:pt x="79862" y="73042"/>
                    </a:lnTo>
                    <a:lnTo>
                      <a:pt x="84381" y="83333"/>
                    </a:lnTo>
                    <a:lnTo>
                      <a:pt x="84051" y="89692"/>
                    </a:lnTo>
                    <a:lnTo>
                      <a:pt x="89261" y="93600"/>
                    </a:lnTo>
                    <a:lnTo>
                      <a:pt x="95179" y="91025"/>
                    </a:lnTo>
                    <a:lnTo>
                      <a:pt x="95816" y="88278"/>
                    </a:lnTo>
                    <a:lnTo>
                      <a:pt x="94669" y="84343"/>
                    </a:lnTo>
                    <a:lnTo>
                      <a:pt x="99347" y="78485"/>
                    </a:lnTo>
                    <a:lnTo>
                      <a:pt x="127322" y="53912"/>
                    </a:lnTo>
                    <a:lnTo>
                      <a:pt x="129115" y="54097"/>
                    </a:lnTo>
                    <a:lnTo>
                      <a:pt x="130633" y="57600"/>
                    </a:lnTo>
                    <a:lnTo>
                      <a:pt x="129609" y="65033"/>
                    </a:lnTo>
                    <a:lnTo>
                      <a:pt x="135105" y="66474"/>
                    </a:lnTo>
                    <a:lnTo>
                      <a:pt x="139568" y="64209"/>
                    </a:lnTo>
                    <a:lnTo>
                      <a:pt x="146056" y="54501"/>
                    </a:lnTo>
                    <a:lnTo>
                      <a:pt x="151169" y="52978"/>
                    </a:lnTo>
                    <a:lnTo>
                      <a:pt x="153478" y="51240"/>
                    </a:lnTo>
                    <a:lnTo>
                      <a:pt x="162066" y="44804"/>
                    </a:lnTo>
                    <a:lnTo>
                      <a:pt x="171708" y="48642"/>
                    </a:lnTo>
                    <a:lnTo>
                      <a:pt x="189089" y="40720"/>
                    </a:lnTo>
                    <a:lnTo>
                      <a:pt x="192030" y="42919"/>
                    </a:lnTo>
                    <a:lnTo>
                      <a:pt x="192196" y="46314"/>
                    </a:lnTo>
                    <a:lnTo>
                      <a:pt x="201931" y="48431"/>
                    </a:lnTo>
                    <a:lnTo>
                      <a:pt x="205251" y="46891"/>
                    </a:lnTo>
                    <a:lnTo>
                      <a:pt x="208115" y="42196"/>
                    </a:lnTo>
                    <a:lnTo>
                      <a:pt x="212051" y="42995"/>
                    </a:lnTo>
                    <a:lnTo>
                      <a:pt x="215088" y="37330"/>
                    </a:lnTo>
                    <a:lnTo>
                      <a:pt x="222048" y="36389"/>
                    </a:lnTo>
                    <a:lnTo>
                      <a:pt x="224402" y="39221"/>
                    </a:lnTo>
                    <a:lnTo>
                      <a:pt x="227628" y="35149"/>
                    </a:lnTo>
                    <a:lnTo>
                      <a:pt x="237926" y="34156"/>
                    </a:lnTo>
                    <a:lnTo>
                      <a:pt x="241200" y="30277"/>
                    </a:lnTo>
                    <a:lnTo>
                      <a:pt x="244300" y="30875"/>
                    </a:lnTo>
                    <a:lnTo>
                      <a:pt x="244694" y="29061"/>
                    </a:lnTo>
                    <a:lnTo>
                      <a:pt x="243334" y="25478"/>
                    </a:lnTo>
                    <a:lnTo>
                      <a:pt x="235722" y="22191"/>
                    </a:lnTo>
                    <a:lnTo>
                      <a:pt x="247883" y="7676"/>
                    </a:lnTo>
                    <a:lnTo>
                      <a:pt x="250464" y="2809"/>
                    </a:lnTo>
                    <a:lnTo>
                      <a:pt x="250587" y="2491"/>
                    </a:lnTo>
                    <a:lnTo>
                      <a:pt x="251549" y="17"/>
                    </a:lnTo>
                    <a:lnTo>
                      <a:pt x="251556" y="0"/>
                    </a:lnTo>
                    <a:lnTo>
                      <a:pt x="253603" y="1683"/>
                    </a:lnTo>
                    <a:lnTo>
                      <a:pt x="262920" y="6575"/>
                    </a:lnTo>
                    <a:lnTo>
                      <a:pt x="297485" y="12746"/>
                    </a:lnTo>
                    <a:lnTo>
                      <a:pt x="299395" y="13737"/>
                    </a:lnTo>
                    <a:lnTo>
                      <a:pt x="300620" y="16841"/>
                    </a:lnTo>
                    <a:lnTo>
                      <a:pt x="301000" y="20364"/>
                    </a:lnTo>
                    <a:lnTo>
                      <a:pt x="301550" y="23184"/>
                    </a:lnTo>
                    <a:lnTo>
                      <a:pt x="303246" y="24335"/>
                    </a:lnTo>
                    <a:lnTo>
                      <a:pt x="307885" y="26128"/>
                    </a:lnTo>
                    <a:lnTo>
                      <a:pt x="312110" y="30791"/>
                    </a:lnTo>
                    <a:lnTo>
                      <a:pt x="324893" y="5495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72" name="Freeform 28">
                <a:extLst>
                  <a:ext uri="{FF2B5EF4-FFF2-40B4-BE49-F238E27FC236}">
                    <a16:creationId xmlns:a16="http://schemas.microsoft.com/office/drawing/2014/main" id="{747CC441-10E2-301D-3982-746A59BB9031}"/>
                  </a:ext>
                </a:extLst>
              </p:cNvPr>
              <p:cNvSpPr>
                <a:spLocks noChangeAspect="1"/>
              </p:cNvSpPr>
              <p:nvPr>
                <p:custDataLst>
                  <p:tags r:id="rId28"/>
                </p:custDataLst>
              </p:nvPr>
            </p:nvSpPr>
            <p:spPr>
              <a:xfrm>
                <a:off x="4909887" y="3957369"/>
                <a:ext cx="61164" cy="59221"/>
              </a:xfrm>
              <a:custGeom>
                <a:avLst/>
                <a:gdLst/>
                <a:ahLst/>
                <a:cxnLst/>
                <a:rect l="0" t="0" r="0" b="0"/>
                <a:pathLst>
                  <a:path w="62799" h="60804">
                    <a:moveTo>
                      <a:pt x="56177" y="45523"/>
                    </a:moveTo>
                    <a:lnTo>
                      <a:pt x="55153" y="41978"/>
                    </a:lnTo>
                    <a:lnTo>
                      <a:pt x="52668" y="39282"/>
                    </a:lnTo>
                    <a:lnTo>
                      <a:pt x="49891" y="39044"/>
                    </a:lnTo>
                    <a:lnTo>
                      <a:pt x="48271" y="40788"/>
                    </a:lnTo>
                    <a:lnTo>
                      <a:pt x="48460" y="45130"/>
                    </a:lnTo>
                    <a:lnTo>
                      <a:pt x="53359" y="57102"/>
                    </a:lnTo>
                    <a:lnTo>
                      <a:pt x="52748" y="59667"/>
                    </a:lnTo>
                    <a:lnTo>
                      <a:pt x="50310" y="60803"/>
                    </a:lnTo>
                    <a:lnTo>
                      <a:pt x="47590" y="58429"/>
                    </a:lnTo>
                    <a:lnTo>
                      <a:pt x="44639" y="49700"/>
                    </a:lnTo>
                    <a:lnTo>
                      <a:pt x="42206" y="46785"/>
                    </a:lnTo>
                    <a:lnTo>
                      <a:pt x="35408" y="46239"/>
                    </a:lnTo>
                    <a:lnTo>
                      <a:pt x="36725" y="51616"/>
                    </a:lnTo>
                    <a:lnTo>
                      <a:pt x="34026" y="52223"/>
                    </a:lnTo>
                    <a:lnTo>
                      <a:pt x="23731" y="43154"/>
                    </a:lnTo>
                    <a:lnTo>
                      <a:pt x="20647" y="36005"/>
                    </a:lnTo>
                    <a:lnTo>
                      <a:pt x="18506" y="34579"/>
                    </a:lnTo>
                    <a:lnTo>
                      <a:pt x="11963" y="36339"/>
                    </a:lnTo>
                    <a:lnTo>
                      <a:pt x="10781" y="35836"/>
                    </a:lnTo>
                    <a:lnTo>
                      <a:pt x="9101" y="30673"/>
                    </a:lnTo>
                    <a:lnTo>
                      <a:pt x="4602" y="27923"/>
                    </a:lnTo>
                    <a:lnTo>
                      <a:pt x="269" y="27913"/>
                    </a:lnTo>
                    <a:lnTo>
                      <a:pt x="162" y="23590"/>
                    </a:lnTo>
                    <a:lnTo>
                      <a:pt x="0" y="17076"/>
                    </a:lnTo>
                    <a:lnTo>
                      <a:pt x="42" y="9785"/>
                    </a:lnTo>
                    <a:lnTo>
                      <a:pt x="1691" y="4766"/>
                    </a:lnTo>
                    <a:lnTo>
                      <a:pt x="6090" y="3115"/>
                    </a:lnTo>
                    <a:lnTo>
                      <a:pt x="11413" y="2980"/>
                    </a:lnTo>
                    <a:lnTo>
                      <a:pt x="18601" y="5854"/>
                    </a:lnTo>
                    <a:lnTo>
                      <a:pt x="24077" y="11479"/>
                    </a:lnTo>
                    <a:lnTo>
                      <a:pt x="29425" y="11712"/>
                    </a:lnTo>
                    <a:lnTo>
                      <a:pt x="34974" y="11562"/>
                    </a:lnTo>
                    <a:lnTo>
                      <a:pt x="43843" y="10944"/>
                    </a:lnTo>
                    <a:lnTo>
                      <a:pt x="51101" y="8055"/>
                    </a:lnTo>
                    <a:lnTo>
                      <a:pt x="57546" y="581"/>
                    </a:lnTo>
                    <a:lnTo>
                      <a:pt x="59177" y="0"/>
                    </a:lnTo>
                    <a:lnTo>
                      <a:pt x="59273" y="749"/>
                    </a:lnTo>
                    <a:lnTo>
                      <a:pt x="62798" y="5744"/>
                    </a:lnTo>
                    <a:lnTo>
                      <a:pt x="62631" y="10639"/>
                    </a:lnTo>
                    <a:lnTo>
                      <a:pt x="62107" y="13518"/>
                    </a:lnTo>
                    <a:lnTo>
                      <a:pt x="56975" y="17291"/>
                    </a:lnTo>
                    <a:lnTo>
                      <a:pt x="55039" y="24971"/>
                    </a:lnTo>
                    <a:lnTo>
                      <a:pt x="60267" y="33435"/>
                    </a:lnTo>
                    <a:lnTo>
                      <a:pt x="59004" y="4101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73" name="Freeform 29">
                <a:extLst>
                  <a:ext uri="{FF2B5EF4-FFF2-40B4-BE49-F238E27FC236}">
                    <a16:creationId xmlns:a16="http://schemas.microsoft.com/office/drawing/2014/main" id="{5DA641CD-7CC2-64C4-034B-73002F9D285B}"/>
                  </a:ext>
                </a:extLst>
              </p:cNvPr>
              <p:cNvSpPr>
                <a:spLocks noChangeAspect="1"/>
              </p:cNvSpPr>
              <p:nvPr>
                <p:custDataLst>
                  <p:tags r:id="rId29"/>
                </p:custDataLst>
              </p:nvPr>
            </p:nvSpPr>
            <p:spPr>
              <a:xfrm>
                <a:off x="4764118" y="3846271"/>
                <a:ext cx="238000" cy="170725"/>
              </a:xfrm>
              <a:custGeom>
                <a:avLst/>
                <a:gdLst/>
                <a:ahLst/>
                <a:cxnLst/>
                <a:rect l="0" t="0" r="0" b="0"/>
                <a:pathLst>
                  <a:path w="244362" h="175289">
                    <a:moveTo>
                      <a:pt x="142223" y="3407"/>
                    </a:moveTo>
                    <a:lnTo>
                      <a:pt x="153675" y="2566"/>
                    </a:lnTo>
                    <a:lnTo>
                      <a:pt x="165493" y="3387"/>
                    </a:lnTo>
                    <a:lnTo>
                      <a:pt x="169516" y="5822"/>
                    </a:lnTo>
                    <a:lnTo>
                      <a:pt x="173379" y="8157"/>
                    </a:lnTo>
                    <a:lnTo>
                      <a:pt x="174798" y="10886"/>
                    </a:lnTo>
                    <a:lnTo>
                      <a:pt x="175287" y="16422"/>
                    </a:lnTo>
                    <a:lnTo>
                      <a:pt x="179170" y="22956"/>
                    </a:lnTo>
                    <a:lnTo>
                      <a:pt x="181961" y="26218"/>
                    </a:lnTo>
                    <a:lnTo>
                      <a:pt x="182788" y="31747"/>
                    </a:lnTo>
                    <a:lnTo>
                      <a:pt x="183936" y="36695"/>
                    </a:lnTo>
                    <a:lnTo>
                      <a:pt x="186006" y="38297"/>
                    </a:lnTo>
                    <a:lnTo>
                      <a:pt x="193125" y="39206"/>
                    </a:lnTo>
                    <a:lnTo>
                      <a:pt x="200549" y="38997"/>
                    </a:lnTo>
                    <a:lnTo>
                      <a:pt x="206925" y="37166"/>
                    </a:lnTo>
                    <a:lnTo>
                      <a:pt x="208844" y="33228"/>
                    </a:lnTo>
                    <a:lnTo>
                      <a:pt x="208252" y="24376"/>
                    </a:lnTo>
                    <a:lnTo>
                      <a:pt x="210050" y="17112"/>
                    </a:lnTo>
                    <a:lnTo>
                      <a:pt x="210981" y="14320"/>
                    </a:lnTo>
                    <a:lnTo>
                      <a:pt x="215646" y="12514"/>
                    </a:lnTo>
                    <a:lnTo>
                      <a:pt x="219213" y="10699"/>
                    </a:lnTo>
                    <a:lnTo>
                      <a:pt x="221620" y="9442"/>
                    </a:lnTo>
                    <a:lnTo>
                      <a:pt x="221625" y="9440"/>
                    </a:lnTo>
                    <a:lnTo>
                      <a:pt x="232379" y="44573"/>
                    </a:lnTo>
                    <a:lnTo>
                      <a:pt x="237444" y="56459"/>
                    </a:lnTo>
                    <a:lnTo>
                      <a:pt x="244361" y="65062"/>
                    </a:lnTo>
                    <a:lnTo>
                      <a:pt x="244351" y="65066"/>
                    </a:lnTo>
                    <a:lnTo>
                      <a:pt x="243453" y="65558"/>
                    </a:lnTo>
                    <a:lnTo>
                      <a:pt x="233749" y="70757"/>
                    </a:lnTo>
                    <a:lnTo>
                      <a:pt x="231563" y="77738"/>
                    </a:lnTo>
                    <a:lnTo>
                      <a:pt x="227093" y="82111"/>
                    </a:lnTo>
                    <a:lnTo>
                      <a:pt x="225766" y="95436"/>
                    </a:lnTo>
                    <a:lnTo>
                      <a:pt x="215738" y="99012"/>
                    </a:lnTo>
                    <a:lnTo>
                      <a:pt x="213879" y="103710"/>
                    </a:lnTo>
                    <a:lnTo>
                      <a:pt x="212126" y="108146"/>
                    </a:lnTo>
                    <a:lnTo>
                      <a:pt x="208541" y="111747"/>
                    </a:lnTo>
                    <a:lnTo>
                      <a:pt x="208842" y="114068"/>
                    </a:lnTo>
                    <a:lnTo>
                      <a:pt x="207211" y="114649"/>
                    </a:lnTo>
                    <a:lnTo>
                      <a:pt x="200766" y="122123"/>
                    </a:lnTo>
                    <a:lnTo>
                      <a:pt x="193508" y="125012"/>
                    </a:lnTo>
                    <a:lnTo>
                      <a:pt x="184639" y="125630"/>
                    </a:lnTo>
                    <a:lnTo>
                      <a:pt x="179090" y="125780"/>
                    </a:lnTo>
                    <a:lnTo>
                      <a:pt x="173742" y="125547"/>
                    </a:lnTo>
                    <a:lnTo>
                      <a:pt x="168266" y="119922"/>
                    </a:lnTo>
                    <a:lnTo>
                      <a:pt x="161078" y="117048"/>
                    </a:lnTo>
                    <a:lnTo>
                      <a:pt x="155755" y="117183"/>
                    </a:lnTo>
                    <a:lnTo>
                      <a:pt x="151356" y="118834"/>
                    </a:lnTo>
                    <a:lnTo>
                      <a:pt x="149707" y="123853"/>
                    </a:lnTo>
                    <a:lnTo>
                      <a:pt x="149665" y="131144"/>
                    </a:lnTo>
                    <a:lnTo>
                      <a:pt x="149827" y="137658"/>
                    </a:lnTo>
                    <a:lnTo>
                      <a:pt x="149934" y="141981"/>
                    </a:lnTo>
                    <a:lnTo>
                      <a:pt x="142879" y="141957"/>
                    </a:lnTo>
                    <a:lnTo>
                      <a:pt x="140461" y="144565"/>
                    </a:lnTo>
                    <a:lnTo>
                      <a:pt x="135055" y="142572"/>
                    </a:lnTo>
                    <a:lnTo>
                      <a:pt x="131074" y="143408"/>
                    </a:lnTo>
                    <a:lnTo>
                      <a:pt x="131144" y="149034"/>
                    </a:lnTo>
                    <a:lnTo>
                      <a:pt x="128548" y="153975"/>
                    </a:lnTo>
                    <a:lnTo>
                      <a:pt x="126996" y="161438"/>
                    </a:lnTo>
                    <a:lnTo>
                      <a:pt x="118555" y="153575"/>
                    </a:lnTo>
                    <a:lnTo>
                      <a:pt x="116007" y="153000"/>
                    </a:lnTo>
                    <a:lnTo>
                      <a:pt x="113025" y="157315"/>
                    </a:lnTo>
                    <a:lnTo>
                      <a:pt x="112882" y="162196"/>
                    </a:lnTo>
                    <a:lnTo>
                      <a:pt x="95400" y="172455"/>
                    </a:lnTo>
                    <a:lnTo>
                      <a:pt x="89727" y="172674"/>
                    </a:lnTo>
                    <a:lnTo>
                      <a:pt x="78306" y="166016"/>
                    </a:lnTo>
                    <a:lnTo>
                      <a:pt x="69676" y="163424"/>
                    </a:lnTo>
                    <a:lnTo>
                      <a:pt x="57734" y="168117"/>
                    </a:lnTo>
                    <a:lnTo>
                      <a:pt x="49165" y="175288"/>
                    </a:lnTo>
                    <a:lnTo>
                      <a:pt x="45513" y="173064"/>
                    </a:lnTo>
                    <a:lnTo>
                      <a:pt x="46472" y="166411"/>
                    </a:lnTo>
                    <a:lnTo>
                      <a:pt x="44665" y="161664"/>
                    </a:lnTo>
                    <a:lnTo>
                      <a:pt x="43261" y="145456"/>
                    </a:lnTo>
                    <a:lnTo>
                      <a:pt x="36897" y="144284"/>
                    </a:lnTo>
                    <a:lnTo>
                      <a:pt x="32818" y="136397"/>
                    </a:lnTo>
                    <a:lnTo>
                      <a:pt x="15804" y="122997"/>
                    </a:lnTo>
                    <a:lnTo>
                      <a:pt x="13241" y="117310"/>
                    </a:lnTo>
                    <a:lnTo>
                      <a:pt x="11060" y="107887"/>
                    </a:lnTo>
                    <a:lnTo>
                      <a:pt x="15280" y="103038"/>
                    </a:lnTo>
                    <a:lnTo>
                      <a:pt x="16761" y="99203"/>
                    </a:lnTo>
                    <a:lnTo>
                      <a:pt x="16405" y="96345"/>
                    </a:lnTo>
                    <a:lnTo>
                      <a:pt x="14083" y="93301"/>
                    </a:lnTo>
                    <a:lnTo>
                      <a:pt x="2071" y="87221"/>
                    </a:lnTo>
                    <a:lnTo>
                      <a:pt x="0" y="83966"/>
                    </a:lnTo>
                    <a:lnTo>
                      <a:pt x="5681" y="69865"/>
                    </a:lnTo>
                    <a:lnTo>
                      <a:pt x="10237" y="48474"/>
                    </a:lnTo>
                    <a:lnTo>
                      <a:pt x="17343" y="44941"/>
                    </a:lnTo>
                    <a:lnTo>
                      <a:pt x="30893" y="49907"/>
                    </a:lnTo>
                    <a:lnTo>
                      <a:pt x="32636" y="48286"/>
                    </a:lnTo>
                    <a:lnTo>
                      <a:pt x="35154" y="41557"/>
                    </a:lnTo>
                    <a:lnTo>
                      <a:pt x="38482" y="39582"/>
                    </a:lnTo>
                    <a:lnTo>
                      <a:pt x="41976" y="40171"/>
                    </a:lnTo>
                    <a:lnTo>
                      <a:pt x="43803" y="36089"/>
                    </a:lnTo>
                    <a:lnTo>
                      <a:pt x="47839" y="33053"/>
                    </a:lnTo>
                    <a:lnTo>
                      <a:pt x="48838" y="30486"/>
                    </a:lnTo>
                    <a:lnTo>
                      <a:pt x="48477" y="27303"/>
                    </a:lnTo>
                    <a:lnTo>
                      <a:pt x="58973" y="29544"/>
                    </a:lnTo>
                    <a:lnTo>
                      <a:pt x="78328" y="16105"/>
                    </a:lnTo>
                    <a:lnTo>
                      <a:pt x="94492" y="23312"/>
                    </a:lnTo>
                    <a:lnTo>
                      <a:pt x="95965" y="26993"/>
                    </a:lnTo>
                    <a:lnTo>
                      <a:pt x="98123" y="27361"/>
                    </a:lnTo>
                    <a:lnTo>
                      <a:pt x="106251" y="21769"/>
                    </a:lnTo>
                    <a:lnTo>
                      <a:pt x="110482" y="11700"/>
                    </a:lnTo>
                    <a:lnTo>
                      <a:pt x="115746" y="4144"/>
                    </a:lnTo>
                    <a:lnTo>
                      <a:pt x="116015" y="0"/>
                    </a:lnTo>
                    <a:lnTo>
                      <a:pt x="128039" y="209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74" name="Freeform 30">
                <a:extLst>
                  <a:ext uri="{FF2B5EF4-FFF2-40B4-BE49-F238E27FC236}">
                    <a16:creationId xmlns:a16="http://schemas.microsoft.com/office/drawing/2014/main" id="{B08293A0-9691-9E1D-8FD4-9F2CF485EF2F}"/>
                  </a:ext>
                </a:extLst>
              </p:cNvPr>
              <p:cNvSpPr>
                <a:spLocks noChangeAspect="1"/>
              </p:cNvSpPr>
              <p:nvPr>
                <p:custDataLst>
                  <p:tags r:id="rId30"/>
                </p:custDataLst>
              </p:nvPr>
            </p:nvSpPr>
            <p:spPr>
              <a:xfrm>
                <a:off x="4972429" y="3909639"/>
                <a:ext cx="47878" cy="43945"/>
              </a:xfrm>
              <a:custGeom>
                <a:avLst/>
                <a:gdLst/>
                <a:ahLst/>
                <a:cxnLst/>
                <a:rect l="0" t="0" r="0" b="0"/>
                <a:pathLst>
                  <a:path w="49158" h="45120">
                    <a:moveTo>
                      <a:pt x="43393" y="39890"/>
                    </a:moveTo>
                    <a:lnTo>
                      <a:pt x="43379" y="39912"/>
                    </a:lnTo>
                    <a:lnTo>
                      <a:pt x="42779" y="40840"/>
                    </a:lnTo>
                    <a:lnTo>
                      <a:pt x="41970" y="42368"/>
                    </a:lnTo>
                    <a:lnTo>
                      <a:pt x="39848" y="45112"/>
                    </a:lnTo>
                    <a:lnTo>
                      <a:pt x="39328" y="45119"/>
                    </a:lnTo>
                    <a:lnTo>
                      <a:pt x="28063" y="45095"/>
                    </a:lnTo>
                    <a:lnTo>
                      <a:pt x="15598" y="43944"/>
                    </a:lnTo>
                    <a:lnTo>
                      <a:pt x="3752" y="41225"/>
                    </a:lnTo>
                    <a:lnTo>
                      <a:pt x="0" y="38648"/>
                    </a:lnTo>
                    <a:lnTo>
                      <a:pt x="1859" y="33950"/>
                    </a:lnTo>
                    <a:lnTo>
                      <a:pt x="11887" y="30374"/>
                    </a:lnTo>
                    <a:lnTo>
                      <a:pt x="13214" y="17049"/>
                    </a:lnTo>
                    <a:lnTo>
                      <a:pt x="17684" y="12676"/>
                    </a:lnTo>
                    <a:lnTo>
                      <a:pt x="19870" y="5695"/>
                    </a:lnTo>
                    <a:lnTo>
                      <a:pt x="29574" y="496"/>
                    </a:lnTo>
                    <a:lnTo>
                      <a:pt x="30472" y="4"/>
                    </a:lnTo>
                    <a:lnTo>
                      <a:pt x="30482" y="0"/>
                    </a:lnTo>
                    <a:lnTo>
                      <a:pt x="31597" y="1385"/>
                    </a:lnTo>
                    <a:lnTo>
                      <a:pt x="35069" y="3811"/>
                    </a:lnTo>
                    <a:lnTo>
                      <a:pt x="46899" y="8709"/>
                    </a:lnTo>
                    <a:lnTo>
                      <a:pt x="46990" y="11553"/>
                    </a:lnTo>
                    <a:lnTo>
                      <a:pt x="42491" y="11697"/>
                    </a:lnTo>
                    <a:lnTo>
                      <a:pt x="42582" y="13421"/>
                    </a:lnTo>
                    <a:lnTo>
                      <a:pt x="42987" y="14591"/>
                    </a:lnTo>
                    <a:lnTo>
                      <a:pt x="44302" y="16882"/>
                    </a:lnTo>
                    <a:lnTo>
                      <a:pt x="44938" y="19926"/>
                    </a:lnTo>
                    <a:lnTo>
                      <a:pt x="45891" y="22696"/>
                    </a:lnTo>
                    <a:lnTo>
                      <a:pt x="47272" y="25095"/>
                    </a:lnTo>
                    <a:lnTo>
                      <a:pt x="49157" y="27165"/>
                    </a:lnTo>
                    <a:lnTo>
                      <a:pt x="47446" y="30503"/>
                    </a:lnTo>
                    <a:lnTo>
                      <a:pt x="45394" y="32467"/>
                    </a:lnTo>
                    <a:lnTo>
                      <a:pt x="40208" y="35028"/>
                    </a:lnTo>
                    <a:lnTo>
                      <a:pt x="40862" y="37777"/>
                    </a:lnTo>
                    <a:lnTo>
                      <a:pt x="41992" y="3932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75" name="Freeform 31">
                <a:extLst>
                  <a:ext uri="{FF2B5EF4-FFF2-40B4-BE49-F238E27FC236}">
                    <a16:creationId xmlns:a16="http://schemas.microsoft.com/office/drawing/2014/main" id="{18023899-951F-ED3B-91DA-D892C9E76732}"/>
                  </a:ext>
                </a:extLst>
              </p:cNvPr>
              <p:cNvSpPr>
                <a:spLocks noChangeAspect="1"/>
              </p:cNvSpPr>
              <p:nvPr>
                <p:custDataLst>
                  <p:tags r:id="rId31"/>
                </p:custDataLst>
              </p:nvPr>
            </p:nvSpPr>
            <p:spPr>
              <a:xfrm>
                <a:off x="4992764" y="3964564"/>
                <a:ext cx="26124" cy="33923"/>
              </a:xfrm>
              <a:custGeom>
                <a:avLst/>
                <a:gdLst/>
                <a:ahLst/>
                <a:cxnLst/>
                <a:rect l="0" t="0" r="0" b="0"/>
                <a:pathLst>
                  <a:path w="26822" h="34830">
                    <a:moveTo>
                      <a:pt x="17282" y="716"/>
                    </a:moveTo>
                    <a:lnTo>
                      <a:pt x="17153" y="4109"/>
                    </a:lnTo>
                    <a:lnTo>
                      <a:pt x="17773" y="9078"/>
                    </a:lnTo>
                    <a:lnTo>
                      <a:pt x="19604" y="14256"/>
                    </a:lnTo>
                    <a:lnTo>
                      <a:pt x="22211" y="19666"/>
                    </a:lnTo>
                    <a:lnTo>
                      <a:pt x="25109" y="24828"/>
                    </a:lnTo>
                    <a:lnTo>
                      <a:pt x="26821" y="27776"/>
                    </a:lnTo>
                    <a:lnTo>
                      <a:pt x="21881" y="27184"/>
                    </a:lnTo>
                    <a:lnTo>
                      <a:pt x="14568" y="29745"/>
                    </a:lnTo>
                    <a:lnTo>
                      <a:pt x="11756" y="34516"/>
                    </a:lnTo>
                    <a:lnTo>
                      <a:pt x="11210" y="34829"/>
                    </a:lnTo>
                    <a:lnTo>
                      <a:pt x="6170" y="31961"/>
                    </a:lnTo>
                    <a:lnTo>
                      <a:pt x="1824" y="29211"/>
                    </a:lnTo>
                    <a:lnTo>
                      <a:pt x="0" y="24287"/>
                    </a:lnTo>
                    <a:lnTo>
                      <a:pt x="271" y="18253"/>
                    </a:lnTo>
                    <a:lnTo>
                      <a:pt x="1177" y="12990"/>
                    </a:lnTo>
                    <a:lnTo>
                      <a:pt x="2723" y="9011"/>
                    </a:lnTo>
                    <a:lnTo>
                      <a:pt x="4730" y="4761"/>
                    </a:lnTo>
                    <a:lnTo>
                      <a:pt x="6168" y="2366"/>
                    </a:lnTo>
                    <a:lnTo>
                      <a:pt x="8231" y="189"/>
                    </a:lnTo>
                    <a:lnTo>
                      <a:pt x="10650" y="114"/>
                    </a:lnTo>
                    <a:lnTo>
                      <a:pt x="14299"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76" name="Freeform 32">
                <a:extLst>
                  <a:ext uri="{FF2B5EF4-FFF2-40B4-BE49-F238E27FC236}">
                    <a16:creationId xmlns:a16="http://schemas.microsoft.com/office/drawing/2014/main" id="{EA0CA7FE-1E42-DC21-00D6-728A84A72066}"/>
                  </a:ext>
                </a:extLst>
              </p:cNvPr>
              <p:cNvSpPr>
                <a:spLocks noChangeAspect="1"/>
              </p:cNvSpPr>
              <p:nvPr>
                <p:custDataLst>
                  <p:tags r:id="rId32"/>
                </p:custDataLst>
              </p:nvPr>
            </p:nvSpPr>
            <p:spPr>
              <a:xfrm>
                <a:off x="5009471" y="3938226"/>
                <a:ext cx="95200" cy="57989"/>
              </a:xfrm>
              <a:custGeom>
                <a:avLst/>
                <a:gdLst/>
                <a:ahLst/>
                <a:cxnLst/>
                <a:rect l="0" t="0" r="0" b="0"/>
                <a:pathLst>
                  <a:path w="97745" h="59539">
                    <a:moveTo>
                      <a:pt x="97742" y="31244"/>
                    </a:moveTo>
                    <a:lnTo>
                      <a:pt x="97743" y="31271"/>
                    </a:lnTo>
                    <a:lnTo>
                      <a:pt x="97744" y="31281"/>
                    </a:lnTo>
                    <a:lnTo>
                      <a:pt x="97611" y="31553"/>
                    </a:lnTo>
                    <a:lnTo>
                      <a:pt x="95778" y="35238"/>
                    </a:lnTo>
                    <a:lnTo>
                      <a:pt x="90042" y="38002"/>
                    </a:lnTo>
                    <a:lnTo>
                      <a:pt x="86923" y="42150"/>
                    </a:lnTo>
                    <a:lnTo>
                      <a:pt x="85273" y="47626"/>
                    </a:lnTo>
                    <a:lnTo>
                      <a:pt x="85555" y="58564"/>
                    </a:lnTo>
                    <a:lnTo>
                      <a:pt x="76008" y="55612"/>
                    </a:lnTo>
                    <a:lnTo>
                      <a:pt x="64673" y="59538"/>
                    </a:lnTo>
                    <a:lnTo>
                      <a:pt x="59478" y="55573"/>
                    </a:lnTo>
                    <a:lnTo>
                      <a:pt x="54821" y="54787"/>
                    </a:lnTo>
                    <a:lnTo>
                      <a:pt x="43155" y="58056"/>
                    </a:lnTo>
                    <a:lnTo>
                      <a:pt x="32949" y="53620"/>
                    </a:lnTo>
                    <a:lnTo>
                      <a:pt x="24231" y="56559"/>
                    </a:lnTo>
                    <a:lnTo>
                      <a:pt x="9668" y="54818"/>
                    </a:lnTo>
                    <a:lnTo>
                      <a:pt x="7956" y="51870"/>
                    </a:lnTo>
                    <a:lnTo>
                      <a:pt x="5058" y="46708"/>
                    </a:lnTo>
                    <a:lnTo>
                      <a:pt x="2451" y="41298"/>
                    </a:lnTo>
                    <a:lnTo>
                      <a:pt x="620" y="36120"/>
                    </a:lnTo>
                    <a:lnTo>
                      <a:pt x="0" y="31151"/>
                    </a:lnTo>
                    <a:lnTo>
                      <a:pt x="129" y="27758"/>
                    </a:lnTo>
                    <a:lnTo>
                      <a:pt x="410" y="19609"/>
                    </a:lnTo>
                    <a:lnTo>
                      <a:pt x="1296" y="15768"/>
                    </a:lnTo>
                    <a:lnTo>
                      <a:pt x="1816" y="15761"/>
                    </a:lnTo>
                    <a:lnTo>
                      <a:pt x="3938" y="13017"/>
                    </a:lnTo>
                    <a:lnTo>
                      <a:pt x="4747" y="11489"/>
                    </a:lnTo>
                    <a:lnTo>
                      <a:pt x="5347" y="10561"/>
                    </a:lnTo>
                    <a:lnTo>
                      <a:pt x="5361" y="10539"/>
                    </a:lnTo>
                    <a:lnTo>
                      <a:pt x="5539" y="10611"/>
                    </a:lnTo>
                    <a:lnTo>
                      <a:pt x="7686" y="10729"/>
                    </a:lnTo>
                    <a:lnTo>
                      <a:pt x="8278" y="10087"/>
                    </a:lnTo>
                    <a:lnTo>
                      <a:pt x="8435" y="8822"/>
                    </a:lnTo>
                    <a:lnTo>
                      <a:pt x="8728" y="7832"/>
                    </a:lnTo>
                    <a:lnTo>
                      <a:pt x="9788" y="8048"/>
                    </a:lnTo>
                    <a:lnTo>
                      <a:pt x="10404" y="8992"/>
                    </a:lnTo>
                    <a:lnTo>
                      <a:pt x="11382" y="10827"/>
                    </a:lnTo>
                    <a:lnTo>
                      <a:pt x="11989" y="12628"/>
                    </a:lnTo>
                    <a:lnTo>
                      <a:pt x="11629" y="13465"/>
                    </a:lnTo>
                    <a:lnTo>
                      <a:pt x="14275" y="12850"/>
                    </a:lnTo>
                    <a:lnTo>
                      <a:pt x="15524" y="10786"/>
                    </a:lnTo>
                    <a:lnTo>
                      <a:pt x="17091" y="0"/>
                    </a:lnTo>
                    <a:lnTo>
                      <a:pt x="21118" y="5049"/>
                    </a:lnTo>
                    <a:lnTo>
                      <a:pt x="24974" y="8112"/>
                    </a:lnTo>
                    <a:lnTo>
                      <a:pt x="29319" y="9584"/>
                    </a:lnTo>
                    <a:lnTo>
                      <a:pt x="38683" y="10545"/>
                    </a:lnTo>
                    <a:lnTo>
                      <a:pt x="49676" y="17417"/>
                    </a:lnTo>
                    <a:lnTo>
                      <a:pt x="95684" y="3003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77" name="Freeform 33">
                <a:extLst>
                  <a:ext uri="{FF2B5EF4-FFF2-40B4-BE49-F238E27FC236}">
                    <a16:creationId xmlns:a16="http://schemas.microsoft.com/office/drawing/2014/main" id="{2F1D803E-35C5-57A8-CBD5-470C1EFE776B}"/>
                  </a:ext>
                </a:extLst>
              </p:cNvPr>
              <p:cNvSpPr>
                <a:spLocks noChangeAspect="1"/>
              </p:cNvSpPr>
              <p:nvPr>
                <p:custDataLst>
                  <p:tags r:id="rId33"/>
                </p:custDataLst>
              </p:nvPr>
            </p:nvSpPr>
            <p:spPr>
              <a:xfrm>
                <a:off x="4963493" y="3947281"/>
                <a:ext cx="47241" cy="60818"/>
              </a:xfrm>
              <a:custGeom>
                <a:avLst/>
                <a:gdLst/>
                <a:ahLst/>
                <a:cxnLst/>
                <a:rect l="0" t="0" r="0" b="0"/>
                <a:pathLst>
                  <a:path w="48504" h="62444">
                    <a:moveTo>
                      <a:pt x="48503" y="6471"/>
                    </a:moveTo>
                    <a:lnTo>
                      <a:pt x="47617" y="10312"/>
                    </a:lnTo>
                    <a:lnTo>
                      <a:pt x="47336" y="18461"/>
                    </a:lnTo>
                    <a:lnTo>
                      <a:pt x="44353" y="17745"/>
                    </a:lnTo>
                    <a:lnTo>
                      <a:pt x="40704" y="17859"/>
                    </a:lnTo>
                    <a:lnTo>
                      <a:pt x="38285" y="17934"/>
                    </a:lnTo>
                    <a:lnTo>
                      <a:pt x="36222" y="20111"/>
                    </a:lnTo>
                    <a:lnTo>
                      <a:pt x="34784" y="22506"/>
                    </a:lnTo>
                    <a:lnTo>
                      <a:pt x="32777" y="26756"/>
                    </a:lnTo>
                    <a:lnTo>
                      <a:pt x="31231" y="30735"/>
                    </a:lnTo>
                    <a:lnTo>
                      <a:pt x="30325" y="35998"/>
                    </a:lnTo>
                    <a:lnTo>
                      <a:pt x="30054" y="42032"/>
                    </a:lnTo>
                    <a:lnTo>
                      <a:pt x="31878" y="46956"/>
                    </a:lnTo>
                    <a:lnTo>
                      <a:pt x="36224" y="49706"/>
                    </a:lnTo>
                    <a:lnTo>
                      <a:pt x="41264" y="52574"/>
                    </a:lnTo>
                    <a:lnTo>
                      <a:pt x="24718" y="62443"/>
                    </a:lnTo>
                    <a:lnTo>
                      <a:pt x="23179" y="60465"/>
                    </a:lnTo>
                    <a:lnTo>
                      <a:pt x="16824" y="60654"/>
                    </a:lnTo>
                    <a:lnTo>
                      <a:pt x="14864" y="52541"/>
                    </a:lnTo>
                    <a:lnTo>
                      <a:pt x="12066" y="50825"/>
                    </a:lnTo>
                    <a:lnTo>
                      <a:pt x="10794" y="52660"/>
                    </a:lnTo>
                    <a:lnTo>
                      <a:pt x="6255" y="51409"/>
                    </a:lnTo>
                    <a:lnTo>
                      <a:pt x="4564" y="57089"/>
                    </a:lnTo>
                    <a:lnTo>
                      <a:pt x="1138" y="55881"/>
                    </a:lnTo>
                    <a:lnTo>
                      <a:pt x="3965" y="51376"/>
                    </a:lnTo>
                    <a:lnTo>
                      <a:pt x="5228" y="43793"/>
                    </a:lnTo>
                    <a:lnTo>
                      <a:pt x="0" y="35329"/>
                    </a:lnTo>
                    <a:lnTo>
                      <a:pt x="1936" y="27649"/>
                    </a:lnTo>
                    <a:lnTo>
                      <a:pt x="7068" y="23876"/>
                    </a:lnTo>
                    <a:lnTo>
                      <a:pt x="7592" y="20997"/>
                    </a:lnTo>
                    <a:lnTo>
                      <a:pt x="7759" y="16102"/>
                    </a:lnTo>
                    <a:lnTo>
                      <a:pt x="4234" y="11107"/>
                    </a:lnTo>
                    <a:lnTo>
                      <a:pt x="4138" y="10358"/>
                    </a:lnTo>
                    <a:lnTo>
                      <a:pt x="3837" y="8037"/>
                    </a:lnTo>
                    <a:lnTo>
                      <a:pt x="7422" y="4436"/>
                    </a:lnTo>
                    <a:lnTo>
                      <a:pt x="9175" y="0"/>
                    </a:lnTo>
                    <a:lnTo>
                      <a:pt x="12927" y="2577"/>
                    </a:lnTo>
                    <a:lnTo>
                      <a:pt x="24773" y="5296"/>
                    </a:lnTo>
                    <a:lnTo>
                      <a:pt x="37238" y="644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78" name="Freeform 34">
                <a:extLst>
                  <a:ext uri="{FF2B5EF4-FFF2-40B4-BE49-F238E27FC236}">
                    <a16:creationId xmlns:a16="http://schemas.microsoft.com/office/drawing/2014/main" id="{D53DFDB9-D7B0-3ACC-1412-04BEC34B8855}"/>
                  </a:ext>
                </a:extLst>
              </p:cNvPr>
              <p:cNvSpPr>
                <a:spLocks noChangeAspect="1"/>
              </p:cNvSpPr>
              <p:nvPr>
                <p:custDataLst>
                  <p:tags r:id="rId34"/>
                </p:custDataLst>
              </p:nvPr>
            </p:nvSpPr>
            <p:spPr>
              <a:xfrm>
                <a:off x="4690940" y="3512005"/>
                <a:ext cx="262405" cy="382874"/>
              </a:xfrm>
              <a:custGeom>
                <a:avLst/>
                <a:gdLst/>
                <a:ahLst/>
                <a:cxnLst/>
                <a:rect l="0" t="0" r="0" b="0"/>
                <a:pathLst>
                  <a:path w="269420" h="393109">
                    <a:moveTo>
                      <a:pt x="269419" y="278111"/>
                    </a:moveTo>
                    <a:lnTo>
                      <a:pt x="269406" y="278118"/>
                    </a:lnTo>
                    <a:lnTo>
                      <a:pt x="266778" y="279367"/>
                    </a:lnTo>
                    <a:lnTo>
                      <a:pt x="261306" y="286216"/>
                    </a:lnTo>
                    <a:lnTo>
                      <a:pt x="256828" y="286754"/>
                    </a:lnTo>
                    <a:lnTo>
                      <a:pt x="246767" y="285859"/>
                    </a:lnTo>
                    <a:lnTo>
                      <a:pt x="240950" y="282398"/>
                    </a:lnTo>
                    <a:lnTo>
                      <a:pt x="227063" y="280025"/>
                    </a:lnTo>
                    <a:lnTo>
                      <a:pt x="218366" y="278531"/>
                    </a:lnTo>
                    <a:lnTo>
                      <a:pt x="216720" y="280795"/>
                    </a:lnTo>
                    <a:lnTo>
                      <a:pt x="216085" y="284633"/>
                    </a:lnTo>
                    <a:lnTo>
                      <a:pt x="220532" y="287387"/>
                    </a:lnTo>
                    <a:lnTo>
                      <a:pt x="220541" y="290251"/>
                    </a:lnTo>
                    <a:lnTo>
                      <a:pt x="216904" y="293531"/>
                    </a:lnTo>
                    <a:lnTo>
                      <a:pt x="210146" y="295603"/>
                    </a:lnTo>
                    <a:lnTo>
                      <a:pt x="205755" y="305367"/>
                    </a:lnTo>
                    <a:lnTo>
                      <a:pt x="202517" y="307578"/>
                    </a:lnTo>
                    <a:lnTo>
                      <a:pt x="202146" y="312465"/>
                    </a:lnTo>
                    <a:lnTo>
                      <a:pt x="196420" y="315050"/>
                    </a:lnTo>
                    <a:lnTo>
                      <a:pt x="194943" y="317306"/>
                    </a:lnTo>
                    <a:lnTo>
                      <a:pt x="190570" y="333763"/>
                    </a:lnTo>
                    <a:lnTo>
                      <a:pt x="184318" y="337619"/>
                    </a:lnTo>
                    <a:lnTo>
                      <a:pt x="184743" y="340363"/>
                    </a:lnTo>
                    <a:lnTo>
                      <a:pt x="191149" y="343201"/>
                    </a:lnTo>
                    <a:lnTo>
                      <a:pt x="190880" y="347345"/>
                    </a:lnTo>
                    <a:lnTo>
                      <a:pt x="185616" y="354901"/>
                    </a:lnTo>
                    <a:lnTo>
                      <a:pt x="181385" y="364970"/>
                    </a:lnTo>
                    <a:lnTo>
                      <a:pt x="173257" y="370562"/>
                    </a:lnTo>
                    <a:lnTo>
                      <a:pt x="171099" y="370194"/>
                    </a:lnTo>
                    <a:lnTo>
                      <a:pt x="169626" y="366513"/>
                    </a:lnTo>
                    <a:lnTo>
                      <a:pt x="153462" y="359306"/>
                    </a:lnTo>
                    <a:lnTo>
                      <a:pt x="134107" y="372745"/>
                    </a:lnTo>
                    <a:lnTo>
                      <a:pt x="123611" y="370504"/>
                    </a:lnTo>
                    <a:lnTo>
                      <a:pt x="123972" y="373687"/>
                    </a:lnTo>
                    <a:lnTo>
                      <a:pt x="122973" y="376254"/>
                    </a:lnTo>
                    <a:lnTo>
                      <a:pt x="118937" y="379290"/>
                    </a:lnTo>
                    <a:lnTo>
                      <a:pt x="117110" y="383372"/>
                    </a:lnTo>
                    <a:lnTo>
                      <a:pt x="113616" y="382783"/>
                    </a:lnTo>
                    <a:lnTo>
                      <a:pt x="110288" y="384758"/>
                    </a:lnTo>
                    <a:lnTo>
                      <a:pt x="107770" y="391487"/>
                    </a:lnTo>
                    <a:lnTo>
                      <a:pt x="106027" y="393108"/>
                    </a:lnTo>
                    <a:lnTo>
                      <a:pt x="92477" y="388142"/>
                    </a:lnTo>
                    <a:lnTo>
                      <a:pt x="85371" y="391675"/>
                    </a:lnTo>
                    <a:lnTo>
                      <a:pt x="72659" y="381346"/>
                    </a:lnTo>
                    <a:lnTo>
                      <a:pt x="64092" y="367551"/>
                    </a:lnTo>
                    <a:lnTo>
                      <a:pt x="61402" y="368242"/>
                    </a:lnTo>
                    <a:lnTo>
                      <a:pt x="57377" y="373079"/>
                    </a:lnTo>
                    <a:lnTo>
                      <a:pt x="42290" y="383891"/>
                    </a:lnTo>
                    <a:lnTo>
                      <a:pt x="34879" y="382941"/>
                    </a:lnTo>
                    <a:lnTo>
                      <a:pt x="28201" y="377069"/>
                    </a:lnTo>
                    <a:lnTo>
                      <a:pt x="26674" y="372201"/>
                    </a:lnTo>
                    <a:lnTo>
                      <a:pt x="28148" y="368154"/>
                    </a:lnTo>
                    <a:lnTo>
                      <a:pt x="27430" y="363819"/>
                    </a:lnTo>
                    <a:lnTo>
                      <a:pt x="22714" y="358248"/>
                    </a:lnTo>
                    <a:lnTo>
                      <a:pt x="21329" y="354542"/>
                    </a:lnTo>
                    <a:lnTo>
                      <a:pt x="26409" y="350561"/>
                    </a:lnTo>
                    <a:lnTo>
                      <a:pt x="28675" y="341823"/>
                    </a:lnTo>
                    <a:lnTo>
                      <a:pt x="32550" y="339010"/>
                    </a:lnTo>
                    <a:lnTo>
                      <a:pt x="29060" y="333544"/>
                    </a:lnTo>
                    <a:lnTo>
                      <a:pt x="27264" y="325806"/>
                    </a:lnTo>
                    <a:lnTo>
                      <a:pt x="21311" y="322482"/>
                    </a:lnTo>
                    <a:lnTo>
                      <a:pt x="26519" y="314992"/>
                    </a:lnTo>
                    <a:lnTo>
                      <a:pt x="26608" y="307448"/>
                    </a:lnTo>
                    <a:lnTo>
                      <a:pt x="28102" y="305099"/>
                    </a:lnTo>
                    <a:lnTo>
                      <a:pt x="45069" y="294473"/>
                    </a:lnTo>
                    <a:lnTo>
                      <a:pt x="42173" y="287303"/>
                    </a:lnTo>
                    <a:lnTo>
                      <a:pt x="42865" y="284528"/>
                    </a:lnTo>
                    <a:lnTo>
                      <a:pt x="41859" y="281995"/>
                    </a:lnTo>
                    <a:lnTo>
                      <a:pt x="44127" y="279101"/>
                    </a:lnTo>
                    <a:lnTo>
                      <a:pt x="39715" y="276295"/>
                    </a:lnTo>
                    <a:lnTo>
                      <a:pt x="30578" y="279060"/>
                    </a:lnTo>
                    <a:lnTo>
                      <a:pt x="28826" y="275468"/>
                    </a:lnTo>
                    <a:lnTo>
                      <a:pt x="21662" y="270361"/>
                    </a:lnTo>
                    <a:lnTo>
                      <a:pt x="19321" y="262529"/>
                    </a:lnTo>
                    <a:lnTo>
                      <a:pt x="9879" y="259361"/>
                    </a:lnTo>
                    <a:lnTo>
                      <a:pt x="6914" y="255137"/>
                    </a:lnTo>
                    <a:lnTo>
                      <a:pt x="1651" y="238952"/>
                    </a:lnTo>
                    <a:lnTo>
                      <a:pt x="0" y="237041"/>
                    </a:lnTo>
                    <a:lnTo>
                      <a:pt x="5067" y="228686"/>
                    </a:lnTo>
                    <a:lnTo>
                      <a:pt x="8842" y="225740"/>
                    </a:lnTo>
                    <a:lnTo>
                      <a:pt x="11577" y="224466"/>
                    </a:lnTo>
                    <a:lnTo>
                      <a:pt x="12822" y="223070"/>
                    </a:lnTo>
                    <a:lnTo>
                      <a:pt x="13581" y="221461"/>
                    </a:lnTo>
                    <a:lnTo>
                      <a:pt x="14152" y="218295"/>
                    </a:lnTo>
                    <a:lnTo>
                      <a:pt x="14272" y="216951"/>
                    </a:lnTo>
                    <a:lnTo>
                      <a:pt x="14159" y="216005"/>
                    </a:lnTo>
                    <a:lnTo>
                      <a:pt x="13811" y="215041"/>
                    </a:lnTo>
                    <a:lnTo>
                      <a:pt x="13212" y="213863"/>
                    </a:lnTo>
                    <a:lnTo>
                      <a:pt x="12653" y="212249"/>
                    </a:lnTo>
                    <a:lnTo>
                      <a:pt x="12610" y="209505"/>
                    </a:lnTo>
                    <a:lnTo>
                      <a:pt x="13178" y="208017"/>
                    </a:lnTo>
                    <a:lnTo>
                      <a:pt x="14053" y="206763"/>
                    </a:lnTo>
                    <a:lnTo>
                      <a:pt x="16972" y="204320"/>
                    </a:lnTo>
                    <a:lnTo>
                      <a:pt x="28519" y="189507"/>
                    </a:lnTo>
                    <a:lnTo>
                      <a:pt x="47580" y="171661"/>
                    </a:lnTo>
                    <a:lnTo>
                      <a:pt x="49921" y="170504"/>
                    </a:lnTo>
                    <a:lnTo>
                      <a:pt x="55372" y="169419"/>
                    </a:lnTo>
                    <a:lnTo>
                      <a:pt x="58421" y="169928"/>
                    </a:lnTo>
                    <a:lnTo>
                      <a:pt x="59630" y="170502"/>
                    </a:lnTo>
                    <a:lnTo>
                      <a:pt x="61685" y="172073"/>
                    </a:lnTo>
                    <a:lnTo>
                      <a:pt x="62485" y="173048"/>
                    </a:lnTo>
                    <a:lnTo>
                      <a:pt x="63861" y="173482"/>
                    </a:lnTo>
                    <a:lnTo>
                      <a:pt x="65733" y="173277"/>
                    </a:lnTo>
                    <a:lnTo>
                      <a:pt x="70002" y="170525"/>
                    </a:lnTo>
                    <a:lnTo>
                      <a:pt x="71734" y="168565"/>
                    </a:lnTo>
                    <a:lnTo>
                      <a:pt x="72814" y="166513"/>
                    </a:lnTo>
                    <a:lnTo>
                      <a:pt x="73635" y="163064"/>
                    </a:lnTo>
                    <a:lnTo>
                      <a:pt x="74412" y="161057"/>
                    </a:lnTo>
                    <a:lnTo>
                      <a:pt x="75892" y="158131"/>
                    </a:lnTo>
                    <a:lnTo>
                      <a:pt x="77239" y="156807"/>
                    </a:lnTo>
                    <a:lnTo>
                      <a:pt x="83594" y="153802"/>
                    </a:lnTo>
                    <a:lnTo>
                      <a:pt x="85804" y="151120"/>
                    </a:lnTo>
                    <a:lnTo>
                      <a:pt x="88588" y="148664"/>
                    </a:lnTo>
                    <a:lnTo>
                      <a:pt x="94708" y="147298"/>
                    </a:lnTo>
                    <a:lnTo>
                      <a:pt x="97242" y="146071"/>
                    </a:lnTo>
                    <a:lnTo>
                      <a:pt x="101694" y="142972"/>
                    </a:lnTo>
                    <a:lnTo>
                      <a:pt x="104407" y="139884"/>
                    </a:lnTo>
                    <a:lnTo>
                      <a:pt x="106504" y="136864"/>
                    </a:lnTo>
                    <a:lnTo>
                      <a:pt x="107377" y="134914"/>
                    </a:lnTo>
                    <a:lnTo>
                      <a:pt x="107716" y="133209"/>
                    </a:lnTo>
                    <a:lnTo>
                      <a:pt x="107667" y="131729"/>
                    </a:lnTo>
                    <a:lnTo>
                      <a:pt x="107297" y="130432"/>
                    </a:lnTo>
                    <a:lnTo>
                      <a:pt x="106761" y="129296"/>
                    </a:lnTo>
                    <a:lnTo>
                      <a:pt x="105950" y="128381"/>
                    </a:lnTo>
                    <a:lnTo>
                      <a:pt x="101034" y="121200"/>
                    </a:lnTo>
                    <a:lnTo>
                      <a:pt x="100566" y="120004"/>
                    </a:lnTo>
                    <a:lnTo>
                      <a:pt x="100311" y="118862"/>
                    </a:lnTo>
                    <a:lnTo>
                      <a:pt x="100291" y="117677"/>
                    </a:lnTo>
                    <a:lnTo>
                      <a:pt x="100338" y="117182"/>
                    </a:lnTo>
                    <a:lnTo>
                      <a:pt x="100371" y="116511"/>
                    </a:lnTo>
                    <a:lnTo>
                      <a:pt x="100284" y="115348"/>
                    </a:lnTo>
                    <a:lnTo>
                      <a:pt x="99972" y="114108"/>
                    </a:lnTo>
                    <a:lnTo>
                      <a:pt x="97679" y="109586"/>
                    </a:lnTo>
                    <a:lnTo>
                      <a:pt x="94790" y="105349"/>
                    </a:lnTo>
                    <a:lnTo>
                      <a:pt x="91113" y="98735"/>
                    </a:lnTo>
                    <a:lnTo>
                      <a:pt x="87344" y="89002"/>
                    </a:lnTo>
                    <a:lnTo>
                      <a:pt x="86642" y="86407"/>
                    </a:lnTo>
                    <a:lnTo>
                      <a:pt x="86429" y="84989"/>
                    </a:lnTo>
                    <a:lnTo>
                      <a:pt x="86106" y="83691"/>
                    </a:lnTo>
                    <a:lnTo>
                      <a:pt x="85518" y="82555"/>
                    </a:lnTo>
                    <a:lnTo>
                      <a:pt x="82897" y="79912"/>
                    </a:lnTo>
                    <a:lnTo>
                      <a:pt x="82178" y="78917"/>
                    </a:lnTo>
                    <a:lnTo>
                      <a:pt x="81634" y="77680"/>
                    </a:lnTo>
                    <a:lnTo>
                      <a:pt x="81477" y="76222"/>
                    </a:lnTo>
                    <a:lnTo>
                      <a:pt x="81109" y="74865"/>
                    </a:lnTo>
                    <a:lnTo>
                      <a:pt x="80226" y="74089"/>
                    </a:lnTo>
                    <a:lnTo>
                      <a:pt x="76738" y="72131"/>
                    </a:lnTo>
                    <a:lnTo>
                      <a:pt x="75965" y="71194"/>
                    </a:lnTo>
                    <a:lnTo>
                      <a:pt x="75400" y="70078"/>
                    </a:lnTo>
                    <a:lnTo>
                      <a:pt x="75076" y="68602"/>
                    </a:lnTo>
                    <a:lnTo>
                      <a:pt x="74996" y="67023"/>
                    </a:lnTo>
                    <a:lnTo>
                      <a:pt x="75165" y="65085"/>
                    </a:lnTo>
                    <a:lnTo>
                      <a:pt x="76031" y="64124"/>
                    </a:lnTo>
                    <a:lnTo>
                      <a:pt x="77109" y="63257"/>
                    </a:lnTo>
                    <a:lnTo>
                      <a:pt x="79737" y="62386"/>
                    </a:lnTo>
                    <a:lnTo>
                      <a:pt x="88215" y="62188"/>
                    </a:lnTo>
                    <a:lnTo>
                      <a:pt x="91322" y="61406"/>
                    </a:lnTo>
                    <a:lnTo>
                      <a:pt x="93465" y="60304"/>
                    </a:lnTo>
                    <a:lnTo>
                      <a:pt x="94982" y="58421"/>
                    </a:lnTo>
                    <a:lnTo>
                      <a:pt x="106403" y="40349"/>
                    </a:lnTo>
                    <a:lnTo>
                      <a:pt x="107504" y="37880"/>
                    </a:lnTo>
                    <a:lnTo>
                      <a:pt x="108395" y="34842"/>
                    </a:lnTo>
                    <a:lnTo>
                      <a:pt x="109213" y="33288"/>
                    </a:lnTo>
                    <a:lnTo>
                      <a:pt x="110194" y="32164"/>
                    </a:lnTo>
                    <a:lnTo>
                      <a:pt x="112189" y="30547"/>
                    </a:lnTo>
                    <a:lnTo>
                      <a:pt x="114378" y="28039"/>
                    </a:lnTo>
                    <a:lnTo>
                      <a:pt x="115495" y="27100"/>
                    </a:lnTo>
                    <a:lnTo>
                      <a:pt x="118976" y="25386"/>
                    </a:lnTo>
                    <a:lnTo>
                      <a:pt x="120008" y="24655"/>
                    </a:lnTo>
                    <a:lnTo>
                      <a:pt x="125186" y="18750"/>
                    </a:lnTo>
                    <a:lnTo>
                      <a:pt x="126181" y="16718"/>
                    </a:lnTo>
                    <a:lnTo>
                      <a:pt x="126700" y="14832"/>
                    </a:lnTo>
                    <a:lnTo>
                      <a:pt x="127209" y="9015"/>
                    </a:lnTo>
                    <a:lnTo>
                      <a:pt x="127851" y="6011"/>
                    </a:lnTo>
                    <a:lnTo>
                      <a:pt x="128869" y="4688"/>
                    </a:lnTo>
                    <a:lnTo>
                      <a:pt x="130074" y="3864"/>
                    </a:lnTo>
                    <a:lnTo>
                      <a:pt x="139686" y="0"/>
                    </a:lnTo>
                    <a:lnTo>
                      <a:pt x="142631" y="5537"/>
                    </a:lnTo>
                    <a:lnTo>
                      <a:pt x="171763" y="41591"/>
                    </a:lnTo>
                    <a:lnTo>
                      <a:pt x="175117" y="50413"/>
                    </a:lnTo>
                    <a:lnTo>
                      <a:pt x="177397" y="55058"/>
                    </a:lnTo>
                    <a:lnTo>
                      <a:pt x="182120" y="58248"/>
                    </a:lnTo>
                    <a:lnTo>
                      <a:pt x="183357" y="60926"/>
                    </a:lnTo>
                    <a:lnTo>
                      <a:pt x="184368" y="63655"/>
                    </a:lnTo>
                    <a:lnTo>
                      <a:pt x="185523" y="64982"/>
                    </a:lnTo>
                    <a:lnTo>
                      <a:pt x="187526" y="64314"/>
                    </a:lnTo>
                    <a:lnTo>
                      <a:pt x="188853" y="62478"/>
                    </a:lnTo>
                    <a:lnTo>
                      <a:pt x="189773" y="60544"/>
                    </a:lnTo>
                    <a:lnTo>
                      <a:pt x="190551" y="59639"/>
                    </a:lnTo>
                    <a:lnTo>
                      <a:pt x="192971" y="59925"/>
                    </a:lnTo>
                    <a:lnTo>
                      <a:pt x="195759" y="61290"/>
                    </a:lnTo>
                    <a:lnTo>
                      <a:pt x="198449" y="64398"/>
                    </a:lnTo>
                    <a:lnTo>
                      <a:pt x="200486" y="69855"/>
                    </a:lnTo>
                    <a:lnTo>
                      <a:pt x="196106" y="69960"/>
                    </a:lnTo>
                    <a:lnTo>
                      <a:pt x="196163" y="72338"/>
                    </a:lnTo>
                    <a:lnTo>
                      <a:pt x="198790" y="73847"/>
                    </a:lnTo>
                    <a:lnTo>
                      <a:pt x="206314" y="71487"/>
                    </a:lnTo>
                    <a:lnTo>
                      <a:pt x="211016" y="71978"/>
                    </a:lnTo>
                    <a:lnTo>
                      <a:pt x="226021" y="82255"/>
                    </a:lnTo>
                    <a:lnTo>
                      <a:pt x="226088" y="84866"/>
                    </a:lnTo>
                    <a:lnTo>
                      <a:pt x="224967" y="87414"/>
                    </a:lnTo>
                    <a:lnTo>
                      <a:pt x="225399" y="90187"/>
                    </a:lnTo>
                    <a:lnTo>
                      <a:pt x="226982" y="92932"/>
                    </a:lnTo>
                    <a:lnTo>
                      <a:pt x="229318" y="95485"/>
                    </a:lnTo>
                    <a:lnTo>
                      <a:pt x="226425" y="97907"/>
                    </a:lnTo>
                    <a:lnTo>
                      <a:pt x="226492" y="100518"/>
                    </a:lnTo>
                    <a:lnTo>
                      <a:pt x="228389" y="101698"/>
                    </a:lnTo>
                    <a:lnTo>
                      <a:pt x="232662" y="105585"/>
                    </a:lnTo>
                    <a:lnTo>
                      <a:pt x="232731" y="108196"/>
                    </a:lnTo>
                    <a:lnTo>
                      <a:pt x="231005" y="111586"/>
                    </a:lnTo>
                    <a:lnTo>
                      <a:pt x="232127" y="113391"/>
                    </a:lnTo>
                    <a:lnTo>
                      <a:pt x="234326" y="114610"/>
                    </a:lnTo>
                    <a:lnTo>
                      <a:pt x="235882" y="116186"/>
                    </a:lnTo>
                    <a:lnTo>
                      <a:pt x="236954" y="120731"/>
                    </a:lnTo>
                    <a:lnTo>
                      <a:pt x="238407" y="146326"/>
                    </a:lnTo>
                    <a:lnTo>
                      <a:pt x="238126" y="150051"/>
                    </a:lnTo>
                    <a:lnTo>
                      <a:pt x="237170" y="156329"/>
                    </a:lnTo>
                    <a:lnTo>
                      <a:pt x="237048" y="158385"/>
                    </a:lnTo>
                    <a:lnTo>
                      <a:pt x="237082" y="161698"/>
                    </a:lnTo>
                    <a:lnTo>
                      <a:pt x="238609" y="169995"/>
                    </a:lnTo>
                    <a:lnTo>
                      <a:pt x="244245" y="179707"/>
                    </a:lnTo>
                    <a:lnTo>
                      <a:pt x="245026" y="186405"/>
                    </a:lnTo>
                    <a:lnTo>
                      <a:pt x="244809" y="188216"/>
                    </a:lnTo>
                    <a:lnTo>
                      <a:pt x="244431" y="189968"/>
                    </a:lnTo>
                    <a:lnTo>
                      <a:pt x="243838" y="191617"/>
                    </a:lnTo>
                    <a:lnTo>
                      <a:pt x="243048" y="193224"/>
                    </a:lnTo>
                    <a:lnTo>
                      <a:pt x="242186" y="196093"/>
                    </a:lnTo>
                    <a:lnTo>
                      <a:pt x="242651" y="198601"/>
                    </a:lnTo>
                    <a:lnTo>
                      <a:pt x="243574" y="201003"/>
                    </a:lnTo>
                    <a:lnTo>
                      <a:pt x="244120" y="203509"/>
                    </a:lnTo>
                    <a:lnTo>
                      <a:pt x="245461" y="207922"/>
                    </a:lnTo>
                    <a:lnTo>
                      <a:pt x="248304" y="212108"/>
                    </a:lnTo>
                    <a:lnTo>
                      <a:pt x="253452" y="217505"/>
                    </a:lnTo>
                    <a:lnTo>
                      <a:pt x="251807" y="222574"/>
                    </a:lnTo>
                    <a:lnTo>
                      <a:pt x="252979" y="224891"/>
                    </a:lnTo>
                    <a:lnTo>
                      <a:pt x="255172" y="226869"/>
                    </a:lnTo>
                    <a:lnTo>
                      <a:pt x="256653" y="230701"/>
                    </a:lnTo>
                    <a:lnTo>
                      <a:pt x="256136" y="234495"/>
                    </a:lnTo>
                    <a:lnTo>
                      <a:pt x="254752" y="237800"/>
                    </a:lnTo>
                    <a:lnTo>
                      <a:pt x="253849" y="241170"/>
                    </a:lnTo>
                    <a:lnTo>
                      <a:pt x="254871" y="245092"/>
                    </a:lnTo>
                    <a:lnTo>
                      <a:pt x="258789" y="250849"/>
                    </a:lnTo>
                    <a:lnTo>
                      <a:pt x="259904" y="253571"/>
                    </a:lnTo>
                    <a:lnTo>
                      <a:pt x="260878" y="261804"/>
                    </a:lnTo>
                    <a:lnTo>
                      <a:pt x="263024" y="269880"/>
                    </a:lnTo>
                    <a:lnTo>
                      <a:pt x="263892" y="272267"/>
                    </a:lnTo>
                    <a:lnTo>
                      <a:pt x="264756" y="272912"/>
                    </a:lnTo>
                    <a:lnTo>
                      <a:pt x="267620" y="274108"/>
                    </a:lnTo>
                    <a:lnTo>
                      <a:pt x="268448" y="274738"/>
                    </a:lnTo>
                    <a:lnTo>
                      <a:pt x="268808" y="27581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79" name="Freeform 35">
                <a:extLst>
                  <a:ext uri="{FF2B5EF4-FFF2-40B4-BE49-F238E27FC236}">
                    <a16:creationId xmlns:a16="http://schemas.microsoft.com/office/drawing/2014/main" id="{C84A2FE6-2182-65FA-188E-4DC1D4F727F4}"/>
                  </a:ext>
                </a:extLst>
              </p:cNvPr>
              <p:cNvSpPr>
                <a:spLocks noChangeAspect="1"/>
              </p:cNvSpPr>
              <p:nvPr>
                <p:custDataLst>
                  <p:tags r:id="rId35"/>
                </p:custDataLst>
              </p:nvPr>
            </p:nvSpPr>
            <p:spPr>
              <a:xfrm>
                <a:off x="4879454" y="5154059"/>
                <a:ext cx="283067" cy="247782"/>
              </a:xfrm>
              <a:custGeom>
                <a:avLst/>
                <a:gdLst/>
                <a:ahLst/>
                <a:cxnLst/>
                <a:rect l="0" t="0" r="0" b="0"/>
                <a:pathLst>
                  <a:path w="290634" h="254406">
                    <a:moveTo>
                      <a:pt x="216255" y="7901"/>
                    </a:moveTo>
                    <a:lnTo>
                      <a:pt x="224642" y="4761"/>
                    </a:lnTo>
                    <a:lnTo>
                      <a:pt x="231789" y="6421"/>
                    </a:lnTo>
                    <a:lnTo>
                      <a:pt x="243091" y="4858"/>
                    </a:lnTo>
                    <a:lnTo>
                      <a:pt x="251026" y="7971"/>
                    </a:lnTo>
                    <a:lnTo>
                      <a:pt x="259042" y="8164"/>
                    </a:lnTo>
                    <a:lnTo>
                      <a:pt x="266972" y="8349"/>
                    </a:lnTo>
                    <a:lnTo>
                      <a:pt x="272012" y="11986"/>
                    </a:lnTo>
                    <a:lnTo>
                      <a:pt x="280207" y="14543"/>
                    </a:lnTo>
                    <a:lnTo>
                      <a:pt x="289258" y="29389"/>
                    </a:lnTo>
                    <a:lnTo>
                      <a:pt x="290633" y="37732"/>
                    </a:lnTo>
                    <a:lnTo>
                      <a:pt x="289603" y="47626"/>
                    </a:lnTo>
                    <a:lnTo>
                      <a:pt x="285649" y="52458"/>
                    </a:lnTo>
                    <a:lnTo>
                      <a:pt x="273324" y="50046"/>
                    </a:lnTo>
                    <a:lnTo>
                      <a:pt x="269301" y="51054"/>
                    </a:lnTo>
                    <a:lnTo>
                      <a:pt x="266397" y="55309"/>
                    </a:lnTo>
                    <a:lnTo>
                      <a:pt x="264109" y="63866"/>
                    </a:lnTo>
                    <a:lnTo>
                      <a:pt x="268122" y="71796"/>
                    </a:lnTo>
                    <a:lnTo>
                      <a:pt x="268746" y="83663"/>
                    </a:lnTo>
                    <a:lnTo>
                      <a:pt x="276668" y="85167"/>
                    </a:lnTo>
                    <a:lnTo>
                      <a:pt x="279588" y="93985"/>
                    </a:lnTo>
                    <a:lnTo>
                      <a:pt x="287679" y="98363"/>
                    </a:lnTo>
                    <a:lnTo>
                      <a:pt x="288456" y="101078"/>
                    </a:lnTo>
                    <a:lnTo>
                      <a:pt x="286392" y="107061"/>
                    </a:lnTo>
                    <a:lnTo>
                      <a:pt x="281445" y="110150"/>
                    </a:lnTo>
                    <a:lnTo>
                      <a:pt x="278524" y="118121"/>
                    </a:lnTo>
                    <a:lnTo>
                      <a:pt x="268754" y="117317"/>
                    </a:lnTo>
                    <a:lnTo>
                      <a:pt x="266662" y="118559"/>
                    </a:lnTo>
                    <a:lnTo>
                      <a:pt x="260878" y="125246"/>
                    </a:lnTo>
                    <a:lnTo>
                      <a:pt x="260218" y="131215"/>
                    </a:lnTo>
                    <a:lnTo>
                      <a:pt x="254524" y="138332"/>
                    </a:lnTo>
                    <a:lnTo>
                      <a:pt x="254208" y="144603"/>
                    </a:lnTo>
                    <a:lnTo>
                      <a:pt x="245781" y="163900"/>
                    </a:lnTo>
                    <a:lnTo>
                      <a:pt x="245989" y="168139"/>
                    </a:lnTo>
                    <a:lnTo>
                      <a:pt x="248290" y="172718"/>
                    </a:lnTo>
                    <a:lnTo>
                      <a:pt x="241237" y="183906"/>
                    </a:lnTo>
                    <a:lnTo>
                      <a:pt x="241801" y="186750"/>
                    </a:lnTo>
                    <a:lnTo>
                      <a:pt x="248618" y="193837"/>
                    </a:lnTo>
                    <a:lnTo>
                      <a:pt x="249019" y="199668"/>
                    </a:lnTo>
                    <a:lnTo>
                      <a:pt x="247395" y="203520"/>
                    </a:lnTo>
                    <a:lnTo>
                      <a:pt x="247393" y="203518"/>
                    </a:lnTo>
                    <a:lnTo>
                      <a:pt x="245083" y="202356"/>
                    </a:lnTo>
                    <a:lnTo>
                      <a:pt x="237416" y="201192"/>
                    </a:lnTo>
                    <a:lnTo>
                      <a:pt x="231608" y="201362"/>
                    </a:lnTo>
                    <a:lnTo>
                      <a:pt x="230669" y="199970"/>
                    </a:lnTo>
                    <a:lnTo>
                      <a:pt x="223454" y="198064"/>
                    </a:lnTo>
                    <a:lnTo>
                      <a:pt x="216637" y="197760"/>
                    </a:lnTo>
                    <a:lnTo>
                      <a:pt x="212212" y="197908"/>
                    </a:lnTo>
                    <a:lnTo>
                      <a:pt x="209076" y="201094"/>
                    </a:lnTo>
                    <a:lnTo>
                      <a:pt x="209068" y="201094"/>
                    </a:lnTo>
                    <a:lnTo>
                      <a:pt x="194222" y="202760"/>
                    </a:lnTo>
                    <a:lnTo>
                      <a:pt x="190665" y="204024"/>
                    </a:lnTo>
                    <a:lnTo>
                      <a:pt x="199332" y="210834"/>
                    </a:lnTo>
                    <a:lnTo>
                      <a:pt x="200843" y="213195"/>
                    </a:lnTo>
                    <a:lnTo>
                      <a:pt x="201696" y="220583"/>
                    </a:lnTo>
                    <a:lnTo>
                      <a:pt x="200931" y="224682"/>
                    </a:lnTo>
                    <a:lnTo>
                      <a:pt x="197849" y="227751"/>
                    </a:lnTo>
                    <a:lnTo>
                      <a:pt x="194687" y="227682"/>
                    </a:lnTo>
                    <a:lnTo>
                      <a:pt x="190230" y="226115"/>
                    </a:lnTo>
                    <a:lnTo>
                      <a:pt x="186220" y="223738"/>
                    </a:lnTo>
                    <a:lnTo>
                      <a:pt x="184456" y="221415"/>
                    </a:lnTo>
                    <a:lnTo>
                      <a:pt x="182736" y="217925"/>
                    </a:lnTo>
                    <a:lnTo>
                      <a:pt x="174827" y="213974"/>
                    </a:lnTo>
                    <a:lnTo>
                      <a:pt x="168961" y="209180"/>
                    </a:lnTo>
                    <a:lnTo>
                      <a:pt x="160924" y="206657"/>
                    </a:lnTo>
                    <a:lnTo>
                      <a:pt x="157672" y="205045"/>
                    </a:lnTo>
                    <a:lnTo>
                      <a:pt x="153386" y="200110"/>
                    </a:lnTo>
                    <a:lnTo>
                      <a:pt x="154259" y="194877"/>
                    </a:lnTo>
                    <a:lnTo>
                      <a:pt x="155731" y="186757"/>
                    </a:lnTo>
                    <a:lnTo>
                      <a:pt x="155873" y="180296"/>
                    </a:lnTo>
                    <a:lnTo>
                      <a:pt x="155059" y="175465"/>
                    </a:lnTo>
                    <a:lnTo>
                      <a:pt x="147755" y="169758"/>
                    </a:lnTo>
                    <a:lnTo>
                      <a:pt x="140197" y="166751"/>
                    </a:lnTo>
                    <a:lnTo>
                      <a:pt x="133066" y="166957"/>
                    </a:lnTo>
                    <a:lnTo>
                      <a:pt x="126659" y="168748"/>
                    </a:lnTo>
                    <a:lnTo>
                      <a:pt x="122993" y="171556"/>
                    </a:lnTo>
                    <a:lnTo>
                      <a:pt x="121724" y="174809"/>
                    </a:lnTo>
                    <a:lnTo>
                      <a:pt x="121275" y="179965"/>
                    </a:lnTo>
                    <a:lnTo>
                      <a:pt x="117086" y="177751"/>
                    </a:lnTo>
                    <a:lnTo>
                      <a:pt x="117151" y="180127"/>
                    </a:lnTo>
                    <a:lnTo>
                      <a:pt x="119586" y="181272"/>
                    </a:lnTo>
                    <a:lnTo>
                      <a:pt x="124115" y="183991"/>
                    </a:lnTo>
                    <a:lnTo>
                      <a:pt x="127110" y="184373"/>
                    </a:lnTo>
                    <a:lnTo>
                      <a:pt x="133216" y="191428"/>
                    </a:lnTo>
                    <a:lnTo>
                      <a:pt x="152646" y="212035"/>
                    </a:lnTo>
                    <a:lnTo>
                      <a:pt x="154919" y="217160"/>
                    </a:lnTo>
                    <a:lnTo>
                      <a:pt x="154323" y="221732"/>
                    </a:lnTo>
                    <a:lnTo>
                      <a:pt x="148934" y="223836"/>
                    </a:lnTo>
                    <a:lnTo>
                      <a:pt x="133479" y="225651"/>
                    </a:lnTo>
                    <a:lnTo>
                      <a:pt x="129954" y="226963"/>
                    </a:lnTo>
                    <a:lnTo>
                      <a:pt x="131761" y="228250"/>
                    </a:lnTo>
                    <a:lnTo>
                      <a:pt x="133356" y="229712"/>
                    </a:lnTo>
                    <a:lnTo>
                      <a:pt x="133422" y="232088"/>
                    </a:lnTo>
                    <a:lnTo>
                      <a:pt x="122463" y="234449"/>
                    </a:lnTo>
                    <a:lnTo>
                      <a:pt x="116307" y="236890"/>
                    </a:lnTo>
                    <a:lnTo>
                      <a:pt x="113630" y="239139"/>
                    </a:lnTo>
                    <a:lnTo>
                      <a:pt x="112572" y="239338"/>
                    </a:lnTo>
                    <a:lnTo>
                      <a:pt x="104604" y="238108"/>
                    </a:lnTo>
                    <a:lnTo>
                      <a:pt x="97124" y="252732"/>
                    </a:lnTo>
                    <a:lnTo>
                      <a:pt x="96631" y="254300"/>
                    </a:lnTo>
                    <a:lnTo>
                      <a:pt x="96201" y="254405"/>
                    </a:lnTo>
                    <a:lnTo>
                      <a:pt x="91439" y="253131"/>
                    </a:lnTo>
                    <a:lnTo>
                      <a:pt x="86172" y="249784"/>
                    </a:lnTo>
                    <a:lnTo>
                      <a:pt x="69517" y="247034"/>
                    </a:lnTo>
                    <a:lnTo>
                      <a:pt x="68976" y="247047"/>
                    </a:lnTo>
                    <a:lnTo>
                      <a:pt x="67924" y="241606"/>
                    </a:lnTo>
                    <a:lnTo>
                      <a:pt x="54015" y="241943"/>
                    </a:lnTo>
                    <a:lnTo>
                      <a:pt x="54564" y="233858"/>
                    </a:lnTo>
                    <a:lnTo>
                      <a:pt x="53605" y="232934"/>
                    </a:lnTo>
                    <a:lnTo>
                      <a:pt x="41244" y="236777"/>
                    </a:lnTo>
                    <a:lnTo>
                      <a:pt x="37928" y="231603"/>
                    </a:lnTo>
                    <a:lnTo>
                      <a:pt x="35407" y="224120"/>
                    </a:lnTo>
                    <a:lnTo>
                      <a:pt x="35925" y="217633"/>
                    </a:lnTo>
                    <a:lnTo>
                      <a:pt x="38376" y="212801"/>
                    </a:lnTo>
                    <a:lnTo>
                      <a:pt x="35755" y="199092"/>
                    </a:lnTo>
                    <a:lnTo>
                      <a:pt x="29232" y="199961"/>
                    </a:lnTo>
                    <a:lnTo>
                      <a:pt x="27479" y="190249"/>
                    </a:lnTo>
                    <a:lnTo>
                      <a:pt x="34063" y="184681"/>
                    </a:lnTo>
                    <a:lnTo>
                      <a:pt x="35398" y="175522"/>
                    </a:lnTo>
                    <a:lnTo>
                      <a:pt x="27663" y="174118"/>
                    </a:lnTo>
                    <a:lnTo>
                      <a:pt x="21602" y="178378"/>
                    </a:lnTo>
                    <a:lnTo>
                      <a:pt x="17433" y="177720"/>
                    </a:lnTo>
                    <a:lnTo>
                      <a:pt x="10656" y="170562"/>
                    </a:lnTo>
                    <a:lnTo>
                      <a:pt x="0" y="153812"/>
                    </a:lnTo>
                    <a:lnTo>
                      <a:pt x="5594" y="149412"/>
                    </a:lnTo>
                    <a:lnTo>
                      <a:pt x="19378" y="146706"/>
                    </a:lnTo>
                    <a:lnTo>
                      <a:pt x="20399" y="147314"/>
                    </a:lnTo>
                    <a:lnTo>
                      <a:pt x="19539" y="150414"/>
                    </a:lnTo>
                    <a:lnTo>
                      <a:pt x="22143" y="150888"/>
                    </a:lnTo>
                    <a:lnTo>
                      <a:pt x="24575" y="146057"/>
                    </a:lnTo>
                    <a:lnTo>
                      <a:pt x="26895" y="145266"/>
                    </a:lnTo>
                    <a:lnTo>
                      <a:pt x="33460" y="151385"/>
                    </a:lnTo>
                    <a:lnTo>
                      <a:pt x="44131" y="153468"/>
                    </a:lnTo>
                    <a:lnTo>
                      <a:pt x="50487" y="156604"/>
                    </a:lnTo>
                    <a:lnTo>
                      <a:pt x="60749" y="157521"/>
                    </a:lnTo>
                    <a:lnTo>
                      <a:pt x="67491" y="165105"/>
                    </a:lnTo>
                    <a:lnTo>
                      <a:pt x="71340" y="166707"/>
                    </a:lnTo>
                    <a:lnTo>
                      <a:pt x="81957" y="162825"/>
                    </a:lnTo>
                    <a:lnTo>
                      <a:pt x="84398" y="156187"/>
                    </a:lnTo>
                    <a:lnTo>
                      <a:pt x="79013" y="149534"/>
                    </a:lnTo>
                    <a:lnTo>
                      <a:pt x="80317" y="145475"/>
                    </a:lnTo>
                    <a:lnTo>
                      <a:pt x="84742" y="140681"/>
                    </a:lnTo>
                    <a:lnTo>
                      <a:pt x="83191" y="137326"/>
                    </a:lnTo>
                    <a:lnTo>
                      <a:pt x="78502" y="134484"/>
                    </a:lnTo>
                    <a:lnTo>
                      <a:pt x="78716" y="126840"/>
                    </a:lnTo>
                    <a:lnTo>
                      <a:pt x="75745" y="114705"/>
                    </a:lnTo>
                    <a:lnTo>
                      <a:pt x="77798" y="106173"/>
                    </a:lnTo>
                    <a:lnTo>
                      <a:pt x="76052" y="102812"/>
                    </a:lnTo>
                    <a:lnTo>
                      <a:pt x="70233" y="99455"/>
                    </a:lnTo>
                    <a:lnTo>
                      <a:pt x="71214" y="90408"/>
                    </a:lnTo>
                    <a:lnTo>
                      <a:pt x="69280" y="82283"/>
                    </a:lnTo>
                    <a:lnTo>
                      <a:pt x="61713" y="69520"/>
                    </a:lnTo>
                    <a:lnTo>
                      <a:pt x="58760" y="57609"/>
                    </a:lnTo>
                    <a:lnTo>
                      <a:pt x="62532" y="56232"/>
                    </a:lnTo>
                    <a:lnTo>
                      <a:pt x="75137" y="58158"/>
                    </a:lnTo>
                    <a:lnTo>
                      <a:pt x="78292" y="56380"/>
                    </a:lnTo>
                    <a:lnTo>
                      <a:pt x="81682" y="50992"/>
                    </a:lnTo>
                    <a:lnTo>
                      <a:pt x="86489" y="48853"/>
                    </a:lnTo>
                    <a:lnTo>
                      <a:pt x="96510" y="53465"/>
                    </a:lnTo>
                    <a:lnTo>
                      <a:pt x="98957" y="50538"/>
                    </a:lnTo>
                    <a:lnTo>
                      <a:pt x="96008" y="41800"/>
                    </a:lnTo>
                    <a:lnTo>
                      <a:pt x="100315" y="31388"/>
                    </a:lnTo>
                    <a:lnTo>
                      <a:pt x="98443" y="21033"/>
                    </a:lnTo>
                    <a:lnTo>
                      <a:pt x="107898" y="19721"/>
                    </a:lnTo>
                    <a:lnTo>
                      <a:pt x="120750" y="18514"/>
                    </a:lnTo>
                    <a:lnTo>
                      <a:pt x="122012" y="16356"/>
                    </a:lnTo>
                    <a:lnTo>
                      <a:pt x="119700" y="11762"/>
                    </a:lnTo>
                    <a:lnTo>
                      <a:pt x="128393" y="4605"/>
                    </a:lnTo>
                    <a:lnTo>
                      <a:pt x="165191" y="4141"/>
                    </a:lnTo>
                    <a:lnTo>
                      <a:pt x="195244" y="8600"/>
                    </a:lnTo>
                    <a:lnTo>
                      <a:pt x="197467" y="7480"/>
                    </a:lnTo>
                    <a:lnTo>
                      <a:pt x="197162" y="2178"/>
                    </a:lnTo>
                    <a:lnTo>
                      <a:pt x="205118" y="0"/>
                    </a:lnTo>
                    <a:lnTo>
                      <a:pt x="209266" y="1047"/>
                    </a:lnTo>
                    <a:lnTo>
                      <a:pt x="211788" y="530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80" name="Freeform 36">
                <a:extLst>
                  <a:ext uri="{FF2B5EF4-FFF2-40B4-BE49-F238E27FC236}">
                    <a16:creationId xmlns:a16="http://schemas.microsoft.com/office/drawing/2014/main" id="{5981919C-6113-0AB2-2571-3762A619F6F5}"/>
                  </a:ext>
                </a:extLst>
              </p:cNvPr>
              <p:cNvSpPr>
                <a:spLocks noChangeAspect="1"/>
              </p:cNvSpPr>
              <p:nvPr>
                <p:custDataLst>
                  <p:tags r:id="rId36"/>
                </p:custDataLst>
              </p:nvPr>
            </p:nvSpPr>
            <p:spPr>
              <a:xfrm>
                <a:off x="4997572" y="5316469"/>
                <a:ext cx="33698" cy="32491"/>
              </a:xfrm>
              <a:custGeom>
                <a:avLst/>
                <a:gdLst/>
                <a:ahLst/>
                <a:cxnLst/>
                <a:rect l="0" t="0" r="0" b="0"/>
                <a:pathLst>
                  <a:path w="34599" h="33360">
                    <a:moveTo>
                      <a:pt x="32111" y="33359"/>
                    </a:moveTo>
                    <a:lnTo>
                      <a:pt x="32107" y="33355"/>
                    </a:lnTo>
                    <a:lnTo>
                      <a:pt x="27025" y="27473"/>
                    </a:lnTo>
                    <a:lnTo>
                      <a:pt x="3" y="13215"/>
                    </a:lnTo>
                    <a:lnTo>
                      <a:pt x="0" y="13214"/>
                    </a:lnTo>
                    <a:lnTo>
                      <a:pt x="449" y="8058"/>
                    </a:lnTo>
                    <a:lnTo>
                      <a:pt x="1718" y="4805"/>
                    </a:lnTo>
                    <a:lnTo>
                      <a:pt x="5384" y="1997"/>
                    </a:lnTo>
                    <a:lnTo>
                      <a:pt x="11791" y="206"/>
                    </a:lnTo>
                    <a:lnTo>
                      <a:pt x="18922" y="0"/>
                    </a:lnTo>
                    <a:lnTo>
                      <a:pt x="26480" y="3007"/>
                    </a:lnTo>
                    <a:lnTo>
                      <a:pt x="33784" y="8714"/>
                    </a:lnTo>
                    <a:lnTo>
                      <a:pt x="34598" y="13545"/>
                    </a:lnTo>
                    <a:lnTo>
                      <a:pt x="34456" y="20006"/>
                    </a:lnTo>
                    <a:lnTo>
                      <a:pt x="32984" y="2812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81" name="Freeform 37">
                <a:extLst>
                  <a:ext uri="{FF2B5EF4-FFF2-40B4-BE49-F238E27FC236}">
                    <a16:creationId xmlns:a16="http://schemas.microsoft.com/office/drawing/2014/main" id="{B9FF6281-6A35-0B6C-3ED4-50E2FE59DAD3}"/>
                  </a:ext>
                </a:extLst>
              </p:cNvPr>
              <p:cNvSpPr>
                <a:spLocks noChangeAspect="1"/>
              </p:cNvSpPr>
              <p:nvPr>
                <p:custDataLst>
                  <p:tags r:id="rId37"/>
                </p:custDataLst>
              </p:nvPr>
            </p:nvSpPr>
            <p:spPr>
              <a:xfrm>
                <a:off x="5115772" y="4847082"/>
                <a:ext cx="69891" cy="91225"/>
              </a:xfrm>
              <a:custGeom>
                <a:avLst/>
                <a:gdLst/>
                <a:ahLst/>
                <a:cxnLst/>
                <a:rect l="0" t="0" r="0" b="0"/>
                <a:pathLst>
                  <a:path w="71759" h="93664">
                    <a:moveTo>
                      <a:pt x="71758" y="35838"/>
                    </a:moveTo>
                    <a:lnTo>
                      <a:pt x="61606" y="44841"/>
                    </a:lnTo>
                    <a:lnTo>
                      <a:pt x="60794" y="45841"/>
                    </a:lnTo>
                    <a:lnTo>
                      <a:pt x="62559" y="49169"/>
                    </a:lnTo>
                    <a:lnTo>
                      <a:pt x="56794" y="52045"/>
                    </a:lnTo>
                    <a:lnTo>
                      <a:pt x="52730" y="58685"/>
                    </a:lnTo>
                    <a:lnTo>
                      <a:pt x="57518" y="59248"/>
                    </a:lnTo>
                    <a:lnTo>
                      <a:pt x="59545" y="62447"/>
                    </a:lnTo>
                    <a:lnTo>
                      <a:pt x="58855" y="71622"/>
                    </a:lnTo>
                    <a:lnTo>
                      <a:pt x="54461" y="78058"/>
                    </a:lnTo>
                    <a:lnTo>
                      <a:pt x="57776" y="87904"/>
                    </a:lnTo>
                    <a:lnTo>
                      <a:pt x="54339" y="93395"/>
                    </a:lnTo>
                    <a:lnTo>
                      <a:pt x="47466" y="93663"/>
                    </a:lnTo>
                    <a:lnTo>
                      <a:pt x="38948" y="93299"/>
                    </a:lnTo>
                    <a:lnTo>
                      <a:pt x="25405" y="83461"/>
                    </a:lnTo>
                    <a:lnTo>
                      <a:pt x="10922" y="70901"/>
                    </a:lnTo>
                    <a:lnTo>
                      <a:pt x="3687" y="62454"/>
                    </a:lnTo>
                    <a:lnTo>
                      <a:pt x="6170" y="59815"/>
                    </a:lnTo>
                    <a:lnTo>
                      <a:pt x="6064" y="52923"/>
                    </a:lnTo>
                    <a:lnTo>
                      <a:pt x="10943" y="51560"/>
                    </a:lnTo>
                    <a:lnTo>
                      <a:pt x="12634" y="50441"/>
                    </a:lnTo>
                    <a:lnTo>
                      <a:pt x="12466" y="47474"/>
                    </a:lnTo>
                    <a:lnTo>
                      <a:pt x="6675" y="42491"/>
                    </a:lnTo>
                    <a:lnTo>
                      <a:pt x="2991" y="36245"/>
                    </a:lnTo>
                    <a:lnTo>
                      <a:pt x="262" y="34960"/>
                    </a:lnTo>
                    <a:lnTo>
                      <a:pt x="0" y="31157"/>
                    </a:lnTo>
                    <a:lnTo>
                      <a:pt x="12157" y="26367"/>
                    </a:lnTo>
                    <a:lnTo>
                      <a:pt x="15013" y="22321"/>
                    </a:lnTo>
                    <a:lnTo>
                      <a:pt x="14768" y="19257"/>
                    </a:lnTo>
                    <a:lnTo>
                      <a:pt x="16302" y="16752"/>
                    </a:lnTo>
                    <a:lnTo>
                      <a:pt x="23540" y="18495"/>
                    </a:lnTo>
                    <a:lnTo>
                      <a:pt x="26638" y="12433"/>
                    </a:lnTo>
                    <a:lnTo>
                      <a:pt x="34398" y="12455"/>
                    </a:lnTo>
                    <a:lnTo>
                      <a:pt x="51377" y="0"/>
                    </a:lnTo>
                    <a:lnTo>
                      <a:pt x="59431" y="6420"/>
                    </a:lnTo>
                    <a:lnTo>
                      <a:pt x="57420" y="17357"/>
                    </a:lnTo>
                    <a:lnTo>
                      <a:pt x="68052" y="2780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82" name="Freeform 38">
                <a:extLst>
                  <a:ext uri="{FF2B5EF4-FFF2-40B4-BE49-F238E27FC236}">
                    <a16:creationId xmlns:a16="http://schemas.microsoft.com/office/drawing/2014/main" id="{FDA8BA19-7804-0FA8-3CF0-EE7ECEBB0B3B}"/>
                  </a:ext>
                </a:extLst>
              </p:cNvPr>
              <p:cNvSpPr>
                <a:spLocks noChangeAspect="1"/>
              </p:cNvSpPr>
              <p:nvPr>
                <p:custDataLst>
                  <p:tags r:id="rId38"/>
                </p:custDataLst>
              </p:nvPr>
            </p:nvSpPr>
            <p:spPr>
              <a:xfrm>
                <a:off x="4704553" y="4887256"/>
                <a:ext cx="245144" cy="198978"/>
              </a:xfrm>
              <a:custGeom>
                <a:avLst/>
                <a:gdLst/>
                <a:ahLst/>
                <a:cxnLst/>
                <a:rect l="0" t="0" r="0" b="0"/>
                <a:pathLst>
                  <a:path w="251697" h="204297">
                    <a:moveTo>
                      <a:pt x="240324" y="29540"/>
                    </a:moveTo>
                    <a:lnTo>
                      <a:pt x="248776" y="27953"/>
                    </a:lnTo>
                    <a:lnTo>
                      <a:pt x="250903" y="29390"/>
                    </a:lnTo>
                    <a:lnTo>
                      <a:pt x="245989" y="39270"/>
                    </a:lnTo>
                    <a:lnTo>
                      <a:pt x="241919" y="43934"/>
                    </a:lnTo>
                    <a:lnTo>
                      <a:pt x="241840" y="45921"/>
                    </a:lnTo>
                    <a:lnTo>
                      <a:pt x="241040" y="55429"/>
                    </a:lnTo>
                    <a:lnTo>
                      <a:pt x="250119" y="60610"/>
                    </a:lnTo>
                    <a:lnTo>
                      <a:pt x="251682" y="62703"/>
                    </a:lnTo>
                    <a:lnTo>
                      <a:pt x="251696" y="65664"/>
                    </a:lnTo>
                    <a:lnTo>
                      <a:pt x="244041" y="74133"/>
                    </a:lnTo>
                    <a:lnTo>
                      <a:pt x="246228" y="80238"/>
                    </a:lnTo>
                    <a:lnTo>
                      <a:pt x="241547" y="84502"/>
                    </a:lnTo>
                    <a:lnTo>
                      <a:pt x="237544" y="95206"/>
                    </a:lnTo>
                    <a:lnTo>
                      <a:pt x="237295" y="117406"/>
                    </a:lnTo>
                    <a:lnTo>
                      <a:pt x="230401" y="126065"/>
                    </a:lnTo>
                    <a:lnTo>
                      <a:pt x="234462" y="130735"/>
                    </a:lnTo>
                    <a:lnTo>
                      <a:pt x="237708" y="142552"/>
                    </a:lnTo>
                    <a:lnTo>
                      <a:pt x="238878" y="152701"/>
                    </a:lnTo>
                    <a:lnTo>
                      <a:pt x="245892" y="159525"/>
                    </a:lnTo>
                    <a:lnTo>
                      <a:pt x="246677" y="162054"/>
                    </a:lnTo>
                    <a:lnTo>
                      <a:pt x="245527" y="164353"/>
                    </a:lnTo>
                    <a:lnTo>
                      <a:pt x="237412" y="162698"/>
                    </a:lnTo>
                    <a:lnTo>
                      <a:pt x="233171" y="161876"/>
                    </a:lnTo>
                    <a:lnTo>
                      <a:pt x="227801" y="169005"/>
                    </a:lnTo>
                    <a:lnTo>
                      <a:pt x="221858" y="170646"/>
                    </a:lnTo>
                    <a:lnTo>
                      <a:pt x="219830" y="171209"/>
                    </a:lnTo>
                    <a:lnTo>
                      <a:pt x="215290" y="170199"/>
                    </a:lnTo>
                    <a:lnTo>
                      <a:pt x="210611" y="157317"/>
                    </a:lnTo>
                    <a:lnTo>
                      <a:pt x="208144" y="155991"/>
                    </a:lnTo>
                    <a:lnTo>
                      <a:pt x="206875" y="158133"/>
                    </a:lnTo>
                    <a:lnTo>
                      <a:pt x="205888" y="166863"/>
                    </a:lnTo>
                    <a:lnTo>
                      <a:pt x="202170" y="171941"/>
                    </a:lnTo>
                    <a:lnTo>
                      <a:pt x="194081" y="165745"/>
                    </a:lnTo>
                    <a:lnTo>
                      <a:pt x="188938" y="166173"/>
                    </a:lnTo>
                    <a:lnTo>
                      <a:pt x="189221" y="169997"/>
                    </a:lnTo>
                    <a:lnTo>
                      <a:pt x="193636" y="176050"/>
                    </a:lnTo>
                    <a:lnTo>
                      <a:pt x="192357" y="178201"/>
                    </a:lnTo>
                    <a:lnTo>
                      <a:pt x="187330" y="174165"/>
                    </a:lnTo>
                    <a:lnTo>
                      <a:pt x="176703" y="170048"/>
                    </a:lnTo>
                    <a:lnTo>
                      <a:pt x="174483" y="171161"/>
                    </a:lnTo>
                    <a:lnTo>
                      <a:pt x="174837" y="178892"/>
                    </a:lnTo>
                    <a:lnTo>
                      <a:pt x="170210" y="181120"/>
                    </a:lnTo>
                    <a:lnTo>
                      <a:pt x="165440" y="176855"/>
                    </a:lnTo>
                    <a:lnTo>
                      <a:pt x="148903" y="170184"/>
                    </a:lnTo>
                    <a:lnTo>
                      <a:pt x="138810" y="187148"/>
                    </a:lnTo>
                    <a:lnTo>
                      <a:pt x="127675" y="199138"/>
                    </a:lnTo>
                    <a:lnTo>
                      <a:pt x="117462" y="195905"/>
                    </a:lnTo>
                    <a:lnTo>
                      <a:pt x="106110" y="203423"/>
                    </a:lnTo>
                    <a:lnTo>
                      <a:pt x="98610" y="204296"/>
                    </a:lnTo>
                    <a:lnTo>
                      <a:pt x="94836" y="200114"/>
                    </a:lnTo>
                    <a:lnTo>
                      <a:pt x="95045" y="197031"/>
                    </a:lnTo>
                    <a:lnTo>
                      <a:pt x="98051" y="190823"/>
                    </a:lnTo>
                    <a:lnTo>
                      <a:pt x="94886" y="186956"/>
                    </a:lnTo>
                    <a:lnTo>
                      <a:pt x="89681" y="186712"/>
                    </a:lnTo>
                    <a:lnTo>
                      <a:pt x="91622" y="193157"/>
                    </a:lnTo>
                    <a:lnTo>
                      <a:pt x="81263" y="192579"/>
                    </a:lnTo>
                    <a:lnTo>
                      <a:pt x="76324" y="197954"/>
                    </a:lnTo>
                    <a:lnTo>
                      <a:pt x="73426" y="198313"/>
                    </a:lnTo>
                    <a:lnTo>
                      <a:pt x="71731" y="194844"/>
                    </a:lnTo>
                    <a:lnTo>
                      <a:pt x="73228" y="188881"/>
                    </a:lnTo>
                    <a:lnTo>
                      <a:pt x="73672" y="183149"/>
                    </a:lnTo>
                    <a:lnTo>
                      <a:pt x="72734" y="182313"/>
                    </a:lnTo>
                    <a:lnTo>
                      <a:pt x="57057" y="177761"/>
                    </a:lnTo>
                    <a:lnTo>
                      <a:pt x="49062" y="181364"/>
                    </a:lnTo>
                    <a:lnTo>
                      <a:pt x="46986" y="173535"/>
                    </a:lnTo>
                    <a:lnTo>
                      <a:pt x="36299" y="169035"/>
                    </a:lnTo>
                    <a:lnTo>
                      <a:pt x="35504" y="168630"/>
                    </a:lnTo>
                    <a:lnTo>
                      <a:pt x="35481" y="168619"/>
                    </a:lnTo>
                    <a:lnTo>
                      <a:pt x="43973" y="159414"/>
                    </a:lnTo>
                    <a:lnTo>
                      <a:pt x="51922" y="148177"/>
                    </a:lnTo>
                    <a:lnTo>
                      <a:pt x="55976" y="145837"/>
                    </a:lnTo>
                    <a:lnTo>
                      <a:pt x="66069" y="142150"/>
                    </a:lnTo>
                    <a:lnTo>
                      <a:pt x="69890" y="138551"/>
                    </a:lnTo>
                    <a:lnTo>
                      <a:pt x="71665" y="134141"/>
                    </a:lnTo>
                    <a:lnTo>
                      <a:pt x="70987" y="129814"/>
                    </a:lnTo>
                    <a:lnTo>
                      <a:pt x="67465" y="126478"/>
                    </a:lnTo>
                    <a:lnTo>
                      <a:pt x="66536" y="133579"/>
                    </a:lnTo>
                    <a:lnTo>
                      <a:pt x="62337" y="137634"/>
                    </a:lnTo>
                    <a:lnTo>
                      <a:pt x="56911" y="139498"/>
                    </a:lnTo>
                    <a:lnTo>
                      <a:pt x="52218" y="139998"/>
                    </a:lnTo>
                    <a:lnTo>
                      <a:pt x="47791" y="141751"/>
                    </a:lnTo>
                    <a:lnTo>
                      <a:pt x="44590" y="145944"/>
                    </a:lnTo>
                    <a:lnTo>
                      <a:pt x="41784" y="151110"/>
                    </a:lnTo>
                    <a:lnTo>
                      <a:pt x="38490" y="155816"/>
                    </a:lnTo>
                    <a:lnTo>
                      <a:pt x="24489" y="165408"/>
                    </a:lnTo>
                    <a:lnTo>
                      <a:pt x="22280" y="167859"/>
                    </a:lnTo>
                    <a:lnTo>
                      <a:pt x="20172" y="171614"/>
                    </a:lnTo>
                    <a:lnTo>
                      <a:pt x="4928" y="190241"/>
                    </a:lnTo>
                    <a:lnTo>
                      <a:pt x="3137" y="182350"/>
                    </a:lnTo>
                    <a:lnTo>
                      <a:pt x="2977" y="178789"/>
                    </a:lnTo>
                    <a:lnTo>
                      <a:pt x="1750" y="176276"/>
                    </a:lnTo>
                    <a:lnTo>
                      <a:pt x="455" y="174344"/>
                    </a:lnTo>
                    <a:lnTo>
                      <a:pt x="309" y="173161"/>
                    </a:lnTo>
                    <a:lnTo>
                      <a:pt x="875" y="172268"/>
                    </a:lnTo>
                    <a:lnTo>
                      <a:pt x="4608" y="170659"/>
                    </a:lnTo>
                    <a:lnTo>
                      <a:pt x="5585" y="169236"/>
                    </a:lnTo>
                    <a:lnTo>
                      <a:pt x="5548" y="167983"/>
                    </a:lnTo>
                    <a:lnTo>
                      <a:pt x="5088" y="166202"/>
                    </a:lnTo>
                    <a:lnTo>
                      <a:pt x="4306" y="164099"/>
                    </a:lnTo>
                    <a:lnTo>
                      <a:pt x="2473" y="157436"/>
                    </a:lnTo>
                    <a:lnTo>
                      <a:pt x="339" y="152298"/>
                    </a:lnTo>
                    <a:lnTo>
                      <a:pt x="0" y="150316"/>
                    </a:lnTo>
                    <a:lnTo>
                      <a:pt x="131" y="148727"/>
                    </a:lnTo>
                    <a:lnTo>
                      <a:pt x="1648" y="146362"/>
                    </a:lnTo>
                    <a:lnTo>
                      <a:pt x="2415" y="144754"/>
                    </a:lnTo>
                    <a:lnTo>
                      <a:pt x="3180" y="141873"/>
                    </a:lnTo>
                    <a:lnTo>
                      <a:pt x="3243" y="139751"/>
                    </a:lnTo>
                    <a:lnTo>
                      <a:pt x="1668" y="136451"/>
                    </a:lnTo>
                    <a:lnTo>
                      <a:pt x="724" y="133885"/>
                    </a:lnTo>
                    <a:lnTo>
                      <a:pt x="597" y="131084"/>
                    </a:lnTo>
                    <a:lnTo>
                      <a:pt x="964" y="128750"/>
                    </a:lnTo>
                    <a:lnTo>
                      <a:pt x="1775" y="125574"/>
                    </a:lnTo>
                    <a:lnTo>
                      <a:pt x="6796" y="117456"/>
                    </a:lnTo>
                    <a:lnTo>
                      <a:pt x="8423" y="112029"/>
                    </a:lnTo>
                    <a:lnTo>
                      <a:pt x="8079" y="112235"/>
                    </a:lnTo>
                    <a:lnTo>
                      <a:pt x="8252" y="112012"/>
                    </a:lnTo>
                    <a:lnTo>
                      <a:pt x="8307" y="111943"/>
                    </a:lnTo>
                    <a:lnTo>
                      <a:pt x="9521" y="102374"/>
                    </a:lnTo>
                    <a:lnTo>
                      <a:pt x="10868" y="99932"/>
                    </a:lnTo>
                    <a:lnTo>
                      <a:pt x="12441" y="99914"/>
                    </a:lnTo>
                    <a:lnTo>
                      <a:pt x="14736" y="105928"/>
                    </a:lnTo>
                    <a:lnTo>
                      <a:pt x="19884" y="102473"/>
                    </a:lnTo>
                    <a:lnTo>
                      <a:pt x="22864" y="103189"/>
                    </a:lnTo>
                    <a:lnTo>
                      <a:pt x="24437" y="99458"/>
                    </a:lnTo>
                    <a:lnTo>
                      <a:pt x="31022" y="96615"/>
                    </a:lnTo>
                    <a:lnTo>
                      <a:pt x="38324" y="97569"/>
                    </a:lnTo>
                    <a:lnTo>
                      <a:pt x="41508" y="89473"/>
                    </a:lnTo>
                    <a:lnTo>
                      <a:pt x="49865" y="88296"/>
                    </a:lnTo>
                    <a:lnTo>
                      <a:pt x="58253" y="82871"/>
                    </a:lnTo>
                    <a:lnTo>
                      <a:pt x="59070" y="80214"/>
                    </a:lnTo>
                    <a:lnTo>
                      <a:pt x="58288" y="75664"/>
                    </a:lnTo>
                    <a:lnTo>
                      <a:pt x="53298" y="70216"/>
                    </a:lnTo>
                    <a:lnTo>
                      <a:pt x="51891" y="63434"/>
                    </a:lnTo>
                    <a:lnTo>
                      <a:pt x="46867" y="59594"/>
                    </a:lnTo>
                    <a:lnTo>
                      <a:pt x="47378" y="53102"/>
                    </a:lnTo>
                    <a:lnTo>
                      <a:pt x="49995" y="48614"/>
                    </a:lnTo>
                    <a:lnTo>
                      <a:pt x="48835" y="44593"/>
                    </a:lnTo>
                    <a:lnTo>
                      <a:pt x="51395" y="35960"/>
                    </a:lnTo>
                    <a:lnTo>
                      <a:pt x="56011" y="38345"/>
                    </a:lnTo>
                    <a:lnTo>
                      <a:pt x="58919" y="45511"/>
                    </a:lnTo>
                    <a:lnTo>
                      <a:pt x="62801" y="47370"/>
                    </a:lnTo>
                    <a:lnTo>
                      <a:pt x="67424" y="45289"/>
                    </a:lnTo>
                    <a:lnTo>
                      <a:pt x="73060" y="38514"/>
                    </a:lnTo>
                    <a:lnTo>
                      <a:pt x="77135" y="37780"/>
                    </a:lnTo>
                    <a:lnTo>
                      <a:pt x="79457" y="37350"/>
                    </a:lnTo>
                    <a:lnTo>
                      <a:pt x="84883" y="45873"/>
                    </a:lnTo>
                    <a:lnTo>
                      <a:pt x="87670" y="53036"/>
                    </a:lnTo>
                    <a:lnTo>
                      <a:pt x="100945" y="56967"/>
                    </a:lnTo>
                    <a:lnTo>
                      <a:pt x="105062" y="56364"/>
                    </a:lnTo>
                    <a:lnTo>
                      <a:pt x="111041" y="46075"/>
                    </a:lnTo>
                    <a:lnTo>
                      <a:pt x="118906" y="47102"/>
                    </a:lnTo>
                    <a:lnTo>
                      <a:pt x="122336" y="44297"/>
                    </a:lnTo>
                    <a:lnTo>
                      <a:pt x="118399" y="39629"/>
                    </a:lnTo>
                    <a:lnTo>
                      <a:pt x="119571" y="29480"/>
                    </a:lnTo>
                    <a:lnTo>
                      <a:pt x="120900" y="26909"/>
                    </a:lnTo>
                    <a:lnTo>
                      <a:pt x="132605" y="26063"/>
                    </a:lnTo>
                    <a:lnTo>
                      <a:pt x="126174" y="39884"/>
                    </a:lnTo>
                    <a:lnTo>
                      <a:pt x="129381" y="44051"/>
                    </a:lnTo>
                    <a:lnTo>
                      <a:pt x="134978" y="39170"/>
                    </a:lnTo>
                    <a:lnTo>
                      <a:pt x="143014" y="39018"/>
                    </a:lnTo>
                    <a:lnTo>
                      <a:pt x="152681" y="41810"/>
                    </a:lnTo>
                    <a:lnTo>
                      <a:pt x="166590" y="31540"/>
                    </a:lnTo>
                    <a:lnTo>
                      <a:pt x="173289" y="29821"/>
                    </a:lnTo>
                    <a:lnTo>
                      <a:pt x="178862" y="30966"/>
                    </a:lnTo>
                    <a:lnTo>
                      <a:pt x="182228" y="29196"/>
                    </a:lnTo>
                    <a:lnTo>
                      <a:pt x="188203" y="30349"/>
                    </a:lnTo>
                    <a:lnTo>
                      <a:pt x="196659" y="37902"/>
                    </a:lnTo>
                    <a:lnTo>
                      <a:pt x="199405" y="37741"/>
                    </a:lnTo>
                    <a:lnTo>
                      <a:pt x="200870" y="33365"/>
                    </a:lnTo>
                    <a:lnTo>
                      <a:pt x="200159" y="27633"/>
                    </a:lnTo>
                    <a:lnTo>
                      <a:pt x="195099" y="20541"/>
                    </a:lnTo>
                    <a:lnTo>
                      <a:pt x="191421" y="18708"/>
                    </a:lnTo>
                    <a:lnTo>
                      <a:pt x="191572" y="17006"/>
                    </a:lnTo>
                    <a:lnTo>
                      <a:pt x="196245" y="12972"/>
                    </a:lnTo>
                    <a:lnTo>
                      <a:pt x="203132" y="14407"/>
                    </a:lnTo>
                    <a:lnTo>
                      <a:pt x="211221" y="2757"/>
                    </a:lnTo>
                    <a:lnTo>
                      <a:pt x="215981" y="0"/>
                    </a:lnTo>
                    <a:lnTo>
                      <a:pt x="221016" y="6139"/>
                    </a:lnTo>
                    <a:lnTo>
                      <a:pt x="226013" y="7717"/>
                    </a:lnTo>
                    <a:lnTo>
                      <a:pt x="228353" y="15183"/>
                    </a:lnTo>
                    <a:lnTo>
                      <a:pt x="236240" y="28052"/>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83" name="Freeform 39">
                <a:extLst>
                  <a:ext uri="{FF2B5EF4-FFF2-40B4-BE49-F238E27FC236}">
                    <a16:creationId xmlns:a16="http://schemas.microsoft.com/office/drawing/2014/main" id="{4CF65F67-51C2-F558-538F-4280EB9319D5}"/>
                  </a:ext>
                </a:extLst>
              </p:cNvPr>
              <p:cNvSpPr>
                <a:spLocks noChangeAspect="1"/>
              </p:cNvSpPr>
              <p:nvPr>
                <p:custDataLst>
                  <p:tags r:id="rId39"/>
                </p:custDataLst>
              </p:nvPr>
            </p:nvSpPr>
            <p:spPr>
              <a:xfrm>
                <a:off x="5056758" y="4893710"/>
                <a:ext cx="160596" cy="218512"/>
              </a:xfrm>
              <a:custGeom>
                <a:avLst/>
                <a:gdLst/>
                <a:ahLst/>
                <a:cxnLst/>
                <a:rect l="0" t="0" r="0" b="0"/>
                <a:pathLst>
                  <a:path w="164889" h="224353">
                    <a:moveTo>
                      <a:pt x="56492" y="20687"/>
                    </a:moveTo>
                    <a:lnTo>
                      <a:pt x="59127" y="20039"/>
                    </a:lnTo>
                    <a:lnTo>
                      <a:pt x="64278" y="14580"/>
                    </a:lnTo>
                    <a:lnTo>
                      <a:pt x="71513" y="23027"/>
                    </a:lnTo>
                    <a:lnTo>
                      <a:pt x="85996" y="35587"/>
                    </a:lnTo>
                    <a:lnTo>
                      <a:pt x="99539" y="45425"/>
                    </a:lnTo>
                    <a:lnTo>
                      <a:pt x="108057" y="45789"/>
                    </a:lnTo>
                    <a:lnTo>
                      <a:pt x="114930" y="45521"/>
                    </a:lnTo>
                    <a:lnTo>
                      <a:pt x="112020" y="50158"/>
                    </a:lnTo>
                    <a:lnTo>
                      <a:pt x="108324" y="63044"/>
                    </a:lnTo>
                    <a:lnTo>
                      <a:pt x="114756" y="65243"/>
                    </a:lnTo>
                    <a:lnTo>
                      <a:pt x="123438" y="72548"/>
                    </a:lnTo>
                    <a:lnTo>
                      <a:pt x="128703" y="70954"/>
                    </a:lnTo>
                    <a:lnTo>
                      <a:pt x="138967" y="80203"/>
                    </a:lnTo>
                    <a:lnTo>
                      <a:pt x="141622" y="86160"/>
                    </a:lnTo>
                    <a:lnTo>
                      <a:pt x="145744" y="90545"/>
                    </a:lnTo>
                    <a:lnTo>
                      <a:pt x="145993" y="93410"/>
                    </a:lnTo>
                    <a:lnTo>
                      <a:pt x="141629" y="92739"/>
                    </a:lnTo>
                    <a:lnTo>
                      <a:pt x="135438" y="100734"/>
                    </a:lnTo>
                    <a:lnTo>
                      <a:pt x="127186" y="97884"/>
                    </a:lnTo>
                    <a:lnTo>
                      <a:pt x="117716" y="97617"/>
                    </a:lnTo>
                    <a:lnTo>
                      <a:pt x="112143" y="91039"/>
                    </a:lnTo>
                    <a:lnTo>
                      <a:pt x="113143" y="88134"/>
                    </a:lnTo>
                    <a:lnTo>
                      <a:pt x="112398" y="85724"/>
                    </a:lnTo>
                    <a:lnTo>
                      <a:pt x="105948" y="83426"/>
                    </a:lnTo>
                    <a:lnTo>
                      <a:pt x="103212" y="84055"/>
                    </a:lnTo>
                    <a:lnTo>
                      <a:pt x="99507" y="92059"/>
                    </a:lnTo>
                    <a:lnTo>
                      <a:pt x="104563" y="98977"/>
                    </a:lnTo>
                    <a:lnTo>
                      <a:pt x="107660" y="99282"/>
                    </a:lnTo>
                    <a:lnTo>
                      <a:pt x="112165" y="103790"/>
                    </a:lnTo>
                    <a:lnTo>
                      <a:pt x="113490" y="107452"/>
                    </a:lnTo>
                    <a:lnTo>
                      <a:pt x="113666" y="113807"/>
                    </a:lnTo>
                    <a:lnTo>
                      <a:pt x="116579" y="117842"/>
                    </a:lnTo>
                    <a:lnTo>
                      <a:pt x="123943" y="121265"/>
                    </a:lnTo>
                    <a:lnTo>
                      <a:pt x="134002" y="120766"/>
                    </a:lnTo>
                    <a:lnTo>
                      <a:pt x="139965" y="127005"/>
                    </a:lnTo>
                    <a:lnTo>
                      <a:pt x="145383" y="124117"/>
                    </a:lnTo>
                    <a:lnTo>
                      <a:pt x="148931" y="125572"/>
                    </a:lnTo>
                    <a:lnTo>
                      <a:pt x="149761" y="128087"/>
                    </a:lnTo>
                    <a:lnTo>
                      <a:pt x="144087" y="132883"/>
                    </a:lnTo>
                    <a:lnTo>
                      <a:pt x="143606" y="135866"/>
                    </a:lnTo>
                    <a:lnTo>
                      <a:pt x="146538" y="141495"/>
                    </a:lnTo>
                    <a:lnTo>
                      <a:pt x="147349" y="148575"/>
                    </a:lnTo>
                    <a:lnTo>
                      <a:pt x="154523" y="146680"/>
                    </a:lnTo>
                    <a:lnTo>
                      <a:pt x="156880" y="147965"/>
                    </a:lnTo>
                    <a:lnTo>
                      <a:pt x="156738" y="150955"/>
                    </a:lnTo>
                    <a:lnTo>
                      <a:pt x="151026" y="161375"/>
                    </a:lnTo>
                    <a:lnTo>
                      <a:pt x="150869" y="167546"/>
                    </a:lnTo>
                    <a:lnTo>
                      <a:pt x="152795" y="174054"/>
                    </a:lnTo>
                    <a:lnTo>
                      <a:pt x="159024" y="180208"/>
                    </a:lnTo>
                    <a:lnTo>
                      <a:pt x="164888" y="195632"/>
                    </a:lnTo>
                    <a:lnTo>
                      <a:pt x="162658" y="216972"/>
                    </a:lnTo>
                    <a:lnTo>
                      <a:pt x="159886" y="223430"/>
                    </a:lnTo>
                    <a:lnTo>
                      <a:pt x="156205" y="224352"/>
                    </a:lnTo>
                    <a:lnTo>
                      <a:pt x="154106" y="219776"/>
                    </a:lnTo>
                    <a:lnTo>
                      <a:pt x="154321" y="215183"/>
                    </a:lnTo>
                    <a:lnTo>
                      <a:pt x="153167" y="212801"/>
                    </a:lnTo>
                    <a:lnTo>
                      <a:pt x="145129" y="213969"/>
                    </a:lnTo>
                    <a:lnTo>
                      <a:pt x="143939" y="207231"/>
                    </a:lnTo>
                    <a:lnTo>
                      <a:pt x="142146" y="205289"/>
                    </a:lnTo>
                    <a:lnTo>
                      <a:pt x="139519" y="205710"/>
                    </a:lnTo>
                    <a:lnTo>
                      <a:pt x="138219" y="207995"/>
                    </a:lnTo>
                    <a:lnTo>
                      <a:pt x="130681" y="204582"/>
                    </a:lnTo>
                    <a:lnTo>
                      <a:pt x="124144" y="206322"/>
                    </a:lnTo>
                    <a:lnTo>
                      <a:pt x="122978" y="208799"/>
                    </a:lnTo>
                    <a:lnTo>
                      <a:pt x="124734" y="215110"/>
                    </a:lnTo>
                    <a:lnTo>
                      <a:pt x="126589" y="218691"/>
                    </a:lnTo>
                    <a:lnTo>
                      <a:pt x="120555" y="219739"/>
                    </a:lnTo>
                    <a:lnTo>
                      <a:pt x="116463" y="218949"/>
                    </a:lnTo>
                    <a:lnTo>
                      <a:pt x="110905" y="214167"/>
                    </a:lnTo>
                    <a:lnTo>
                      <a:pt x="111201" y="210264"/>
                    </a:lnTo>
                    <a:lnTo>
                      <a:pt x="113539" y="205433"/>
                    </a:lnTo>
                    <a:lnTo>
                      <a:pt x="114035" y="197927"/>
                    </a:lnTo>
                    <a:lnTo>
                      <a:pt x="111223" y="194264"/>
                    </a:lnTo>
                    <a:lnTo>
                      <a:pt x="105905" y="192877"/>
                    </a:lnTo>
                    <a:lnTo>
                      <a:pt x="100175" y="193600"/>
                    </a:lnTo>
                    <a:lnTo>
                      <a:pt x="96107" y="196242"/>
                    </a:lnTo>
                    <a:lnTo>
                      <a:pt x="92861" y="195890"/>
                    </a:lnTo>
                    <a:lnTo>
                      <a:pt x="75947" y="201968"/>
                    </a:lnTo>
                    <a:lnTo>
                      <a:pt x="70569" y="200781"/>
                    </a:lnTo>
                    <a:lnTo>
                      <a:pt x="67305" y="199012"/>
                    </a:lnTo>
                    <a:lnTo>
                      <a:pt x="66191" y="200178"/>
                    </a:lnTo>
                    <a:lnTo>
                      <a:pt x="55227" y="192007"/>
                    </a:lnTo>
                    <a:lnTo>
                      <a:pt x="55881" y="187846"/>
                    </a:lnTo>
                    <a:lnTo>
                      <a:pt x="59721" y="184520"/>
                    </a:lnTo>
                    <a:lnTo>
                      <a:pt x="59891" y="181650"/>
                    </a:lnTo>
                    <a:lnTo>
                      <a:pt x="58368" y="179689"/>
                    </a:lnTo>
                    <a:lnTo>
                      <a:pt x="54578" y="180673"/>
                    </a:lnTo>
                    <a:lnTo>
                      <a:pt x="51619" y="173548"/>
                    </a:lnTo>
                    <a:lnTo>
                      <a:pt x="54711" y="167493"/>
                    </a:lnTo>
                    <a:lnTo>
                      <a:pt x="51807" y="163665"/>
                    </a:lnTo>
                    <a:lnTo>
                      <a:pt x="55520" y="162162"/>
                    </a:lnTo>
                    <a:lnTo>
                      <a:pt x="56455" y="155008"/>
                    </a:lnTo>
                    <a:lnTo>
                      <a:pt x="58518" y="153869"/>
                    </a:lnTo>
                    <a:lnTo>
                      <a:pt x="67084" y="155695"/>
                    </a:lnTo>
                    <a:lnTo>
                      <a:pt x="67635" y="154291"/>
                    </a:lnTo>
                    <a:lnTo>
                      <a:pt x="65303" y="148114"/>
                    </a:lnTo>
                    <a:lnTo>
                      <a:pt x="66670" y="141903"/>
                    </a:lnTo>
                    <a:lnTo>
                      <a:pt x="64543" y="135934"/>
                    </a:lnTo>
                    <a:lnTo>
                      <a:pt x="57714" y="126934"/>
                    </a:lnTo>
                    <a:lnTo>
                      <a:pt x="44835" y="121443"/>
                    </a:lnTo>
                    <a:lnTo>
                      <a:pt x="38934" y="124195"/>
                    </a:lnTo>
                    <a:lnTo>
                      <a:pt x="32466" y="123252"/>
                    </a:lnTo>
                    <a:lnTo>
                      <a:pt x="27327" y="126941"/>
                    </a:lnTo>
                    <a:lnTo>
                      <a:pt x="21169" y="124057"/>
                    </a:lnTo>
                    <a:lnTo>
                      <a:pt x="17624" y="115900"/>
                    </a:lnTo>
                    <a:lnTo>
                      <a:pt x="10707" y="113571"/>
                    </a:lnTo>
                    <a:lnTo>
                      <a:pt x="9116" y="100568"/>
                    </a:lnTo>
                    <a:lnTo>
                      <a:pt x="5472" y="95493"/>
                    </a:lnTo>
                    <a:lnTo>
                      <a:pt x="6111" y="92923"/>
                    </a:lnTo>
                    <a:lnTo>
                      <a:pt x="8223" y="91373"/>
                    </a:lnTo>
                    <a:lnTo>
                      <a:pt x="19409" y="96416"/>
                    </a:lnTo>
                    <a:lnTo>
                      <a:pt x="24552" y="92728"/>
                    </a:lnTo>
                    <a:lnTo>
                      <a:pt x="24009" y="88302"/>
                    </a:lnTo>
                    <a:lnTo>
                      <a:pt x="20511" y="81615"/>
                    </a:lnTo>
                    <a:lnTo>
                      <a:pt x="20309" y="75469"/>
                    </a:lnTo>
                    <a:lnTo>
                      <a:pt x="16782" y="71873"/>
                    </a:lnTo>
                    <a:lnTo>
                      <a:pt x="15611" y="68297"/>
                    </a:lnTo>
                    <a:lnTo>
                      <a:pt x="16723" y="59976"/>
                    </a:lnTo>
                    <a:lnTo>
                      <a:pt x="23206" y="52006"/>
                    </a:lnTo>
                    <a:lnTo>
                      <a:pt x="22829" y="50537"/>
                    </a:lnTo>
                    <a:lnTo>
                      <a:pt x="16862" y="50421"/>
                    </a:lnTo>
                    <a:lnTo>
                      <a:pt x="14741" y="47411"/>
                    </a:lnTo>
                    <a:lnTo>
                      <a:pt x="16117" y="41419"/>
                    </a:lnTo>
                    <a:lnTo>
                      <a:pt x="21163" y="31799"/>
                    </a:lnTo>
                    <a:lnTo>
                      <a:pt x="19919" y="30428"/>
                    </a:lnTo>
                    <a:lnTo>
                      <a:pt x="7996" y="25945"/>
                    </a:lnTo>
                    <a:lnTo>
                      <a:pt x="0" y="22947"/>
                    </a:lnTo>
                    <a:lnTo>
                      <a:pt x="5159" y="16182"/>
                    </a:lnTo>
                    <a:lnTo>
                      <a:pt x="10266" y="12627"/>
                    </a:lnTo>
                    <a:lnTo>
                      <a:pt x="24251" y="8437"/>
                    </a:lnTo>
                    <a:lnTo>
                      <a:pt x="27241" y="4088"/>
                    </a:lnTo>
                    <a:lnTo>
                      <a:pt x="34884" y="4477"/>
                    </a:lnTo>
                    <a:lnTo>
                      <a:pt x="44341" y="0"/>
                    </a:lnTo>
                    <a:lnTo>
                      <a:pt x="46581" y="662"/>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84" name="Freeform 40">
                <a:extLst>
                  <a:ext uri="{FF2B5EF4-FFF2-40B4-BE49-F238E27FC236}">
                    <a16:creationId xmlns:a16="http://schemas.microsoft.com/office/drawing/2014/main" id="{7F5FFA18-128C-864E-5182-1CD86A598843}"/>
                  </a:ext>
                </a:extLst>
              </p:cNvPr>
              <p:cNvSpPr>
                <a:spLocks noChangeAspect="1"/>
              </p:cNvSpPr>
              <p:nvPr>
                <p:custDataLst>
                  <p:tags r:id="rId40"/>
                </p:custDataLst>
              </p:nvPr>
            </p:nvSpPr>
            <p:spPr>
              <a:xfrm>
                <a:off x="5153675" y="4887759"/>
                <a:ext cx="212856" cy="181468"/>
              </a:xfrm>
              <a:custGeom>
                <a:avLst/>
                <a:gdLst/>
                <a:ahLst/>
                <a:cxnLst/>
                <a:rect l="0" t="0" r="0" b="0"/>
                <a:pathLst>
                  <a:path w="218546" h="186319">
                    <a:moveTo>
                      <a:pt x="143154" y="18794"/>
                    </a:moveTo>
                    <a:lnTo>
                      <a:pt x="152761" y="12806"/>
                    </a:lnTo>
                    <a:lnTo>
                      <a:pt x="161510" y="10054"/>
                    </a:lnTo>
                    <a:lnTo>
                      <a:pt x="165533" y="5392"/>
                    </a:lnTo>
                    <a:lnTo>
                      <a:pt x="168262" y="6130"/>
                    </a:lnTo>
                    <a:lnTo>
                      <a:pt x="180433" y="7846"/>
                    </a:lnTo>
                    <a:lnTo>
                      <a:pt x="188042" y="23096"/>
                    </a:lnTo>
                    <a:lnTo>
                      <a:pt x="188848" y="30379"/>
                    </a:lnTo>
                    <a:lnTo>
                      <a:pt x="195694" y="33753"/>
                    </a:lnTo>
                    <a:lnTo>
                      <a:pt x="196901" y="42193"/>
                    </a:lnTo>
                    <a:lnTo>
                      <a:pt x="199987" y="49154"/>
                    </a:lnTo>
                    <a:lnTo>
                      <a:pt x="201526" y="59078"/>
                    </a:lnTo>
                    <a:lnTo>
                      <a:pt x="204646" y="67619"/>
                    </a:lnTo>
                    <a:lnTo>
                      <a:pt x="215902" y="64615"/>
                    </a:lnTo>
                    <a:lnTo>
                      <a:pt x="215062" y="68789"/>
                    </a:lnTo>
                    <a:lnTo>
                      <a:pt x="217954" y="71310"/>
                    </a:lnTo>
                    <a:lnTo>
                      <a:pt x="218545" y="73829"/>
                    </a:lnTo>
                    <a:lnTo>
                      <a:pt x="212850" y="80812"/>
                    </a:lnTo>
                    <a:lnTo>
                      <a:pt x="213155" y="89622"/>
                    </a:lnTo>
                    <a:lnTo>
                      <a:pt x="217392" y="92687"/>
                    </a:lnTo>
                    <a:lnTo>
                      <a:pt x="211233" y="97153"/>
                    </a:lnTo>
                    <a:lnTo>
                      <a:pt x="210279" y="103053"/>
                    </a:lnTo>
                    <a:lnTo>
                      <a:pt x="198785" y="108614"/>
                    </a:lnTo>
                    <a:lnTo>
                      <a:pt x="181768" y="112975"/>
                    </a:lnTo>
                    <a:lnTo>
                      <a:pt x="174007" y="126813"/>
                    </a:lnTo>
                    <a:lnTo>
                      <a:pt x="172353" y="148258"/>
                    </a:lnTo>
                    <a:lnTo>
                      <a:pt x="139750" y="145258"/>
                    </a:lnTo>
                    <a:lnTo>
                      <a:pt x="137546" y="150458"/>
                    </a:lnTo>
                    <a:lnTo>
                      <a:pt x="135959" y="152223"/>
                    </a:lnTo>
                    <a:lnTo>
                      <a:pt x="134161" y="154222"/>
                    </a:lnTo>
                    <a:lnTo>
                      <a:pt x="127788" y="156105"/>
                    </a:lnTo>
                    <a:lnTo>
                      <a:pt x="123910" y="159364"/>
                    </a:lnTo>
                    <a:lnTo>
                      <a:pt x="120960" y="153964"/>
                    </a:lnTo>
                    <a:lnTo>
                      <a:pt x="118665" y="152685"/>
                    </a:lnTo>
                    <a:lnTo>
                      <a:pt x="117099" y="154574"/>
                    </a:lnTo>
                    <a:lnTo>
                      <a:pt x="115392" y="163563"/>
                    </a:lnTo>
                    <a:lnTo>
                      <a:pt x="106144" y="166188"/>
                    </a:lnTo>
                    <a:lnTo>
                      <a:pt x="99755" y="167992"/>
                    </a:lnTo>
                    <a:lnTo>
                      <a:pt x="87499" y="176173"/>
                    </a:lnTo>
                    <a:lnTo>
                      <a:pt x="81359" y="176278"/>
                    </a:lnTo>
                    <a:lnTo>
                      <a:pt x="73724" y="176436"/>
                    </a:lnTo>
                    <a:lnTo>
                      <a:pt x="67396" y="178402"/>
                    </a:lnTo>
                    <a:lnTo>
                      <a:pt x="64657" y="175969"/>
                    </a:lnTo>
                    <a:lnTo>
                      <a:pt x="61983" y="176615"/>
                    </a:lnTo>
                    <a:lnTo>
                      <a:pt x="61159" y="183652"/>
                    </a:lnTo>
                    <a:lnTo>
                      <a:pt x="59517" y="186318"/>
                    </a:lnTo>
                    <a:lnTo>
                      <a:pt x="53288" y="180164"/>
                    </a:lnTo>
                    <a:lnTo>
                      <a:pt x="51362" y="173656"/>
                    </a:lnTo>
                    <a:lnTo>
                      <a:pt x="51519" y="167485"/>
                    </a:lnTo>
                    <a:lnTo>
                      <a:pt x="57231" y="157065"/>
                    </a:lnTo>
                    <a:lnTo>
                      <a:pt x="57373" y="154075"/>
                    </a:lnTo>
                    <a:lnTo>
                      <a:pt x="55016" y="152790"/>
                    </a:lnTo>
                    <a:lnTo>
                      <a:pt x="47842" y="154685"/>
                    </a:lnTo>
                    <a:lnTo>
                      <a:pt x="47031" y="147605"/>
                    </a:lnTo>
                    <a:lnTo>
                      <a:pt x="44099" y="141976"/>
                    </a:lnTo>
                    <a:lnTo>
                      <a:pt x="44580" y="138993"/>
                    </a:lnTo>
                    <a:lnTo>
                      <a:pt x="50254" y="134197"/>
                    </a:lnTo>
                    <a:lnTo>
                      <a:pt x="49424" y="131682"/>
                    </a:lnTo>
                    <a:lnTo>
                      <a:pt x="45876" y="130227"/>
                    </a:lnTo>
                    <a:lnTo>
                      <a:pt x="40458" y="133115"/>
                    </a:lnTo>
                    <a:lnTo>
                      <a:pt x="34495" y="126876"/>
                    </a:lnTo>
                    <a:lnTo>
                      <a:pt x="24436" y="127375"/>
                    </a:lnTo>
                    <a:lnTo>
                      <a:pt x="17072" y="123952"/>
                    </a:lnTo>
                    <a:lnTo>
                      <a:pt x="14159" y="119917"/>
                    </a:lnTo>
                    <a:lnTo>
                      <a:pt x="13983" y="113562"/>
                    </a:lnTo>
                    <a:lnTo>
                      <a:pt x="12658" y="109900"/>
                    </a:lnTo>
                    <a:lnTo>
                      <a:pt x="8153" y="105392"/>
                    </a:lnTo>
                    <a:lnTo>
                      <a:pt x="5056" y="105087"/>
                    </a:lnTo>
                    <a:lnTo>
                      <a:pt x="0" y="98169"/>
                    </a:lnTo>
                    <a:lnTo>
                      <a:pt x="3705" y="90165"/>
                    </a:lnTo>
                    <a:lnTo>
                      <a:pt x="6441" y="89536"/>
                    </a:lnTo>
                    <a:lnTo>
                      <a:pt x="12891" y="91834"/>
                    </a:lnTo>
                    <a:lnTo>
                      <a:pt x="13636" y="94244"/>
                    </a:lnTo>
                    <a:lnTo>
                      <a:pt x="12636" y="97149"/>
                    </a:lnTo>
                    <a:lnTo>
                      <a:pt x="18209" y="103727"/>
                    </a:lnTo>
                    <a:lnTo>
                      <a:pt x="27679" y="103994"/>
                    </a:lnTo>
                    <a:lnTo>
                      <a:pt x="35931" y="106844"/>
                    </a:lnTo>
                    <a:lnTo>
                      <a:pt x="42122" y="98849"/>
                    </a:lnTo>
                    <a:lnTo>
                      <a:pt x="46486" y="99520"/>
                    </a:lnTo>
                    <a:lnTo>
                      <a:pt x="51147" y="106006"/>
                    </a:lnTo>
                    <a:lnTo>
                      <a:pt x="52793" y="106046"/>
                    </a:lnTo>
                    <a:lnTo>
                      <a:pt x="56516" y="100805"/>
                    </a:lnTo>
                    <a:lnTo>
                      <a:pt x="58384" y="93289"/>
                    </a:lnTo>
                    <a:lnTo>
                      <a:pt x="62381" y="88448"/>
                    </a:lnTo>
                    <a:lnTo>
                      <a:pt x="65154" y="88015"/>
                    </a:lnTo>
                    <a:lnTo>
                      <a:pt x="65258" y="88011"/>
                    </a:lnTo>
                    <a:lnTo>
                      <a:pt x="73254" y="89253"/>
                    </a:lnTo>
                    <a:lnTo>
                      <a:pt x="82666" y="96081"/>
                    </a:lnTo>
                    <a:lnTo>
                      <a:pt x="86311" y="95292"/>
                    </a:lnTo>
                    <a:lnTo>
                      <a:pt x="87773" y="91187"/>
                    </a:lnTo>
                    <a:lnTo>
                      <a:pt x="91783" y="88257"/>
                    </a:lnTo>
                    <a:lnTo>
                      <a:pt x="92780" y="85446"/>
                    </a:lnTo>
                    <a:lnTo>
                      <a:pt x="89657" y="79950"/>
                    </a:lnTo>
                    <a:lnTo>
                      <a:pt x="89145" y="74134"/>
                    </a:lnTo>
                    <a:lnTo>
                      <a:pt x="84446" y="70080"/>
                    </a:lnTo>
                    <a:lnTo>
                      <a:pt x="83347" y="64299"/>
                    </a:lnTo>
                    <a:lnTo>
                      <a:pt x="79888" y="59231"/>
                    </a:lnTo>
                    <a:lnTo>
                      <a:pt x="76367" y="54077"/>
                    </a:lnTo>
                    <a:lnTo>
                      <a:pt x="76184" y="46547"/>
                    </a:lnTo>
                    <a:lnTo>
                      <a:pt x="78790" y="40161"/>
                    </a:lnTo>
                    <a:lnTo>
                      <a:pt x="81364" y="37392"/>
                    </a:lnTo>
                    <a:lnTo>
                      <a:pt x="82507" y="45958"/>
                    </a:lnTo>
                    <a:lnTo>
                      <a:pt x="83461" y="48346"/>
                    </a:lnTo>
                    <a:lnTo>
                      <a:pt x="85087" y="48178"/>
                    </a:lnTo>
                    <a:lnTo>
                      <a:pt x="88854" y="42807"/>
                    </a:lnTo>
                    <a:lnTo>
                      <a:pt x="86701" y="38336"/>
                    </a:lnTo>
                    <a:lnTo>
                      <a:pt x="87709" y="35852"/>
                    </a:lnTo>
                    <a:lnTo>
                      <a:pt x="96230" y="34509"/>
                    </a:lnTo>
                    <a:lnTo>
                      <a:pt x="101093" y="30578"/>
                    </a:lnTo>
                    <a:lnTo>
                      <a:pt x="106863" y="35420"/>
                    </a:lnTo>
                    <a:lnTo>
                      <a:pt x="109637" y="35928"/>
                    </a:lnTo>
                    <a:lnTo>
                      <a:pt x="113524" y="28974"/>
                    </a:lnTo>
                    <a:lnTo>
                      <a:pt x="121776" y="23382"/>
                    </a:lnTo>
                    <a:lnTo>
                      <a:pt x="120519" y="15693"/>
                    </a:lnTo>
                    <a:lnTo>
                      <a:pt x="124868" y="9227"/>
                    </a:lnTo>
                    <a:lnTo>
                      <a:pt x="131032" y="5327"/>
                    </a:lnTo>
                    <a:lnTo>
                      <a:pt x="133597" y="0"/>
                    </a:lnTo>
                    <a:lnTo>
                      <a:pt x="136594" y="1354"/>
                    </a:lnTo>
                    <a:lnTo>
                      <a:pt x="137375" y="4083"/>
                    </a:lnTo>
                    <a:lnTo>
                      <a:pt x="136534" y="9855"/>
                    </a:lnTo>
                    <a:lnTo>
                      <a:pt x="140652" y="12942"/>
                    </a:lnTo>
                    <a:lnTo>
                      <a:pt x="141175" y="1716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85" name="Freeform 41">
                <a:extLst>
                  <a:ext uri="{FF2B5EF4-FFF2-40B4-BE49-F238E27FC236}">
                    <a16:creationId xmlns:a16="http://schemas.microsoft.com/office/drawing/2014/main" id="{E5427A0C-D0AD-2D13-D8F0-56C8739C0E2D}"/>
                  </a:ext>
                </a:extLst>
              </p:cNvPr>
              <p:cNvSpPr>
                <a:spLocks noChangeAspect="1"/>
              </p:cNvSpPr>
              <p:nvPr>
                <p:custDataLst>
                  <p:tags r:id="rId41"/>
                </p:custDataLst>
              </p:nvPr>
            </p:nvSpPr>
            <p:spPr>
              <a:xfrm>
                <a:off x="4698903" y="5144624"/>
                <a:ext cx="101514" cy="55396"/>
              </a:xfrm>
              <a:custGeom>
                <a:avLst/>
                <a:gdLst/>
                <a:ahLst/>
                <a:cxnLst/>
                <a:rect l="0" t="0" r="0" b="0"/>
                <a:pathLst>
                  <a:path w="104228" h="56877">
                    <a:moveTo>
                      <a:pt x="101529" y="36456"/>
                    </a:moveTo>
                    <a:lnTo>
                      <a:pt x="88363" y="46196"/>
                    </a:lnTo>
                    <a:lnTo>
                      <a:pt x="74224" y="46614"/>
                    </a:lnTo>
                    <a:lnTo>
                      <a:pt x="69998" y="53257"/>
                    </a:lnTo>
                    <a:lnTo>
                      <a:pt x="61667" y="56876"/>
                    </a:lnTo>
                    <a:lnTo>
                      <a:pt x="54417" y="55909"/>
                    </a:lnTo>
                    <a:lnTo>
                      <a:pt x="53226" y="50733"/>
                    </a:lnTo>
                    <a:lnTo>
                      <a:pt x="42082" y="46839"/>
                    </a:lnTo>
                    <a:lnTo>
                      <a:pt x="35523" y="48410"/>
                    </a:lnTo>
                    <a:lnTo>
                      <a:pt x="29743" y="53463"/>
                    </a:lnTo>
                    <a:lnTo>
                      <a:pt x="22700" y="53545"/>
                    </a:lnTo>
                    <a:lnTo>
                      <a:pt x="19557" y="51459"/>
                    </a:lnTo>
                    <a:lnTo>
                      <a:pt x="18243" y="47643"/>
                    </a:lnTo>
                    <a:lnTo>
                      <a:pt x="12593" y="46127"/>
                    </a:lnTo>
                    <a:lnTo>
                      <a:pt x="11223" y="42628"/>
                    </a:lnTo>
                    <a:lnTo>
                      <a:pt x="604" y="39719"/>
                    </a:lnTo>
                    <a:lnTo>
                      <a:pt x="702" y="37132"/>
                    </a:lnTo>
                    <a:lnTo>
                      <a:pt x="0" y="31011"/>
                    </a:lnTo>
                    <a:lnTo>
                      <a:pt x="1243" y="26903"/>
                    </a:lnTo>
                    <a:lnTo>
                      <a:pt x="3149" y="26883"/>
                    </a:lnTo>
                    <a:lnTo>
                      <a:pt x="5746" y="29935"/>
                    </a:lnTo>
                    <a:lnTo>
                      <a:pt x="8316" y="31438"/>
                    </a:lnTo>
                    <a:lnTo>
                      <a:pt x="11192" y="31407"/>
                    </a:lnTo>
                    <a:lnTo>
                      <a:pt x="14377" y="30347"/>
                    </a:lnTo>
                    <a:lnTo>
                      <a:pt x="16274" y="28284"/>
                    </a:lnTo>
                    <a:lnTo>
                      <a:pt x="18429" y="21104"/>
                    </a:lnTo>
                    <a:lnTo>
                      <a:pt x="19265" y="15717"/>
                    </a:lnTo>
                    <a:lnTo>
                      <a:pt x="25728" y="16413"/>
                    </a:lnTo>
                    <a:lnTo>
                      <a:pt x="36264" y="16288"/>
                    </a:lnTo>
                    <a:lnTo>
                      <a:pt x="41633" y="11129"/>
                    </a:lnTo>
                    <a:lnTo>
                      <a:pt x="44435" y="5458"/>
                    </a:lnTo>
                    <a:lnTo>
                      <a:pt x="45530" y="1387"/>
                    </a:lnTo>
                    <a:lnTo>
                      <a:pt x="50184" y="6401"/>
                    </a:lnTo>
                    <a:lnTo>
                      <a:pt x="57221" y="6820"/>
                    </a:lnTo>
                    <a:lnTo>
                      <a:pt x="64880" y="6716"/>
                    </a:lnTo>
                    <a:lnTo>
                      <a:pt x="75411" y="7079"/>
                    </a:lnTo>
                    <a:lnTo>
                      <a:pt x="92575" y="2222"/>
                    </a:lnTo>
                    <a:lnTo>
                      <a:pt x="103218" y="0"/>
                    </a:lnTo>
                    <a:lnTo>
                      <a:pt x="104227" y="8067"/>
                    </a:lnTo>
                    <a:lnTo>
                      <a:pt x="101914" y="13089"/>
                    </a:lnTo>
                    <a:lnTo>
                      <a:pt x="103661" y="18272"/>
                    </a:lnTo>
                    <a:lnTo>
                      <a:pt x="91002" y="28223"/>
                    </a:lnTo>
                    <a:lnTo>
                      <a:pt x="92570" y="29896"/>
                    </a:lnTo>
                    <a:lnTo>
                      <a:pt x="99870" y="30631"/>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86" name="Freeform 42">
                <a:extLst>
                  <a:ext uri="{FF2B5EF4-FFF2-40B4-BE49-F238E27FC236}">
                    <a16:creationId xmlns:a16="http://schemas.microsoft.com/office/drawing/2014/main" id="{95F1750A-8AED-0C6B-8C1A-BDCD9334C10F}"/>
                  </a:ext>
                </a:extLst>
              </p:cNvPr>
              <p:cNvSpPr>
                <a:spLocks noChangeAspect="1"/>
              </p:cNvSpPr>
              <p:nvPr>
                <p:custDataLst>
                  <p:tags r:id="rId42"/>
                </p:custDataLst>
              </p:nvPr>
            </p:nvSpPr>
            <p:spPr>
              <a:xfrm>
                <a:off x="4694976" y="5104559"/>
                <a:ext cx="49216" cy="56052"/>
              </a:xfrm>
              <a:custGeom>
                <a:avLst/>
                <a:gdLst/>
                <a:ahLst/>
                <a:cxnLst/>
                <a:rect l="0" t="0" r="0" b="0"/>
                <a:pathLst>
                  <a:path w="50532" h="57550">
                    <a:moveTo>
                      <a:pt x="49562" y="42523"/>
                    </a:moveTo>
                    <a:lnTo>
                      <a:pt x="48467" y="46594"/>
                    </a:lnTo>
                    <a:lnTo>
                      <a:pt x="45665" y="52265"/>
                    </a:lnTo>
                    <a:lnTo>
                      <a:pt x="40296" y="57424"/>
                    </a:lnTo>
                    <a:lnTo>
                      <a:pt x="29760" y="57549"/>
                    </a:lnTo>
                    <a:lnTo>
                      <a:pt x="23297" y="56853"/>
                    </a:lnTo>
                    <a:lnTo>
                      <a:pt x="23660" y="54559"/>
                    </a:lnTo>
                    <a:lnTo>
                      <a:pt x="23924" y="49957"/>
                    </a:lnTo>
                    <a:lnTo>
                      <a:pt x="23851" y="43307"/>
                    </a:lnTo>
                    <a:lnTo>
                      <a:pt x="23800" y="38707"/>
                    </a:lnTo>
                    <a:lnTo>
                      <a:pt x="23744" y="33596"/>
                    </a:lnTo>
                    <a:lnTo>
                      <a:pt x="20511" y="29033"/>
                    </a:lnTo>
                    <a:lnTo>
                      <a:pt x="14721" y="24497"/>
                    </a:lnTo>
                    <a:lnTo>
                      <a:pt x="10559" y="22507"/>
                    </a:lnTo>
                    <a:lnTo>
                      <a:pt x="5742" y="19478"/>
                    </a:lnTo>
                    <a:lnTo>
                      <a:pt x="1653" y="15266"/>
                    </a:lnTo>
                    <a:lnTo>
                      <a:pt x="12" y="13535"/>
                    </a:lnTo>
                    <a:lnTo>
                      <a:pt x="0" y="13522"/>
                    </a:lnTo>
                    <a:lnTo>
                      <a:pt x="3074" y="12208"/>
                    </a:lnTo>
                    <a:lnTo>
                      <a:pt x="7846" y="7171"/>
                    </a:lnTo>
                    <a:lnTo>
                      <a:pt x="11913" y="0"/>
                    </a:lnTo>
                    <a:lnTo>
                      <a:pt x="11921" y="12"/>
                    </a:lnTo>
                    <a:lnTo>
                      <a:pt x="12607" y="1070"/>
                    </a:lnTo>
                    <a:lnTo>
                      <a:pt x="14827" y="4046"/>
                    </a:lnTo>
                    <a:lnTo>
                      <a:pt x="22202" y="8565"/>
                    </a:lnTo>
                    <a:lnTo>
                      <a:pt x="31163" y="12559"/>
                    </a:lnTo>
                    <a:lnTo>
                      <a:pt x="37576" y="16568"/>
                    </a:lnTo>
                    <a:lnTo>
                      <a:pt x="43646" y="18537"/>
                    </a:lnTo>
                    <a:lnTo>
                      <a:pt x="47804" y="18997"/>
                    </a:lnTo>
                    <a:lnTo>
                      <a:pt x="50390" y="22043"/>
                    </a:lnTo>
                    <a:lnTo>
                      <a:pt x="50441" y="26120"/>
                    </a:lnTo>
                    <a:lnTo>
                      <a:pt x="50531" y="33274"/>
                    </a:lnTo>
                    <a:lnTo>
                      <a:pt x="49986" y="4095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87" name="Freeform 43">
                <a:extLst>
                  <a:ext uri="{FF2B5EF4-FFF2-40B4-BE49-F238E27FC236}">
                    <a16:creationId xmlns:a16="http://schemas.microsoft.com/office/drawing/2014/main" id="{DBFD4AD4-0CB9-1B4B-A6B2-1C067DF6A036}"/>
                  </a:ext>
                </a:extLst>
              </p:cNvPr>
              <p:cNvSpPr>
                <a:spLocks noChangeAspect="1"/>
              </p:cNvSpPr>
              <p:nvPr>
                <p:custDataLst>
                  <p:tags r:id="rId43"/>
                </p:custDataLst>
              </p:nvPr>
            </p:nvSpPr>
            <p:spPr>
              <a:xfrm>
                <a:off x="4634449" y="5117729"/>
                <a:ext cx="83829" cy="78399"/>
              </a:xfrm>
              <a:custGeom>
                <a:avLst/>
                <a:gdLst/>
                <a:ahLst/>
                <a:cxnLst/>
                <a:rect l="0" t="0" r="0" b="0"/>
                <a:pathLst>
                  <a:path w="86070" h="80495">
                    <a:moveTo>
                      <a:pt x="85442" y="43331"/>
                    </a:moveTo>
                    <a:lnTo>
                      <a:pt x="84606" y="48718"/>
                    </a:lnTo>
                    <a:lnTo>
                      <a:pt x="82451" y="55898"/>
                    </a:lnTo>
                    <a:lnTo>
                      <a:pt x="80554" y="57961"/>
                    </a:lnTo>
                    <a:lnTo>
                      <a:pt x="77369" y="59021"/>
                    </a:lnTo>
                    <a:lnTo>
                      <a:pt x="74493" y="59052"/>
                    </a:lnTo>
                    <a:lnTo>
                      <a:pt x="71923" y="57549"/>
                    </a:lnTo>
                    <a:lnTo>
                      <a:pt x="69326" y="54497"/>
                    </a:lnTo>
                    <a:lnTo>
                      <a:pt x="67420" y="54517"/>
                    </a:lnTo>
                    <a:lnTo>
                      <a:pt x="66177" y="58625"/>
                    </a:lnTo>
                    <a:lnTo>
                      <a:pt x="66879" y="64746"/>
                    </a:lnTo>
                    <a:lnTo>
                      <a:pt x="66781" y="67333"/>
                    </a:lnTo>
                    <a:lnTo>
                      <a:pt x="62559" y="66151"/>
                    </a:lnTo>
                    <a:lnTo>
                      <a:pt x="43038" y="64634"/>
                    </a:lnTo>
                    <a:lnTo>
                      <a:pt x="41597" y="66561"/>
                    </a:lnTo>
                    <a:lnTo>
                      <a:pt x="42200" y="67838"/>
                    </a:lnTo>
                    <a:lnTo>
                      <a:pt x="48555" y="73605"/>
                    </a:lnTo>
                    <a:lnTo>
                      <a:pt x="49362" y="74762"/>
                    </a:lnTo>
                    <a:lnTo>
                      <a:pt x="48645" y="76150"/>
                    </a:lnTo>
                    <a:lnTo>
                      <a:pt x="37104" y="77316"/>
                    </a:lnTo>
                    <a:lnTo>
                      <a:pt x="26990" y="74634"/>
                    </a:lnTo>
                    <a:lnTo>
                      <a:pt x="25894" y="80168"/>
                    </a:lnTo>
                    <a:lnTo>
                      <a:pt x="24643" y="80494"/>
                    </a:lnTo>
                    <a:lnTo>
                      <a:pt x="14978" y="75689"/>
                    </a:lnTo>
                    <a:lnTo>
                      <a:pt x="8428" y="79118"/>
                    </a:lnTo>
                    <a:lnTo>
                      <a:pt x="3967" y="77983"/>
                    </a:lnTo>
                    <a:lnTo>
                      <a:pt x="3390" y="70674"/>
                    </a:lnTo>
                    <a:lnTo>
                      <a:pt x="922" y="68875"/>
                    </a:lnTo>
                    <a:lnTo>
                      <a:pt x="785" y="68716"/>
                    </a:lnTo>
                    <a:lnTo>
                      <a:pt x="215" y="67339"/>
                    </a:lnTo>
                    <a:lnTo>
                      <a:pt x="0" y="67066"/>
                    </a:lnTo>
                    <a:lnTo>
                      <a:pt x="19" y="67019"/>
                    </a:lnTo>
                    <a:lnTo>
                      <a:pt x="883" y="63548"/>
                    </a:lnTo>
                    <a:lnTo>
                      <a:pt x="993" y="57612"/>
                    </a:lnTo>
                    <a:lnTo>
                      <a:pt x="2857" y="54087"/>
                    </a:lnTo>
                    <a:lnTo>
                      <a:pt x="6157" y="50600"/>
                    </a:lnTo>
                    <a:lnTo>
                      <a:pt x="7659" y="47032"/>
                    </a:lnTo>
                    <a:lnTo>
                      <a:pt x="4033" y="43247"/>
                    </a:lnTo>
                    <a:lnTo>
                      <a:pt x="9181" y="37759"/>
                    </a:lnTo>
                    <a:lnTo>
                      <a:pt x="16811" y="39261"/>
                    </a:lnTo>
                    <a:lnTo>
                      <a:pt x="25530" y="30587"/>
                    </a:lnTo>
                    <a:lnTo>
                      <a:pt x="41511" y="8824"/>
                    </a:lnTo>
                    <a:lnTo>
                      <a:pt x="45724" y="5351"/>
                    </a:lnTo>
                    <a:lnTo>
                      <a:pt x="49916" y="2842"/>
                    </a:lnTo>
                    <a:lnTo>
                      <a:pt x="54581" y="1354"/>
                    </a:lnTo>
                    <a:lnTo>
                      <a:pt x="60194" y="834"/>
                    </a:lnTo>
                    <a:lnTo>
                      <a:pt x="62145" y="0"/>
                    </a:lnTo>
                    <a:lnTo>
                      <a:pt x="62157" y="13"/>
                    </a:lnTo>
                    <a:lnTo>
                      <a:pt x="63798" y="1744"/>
                    </a:lnTo>
                    <a:lnTo>
                      <a:pt x="67887" y="5956"/>
                    </a:lnTo>
                    <a:lnTo>
                      <a:pt x="72704" y="8985"/>
                    </a:lnTo>
                    <a:lnTo>
                      <a:pt x="76866" y="10975"/>
                    </a:lnTo>
                    <a:lnTo>
                      <a:pt x="82656" y="15511"/>
                    </a:lnTo>
                    <a:lnTo>
                      <a:pt x="85889" y="20074"/>
                    </a:lnTo>
                    <a:lnTo>
                      <a:pt x="85945" y="25185"/>
                    </a:lnTo>
                    <a:lnTo>
                      <a:pt x="85996" y="29785"/>
                    </a:lnTo>
                    <a:lnTo>
                      <a:pt x="86069" y="36435"/>
                    </a:lnTo>
                    <a:lnTo>
                      <a:pt x="85805" y="4103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88" name="Freeform 44">
                <a:extLst>
                  <a:ext uri="{FF2B5EF4-FFF2-40B4-BE49-F238E27FC236}">
                    <a16:creationId xmlns:a16="http://schemas.microsoft.com/office/drawing/2014/main" id="{C4382C1F-CC92-9257-2A53-51E03227947C}"/>
                  </a:ext>
                </a:extLst>
              </p:cNvPr>
              <p:cNvSpPr>
                <a:spLocks noChangeAspect="1"/>
              </p:cNvSpPr>
              <p:nvPr>
                <p:custDataLst>
                  <p:tags r:id="rId44"/>
                </p:custDataLst>
              </p:nvPr>
            </p:nvSpPr>
            <p:spPr>
              <a:xfrm>
                <a:off x="4706578" y="5051485"/>
                <a:ext cx="100471" cy="100034"/>
              </a:xfrm>
              <a:custGeom>
                <a:avLst/>
                <a:gdLst/>
                <a:ahLst/>
                <a:cxnLst/>
                <a:rect l="0" t="0" r="0" b="0"/>
                <a:pathLst>
                  <a:path w="103157" h="102708">
                    <a:moveTo>
                      <a:pt x="46982" y="12745"/>
                    </a:moveTo>
                    <a:lnTo>
                      <a:pt x="54977" y="9142"/>
                    </a:lnTo>
                    <a:lnTo>
                      <a:pt x="70654" y="13694"/>
                    </a:lnTo>
                    <a:lnTo>
                      <a:pt x="71592" y="14530"/>
                    </a:lnTo>
                    <a:lnTo>
                      <a:pt x="71148" y="20262"/>
                    </a:lnTo>
                    <a:lnTo>
                      <a:pt x="69651" y="26225"/>
                    </a:lnTo>
                    <a:lnTo>
                      <a:pt x="71346" y="29694"/>
                    </a:lnTo>
                    <a:lnTo>
                      <a:pt x="74244" y="29335"/>
                    </a:lnTo>
                    <a:lnTo>
                      <a:pt x="79183" y="23960"/>
                    </a:lnTo>
                    <a:lnTo>
                      <a:pt x="89542" y="24538"/>
                    </a:lnTo>
                    <a:lnTo>
                      <a:pt x="87601" y="18093"/>
                    </a:lnTo>
                    <a:lnTo>
                      <a:pt x="92806" y="18337"/>
                    </a:lnTo>
                    <a:lnTo>
                      <a:pt x="95971" y="22204"/>
                    </a:lnTo>
                    <a:lnTo>
                      <a:pt x="92965" y="28412"/>
                    </a:lnTo>
                    <a:lnTo>
                      <a:pt x="92756" y="31495"/>
                    </a:lnTo>
                    <a:lnTo>
                      <a:pt x="96530" y="35677"/>
                    </a:lnTo>
                    <a:lnTo>
                      <a:pt x="99012" y="39249"/>
                    </a:lnTo>
                    <a:lnTo>
                      <a:pt x="99010" y="47096"/>
                    </a:lnTo>
                    <a:lnTo>
                      <a:pt x="103156" y="57954"/>
                    </a:lnTo>
                    <a:lnTo>
                      <a:pt x="94813" y="61389"/>
                    </a:lnTo>
                    <a:lnTo>
                      <a:pt x="87113" y="67659"/>
                    </a:lnTo>
                    <a:lnTo>
                      <a:pt x="85456" y="71506"/>
                    </a:lnTo>
                    <a:lnTo>
                      <a:pt x="87786" y="72950"/>
                    </a:lnTo>
                    <a:lnTo>
                      <a:pt x="93461" y="72345"/>
                    </a:lnTo>
                    <a:lnTo>
                      <a:pt x="94631" y="74755"/>
                    </a:lnTo>
                    <a:lnTo>
                      <a:pt x="93474" y="80617"/>
                    </a:lnTo>
                    <a:lnTo>
                      <a:pt x="95337" y="95628"/>
                    </a:lnTo>
                    <a:lnTo>
                      <a:pt x="84694" y="97850"/>
                    </a:lnTo>
                    <a:lnTo>
                      <a:pt x="67530" y="102707"/>
                    </a:lnTo>
                    <a:lnTo>
                      <a:pt x="56999" y="102344"/>
                    </a:lnTo>
                    <a:lnTo>
                      <a:pt x="49340" y="102448"/>
                    </a:lnTo>
                    <a:lnTo>
                      <a:pt x="42303" y="102029"/>
                    </a:lnTo>
                    <a:lnTo>
                      <a:pt x="37649" y="97015"/>
                    </a:lnTo>
                    <a:lnTo>
                      <a:pt x="38073" y="95451"/>
                    </a:lnTo>
                    <a:lnTo>
                      <a:pt x="38618" y="87766"/>
                    </a:lnTo>
                    <a:lnTo>
                      <a:pt x="38528" y="80612"/>
                    </a:lnTo>
                    <a:lnTo>
                      <a:pt x="38477" y="76535"/>
                    </a:lnTo>
                    <a:lnTo>
                      <a:pt x="35891" y="73489"/>
                    </a:lnTo>
                    <a:lnTo>
                      <a:pt x="31733" y="73029"/>
                    </a:lnTo>
                    <a:lnTo>
                      <a:pt x="25663" y="71060"/>
                    </a:lnTo>
                    <a:lnTo>
                      <a:pt x="19250" y="67051"/>
                    </a:lnTo>
                    <a:lnTo>
                      <a:pt x="10289" y="63057"/>
                    </a:lnTo>
                    <a:lnTo>
                      <a:pt x="2914" y="58538"/>
                    </a:lnTo>
                    <a:lnTo>
                      <a:pt x="694" y="55562"/>
                    </a:lnTo>
                    <a:lnTo>
                      <a:pt x="8" y="54504"/>
                    </a:lnTo>
                    <a:lnTo>
                      <a:pt x="0" y="54492"/>
                    </a:lnTo>
                    <a:lnTo>
                      <a:pt x="16539" y="25254"/>
                    </a:lnTo>
                    <a:lnTo>
                      <a:pt x="18473" y="23693"/>
                    </a:lnTo>
                    <a:lnTo>
                      <a:pt x="20923" y="22577"/>
                    </a:lnTo>
                    <a:lnTo>
                      <a:pt x="22990" y="20874"/>
                    </a:lnTo>
                    <a:lnTo>
                      <a:pt x="23810" y="17475"/>
                    </a:lnTo>
                    <a:lnTo>
                      <a:pt x="24333" y="14330"/>
                    </a:lnTo>
                    <a:lnTo>
                      <a:pt x="25594" y="10786"/>
                    </a:lnTo>
                    <a:lnTo>
                      <a:pt x="27148" y="7550"/>
                    </a:lnTo>
                    <a:lnTo>
                      <a:pt x="28511" y="5294"/>
                    </a:lnTo>
                    <a:lnTo>
                      <a:pt x="33401" y="0"/>
                    </a:lnTo>
                    <a:lnTo>
                      <a:pt x="33424" y="11"/>
                    </a:lnTo>
                    <a:lnTo>
                      <a:pt x="34219" y="416"/>
                    </a:lnTo>
                    <a:lnTo>
                      <a:pt x="44906" y="491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89" name="Freeform 45">
                <a:extLst>
                  <a:ext uri="{FF2B5EF4-FFF2-40B4-BE49-F238E27FC236}">
                    <a16:creationId xmlns:a16="http://schemas.microsoft.com/office/drawing/2014/main" id="{8E4D3B30-E55A-B16B-D422-5725BDB08A22}"/>
                  </a:ext>
                </a:extLst>
              </p:cNvPr>
              <p:cNvSpPr>
                <a:spLocks noChangeAspect="1"/>
              </p:cNvSpPr>
              <p:nvPr>
                <p:custDataLst>
                  <p:tags r:id="rId45"/>
                </p:custDataLst>
              </p:nvPr>
            </p:nvSpPr>
            <p:spPr>
              <a:xfrm>
                <a:off x="4439806" y="5179459"/>
                <a:ext cx="370912" cy="189290"/>
              </a:xfrm>
              <a:custGeom>
                <a:avLst/>
                <a:gdLst/>
                <a:ahLst/>
                <a:cxnLst/>
                <a:rect l="0" t="0" r="0" b="0"/>
                <a:pathLst>
                  <a:path w="380827" h="194350">
                    <a:moveTo>
                      <a:pt x="266627" y="3952"/>
                    </a:moveTo>
                    <a:lnTo>
                      <a:pt x="277246" y="6861"/>
                    </a:lnTo>
                    <a:lnTo>
                      <a:pt x="278616" y="10360"/>
                    </a:lnTo>
                    <a:lnTo>
                      <a:pt x="284266" y="11876"/>
                    </a:lnTo>
                    <a:lnTo>
                      <a:pt x="285580" y="15692"/>
                    </a:lnTo>
                    <a:lnTo>
                      <a:pt x="288723" y="17778"/>
                    </a:lnTo>
                    <a:lnTo>
                      <a:pt x="295766" y="17696"/>
                    </a:lnTo>
                    <a:lnTo>
                      <a:pt x="301546" y="12643"/>
                    </a:lnTo>
                    <a:lnTo>
                      <a:pt x="308105" y="11072"/>
                    </a:lnTo>
                    <a:lnTo>
                      <a:pt x="319249" y="14966"/>
                    </a:lnTo>
                    <a:lnTo>
                      <a:pt x="320440" y="20142"/>
                    </a:lnTo>
                    <a:lnTo>
                      <a:pt x="327690" y="21109"/>
                    </a:lnTo>
                    <a:lnTo>
                      <a:pt x="336021" y="17490"/>
                    </a:lnTo>
                    <a:lnTo>
                      <a:pt x="340247" y="10847"/>
                    </a:lnTo>
                    <a:lnTo>
                      <a:pt x="354386" y="10429"/>
                    </a:lnTo>
                    <a:lnTo>
                      <a:pt x="367552" y="689"/>
                    </a:lnTo>
                    <a:lnTo>
                      <a:pt x="369887" y="0"/>
                    </a:lnTo>
                    <a:lnTo>
                      <a:pt x="373134" y="3886"/>
                    </a:lnTo>
                    <a:lnTo>
                      <a:pt x="371341" y="7626"/>
                    </a:lnTo>
                    <a:lnTo>
                      <a:pt x="372265" y="11736"/>
                    </a:lnTo>
                    <a:lnTo>
                      <a:pt x="379100" y="15660"/>
                    </a:lnTo>
                    <a:lnTo>
                      <a:pt x="380826" y="23694"/>
                    </a:lnTo>
                    <a:lnTo>
                      <a:pt x="377028" y="31180"/>
                    </a:lnTo>
                    <a:lnTo>
                      <a:pt x="373989" y="44929"/>
                    </a:lnTo>
                    <a:lnTo>
                      <a:pt x="354685" y="80032"/>
                    </a:lnTo>
                    <a:lnTo>
                      <a:pt x="354024" y="84818"/>
                    </a:lnTo>
                    <a:lnTo>
                      <a:pt x="355149" y="88729"/>
                    </a:lnTo>
                    <a:lnTo>
                      <a:pt x="361420" y="93073"/>
                    </a:lnTo>
                    <a:lnTo>
                      <a:pt x="358257" y="100228"/>
                    </a:lnTo>
                    <a:lnTo>
                      <a:pt x="361057" y="108790"/>
                    </a:lnTo>
                    <a:lnTo>
                      <a:pt x="351580" y="118794"/>
                    </a:lnTo>
                    <a:lnTo>
                      <a:pt x="349900" y="122539"/>
                    </a:lnTo>
                    <a:lnTo>
                      <a:pt x="350142" y="125496"/>
                    </a:lnTo>
                    <a:lnTo>
                      <a:pt x="357811" y="128991"/>
                    </a:lnTo>
                    <a:lnTo>
                      <a:pt x="358128" y="131434"/>
                    </a:lnTo>
                    <a:lnTo>
                      <a:pt x="343112" y="138447"/>
                    </a:lnTo>
                    <a:lnTo>
                      <a:pt x="335395" y="136544"/>
                    </a:lnTo>
                    <a:lnTo>
                      <a:pt x="334254" y="137290"/>
                    </a:lnTo>
                    <a:lnTo>
                      <a:pt x="333409" y="143361"/>
                    </a:lnTo>
                    <a:lnTo>
                      <a:pt x="330877" y="143929"/>
                    </a:lnTo>
                    <a:lnTo>
                      <a:pt x="326265" y="139630"/>
                    </a:lnTo>
                    <a:lnTo>
                      <a:pt x="320021" y="127299"/>
                    </a:lnTo>
                    <a:lnTo>
                      <a:pt x="308899" y="124896"/>
                    </a:lnTo>
                    <a:lnTo>
                      <a:pt x="308096" y="125873"/>
                    </a:lnTo>
                    <a:lnTo>
                      <a:pt x="308892" y="129988"/>
                    </a:lnTo>
                    <a:lnTo>
                      <a:pt x="307066" y="133839"/>
                    </a:lnTo>
                    <a:lnTo>
                      <a:pt x="304457" y="134601"/>
                    </a:lnTo>
                    <a:lnTo>
                      <a:pt x="301357" y="132311"/>
                    </a:lnTo>
                    <a:lnTo>
                      <a:pt x="295309" y="134828"/>
                    </a:lnTo>
                    <a:lnTo>
                      <a:pt x="296324" y="142020"/>
                    </a:lnTo>
                    <a:lnTo>
                      <a:pt x="294041" y="147040"/>
                    </a:lnTo>
                    <a:lnTo>
                      <a:pt x="293853" y="154680"/>
                    </a:lnTo>
                    <a:lnTo>
                      <a:pt x="291436" y="159701"/>
                    </a:lnTo>
                    <a:lnTo>
                      <a:pt x="293537" y="167631"/>
                    </a:lnTo>
                    <a:lnTo>
                      <a:pt x="291951" y="169563"/>
                    </a:lnTo>
                    <a:lnTo>
                      <a:pt x="282635" y="169233"/>
                    </a:lnTo>
                    <a:lnTo>
                      <a:pt x="267822" y="176492"/>
                    </a:lnTo>
                    <a:lnTo>
                      <a:pt x="257176" y="176911"/>
                    </a:lnTo>
                    <a:lnTo>
                      <a:pt x="249972" y="181753"/>
                    </a:lnTo>
                    <a:lnTo>
                      <a:pt x="245392" y="179248"/>
                    </a:lnTo>
                    <a:lnTo>
                      <a:pt x="241677" y="182575"/>
                    </a:lnTo>
                    <a:lnTo>
                      <a:pt x="218307" y="187219"/>
                    </a:lnTo>
                    <a:lnTo>
                      <a:pt x="211529" y="194349"/>
                    </a:lnTo>
                    <a:lnTo>
                      <a:pt x="208009" y="183677"/>
                    </a:lnTo>
                    <a:lnTo>
                      <a:pt x="204506" y="180089"/>
                    </a:lnTo>
                    <a:lnTo>
                      <a:pt x="200552" y="180961"/>
                    </a:lnTo>
                    <a:lnTo>
                      <a:pt x="198261" y="179594"/>
                    </a:lnTo>
                    <a:lnTo>
                      <a:pt x="191715" y="183342"/>
                    </a:lnTo>
                    <a:lnTo>
                      <a:pt x="192415" y="176864"/>
                    </a:lnTo>
                    <a:lnTo>
                      <a:pt x="187303" y="173400"/>
                    </a:lnTo>
                    <a:lnTo>
                      <a:pt x="188401" y="165224"/>
                    </a:lnTo>
                    <a:lnTo>
                      <a:pt x="187453" y="162684"/>
                    </a:lnTo>
                    <a:lnTo>
                      <a:pt x="177189" y="161886"/>
                    </a:lnTo>
                    <a:lnTo>
                      <a:pt x="163350" y="166190"/>
                    </a:lnTo>
                    <a:lnTo>
                      <a:pt x="155949" y="159428"/>
                    </a:lnTo>
                    <a:lnTo>
                      <a:pt x="160934" y="146464"/>
                    </a:lnTo>
                    <a:lnTo>
                      <a:pt x="145410" y="148331"/>
                    </a:lnTo>
                    <a:lnTo>
                      <a:pt x="134165" y="146978"/>
                    </a:lnTo>
                    <a:lnTo>
                      <a:pt x="121363" y="135013"/>
                    </a:lnTo>
                    <a:lnTo>
                      <a:pt x="109532" y="134286"/>
                    </a:lnTo>
                    <a:lnTo>
                      <a:pt x="108728" y="123670"/>
                    </a:lnTo>
                    <a:lnTo>
                      <a:pt x="107185" y="120276"/>
                    </a:lnTo>
                    <a:lnTo>
                      <a:pt x="102511" y="119431"/>
                    </a:lnTo>
                    <a:lnTo>
                      <a:pt x="97091" y="115721"/>
                    </a:lnTo>
                    <a:lnTo>
                      <a:pt x="91748" y="116885"/>
                    </a:lnTo>
                    <a:lnTo>
                      <a:pt x="84406" y="113172"/>
                    </a:lnTo>
                    <a:lnTo>
                      <a:pt x="76458" y="115276"/>
                    </a:lnTo>
                    <a:lnTo>
                      <a:pt x="74778" y="117188"/>
                    </a:lnTo>
                    <a:lnTo>
                      <a:pt x="74113" y="121962"/>
                    </a:lnTo>
                    <a:lnTo>
                      <a:pt x="71431" y="124189"/>
                    </a:lnTo>
                    <a:lnTo>
                      <a:pt x="54397" y="122359"/>
                    </a:lnTo>
                    <a:lnTo>
                      <a:pt x="52475" y="117579"/>
                    </a:lnTo>
                    <a:lnTo>
                      <a:pt x="55695" y="111962"/>
                    </a:lnTo>
                    <a:lnTo>
                      <a:pt x="57236" y="106027"/>
                    </a:lnTo>
                    <a:lnTo>
                      <a:pt x="55313" y="102845"/>
                    </a:lnTo>
                    <a:lnTo>
                      <a:pt x="45632" y="103133"/>
                    </a:lnTo>
                    <a:lnTo>
                      <a:pt x="35576" y="95345"/>
                    </a:lnTo>
                    <a:lnTo>
                      <a:pt x="26641" y="95113"/>
                    </a:lnTo>
                    <a:lnTo>
                      <a:pt x="18273" y="85939"/>
                    </a:lnTo>
                    <a:lnTo>
                      <a:pt x="12481" y="84333"/>
                    </a:lnTo>
                    <a:lnTo>
                      <a:pt x="3388" y="77496"/>
                    </a:lnTo>
                    <a:lnTo>
                      <a:pt x="272" y="72486"/>
                    </a:lnTo>
                    <a:lnTo>
                      <a:pt x="0" y="61235"/>
                    </a:lnTo>
                    <a:lnTo>
                      <a:pt x="1486" y="59014"/>
                    </a:lnTo>
                    <a:lnTo>
                      <a:pt x="13661" y="60577"/>
                    </a:lnTo>
                    <a:lnTo>
                      <a:pt x="24719" y="58614"/>
                    </a:lnTo>
                    <a:lnTo>
                      <a:pt x="26364" y="48418"/>
                    </a:lnTo>
                    <a:lnTo>
                      <a:pt x="25782" y="42376"/>
                    </a:lnTo>
                    <a:lnTo>
                      <a:pt x="26941" y="38849"/>
                    </a:lnTo>
                    <a:lnTo>
                      <a:pt x="27197" y="38199"/>
                    </a:lnTo>
                    <a:lnTo>
                      <a:pt x="27677" y="35811"/>
                    </a:lnTo>
                    <a:lnTo>
                      <a:pt x="27681" y="35789"/>
                    </a:lnTo>
                    <a:lnTo>
                      <a:pt x="45014" y="40411"/>
                    </a:lnTo>
                    <a:lnTo>
                      <a:pt x="64276" y="39806"/>
                    </a:lnTo>
                    <a:lnTo>
                      <a:pt x="94232" y="46829"/>
                    </a:lnTo>
                    <a:lnTo>
                      <a:pt x="101378" y="53605"/>
                    </a:lnTo>
                    <a:lnTo>
                      <a:pt x="106020" y="55825"/>
                    </a:lnTo>
                    <a:lnTo>
                      <a:pt x="133398" y="54575"/>
                    </a:lnTo>
                    <a:lnTo>
                      <a:pt x="150600" y="49121"/>
                    </a:lnTo>
                    <a:lnTo>
                      <a:pt x="159252" y="47879"/>
                    </a:lnTo>
                    <a:lnTo>
                      <a:pt x="175064" y="48652"/>
                    </a:lnTo>
                    <a:lnTo>
                      <a:pt x="184453" y="47223"/>
                    </a:lnTo>
                    <a:lnTo>
                      <a:pt x="191192" y="42509"/>
                    </a:lnTo>
                    <a:lnTo>
                      <a:pt x="192989" y="45109"/>
                    </a:lnTo>
                    <a:lnTo>
                      <a:pt x="189735" y="50582"/>
                    </a:lnTo>
                    <a:lnTo>
                      <a:pt x="193034" y="53174"/>
                    </a:lnTo>
                    <a:lnTo>
                      <a:pt x="197074" y="45258"/>
                    </a:lnTo>
                    <a:lnTo>
                      <a:pt x="197886" y="42470"/>
                    </a:lnTo>
                    <a:lnTo>
                      <a:pt x="198276" y="37573"/>
                    </a:lnTo>
                    <a:lnTo>
                      <a:pt x="197794" y="35105"/>
                    </a:lnTo>
                    <a:lnTo>
                      <a:pt x="196954" y="33058"/>
                    </a:lnTo>
                    <a:lnTo>
                      <a:pt x="196174" y="29442"/>
                    </a:lnTo>
                    <a:lnTo>
                      <a:pt x="196218" y="15145"/>
                    </a:lnTo>
                    <a:lnTo>
                      <a:pt x="195466" y="7891"/>
                    </a:lnTo>
                    <a:lnTo>
                      <a:pt x="192757" y="3385"/>
                    </a:lnTo>
                    <a:lnTo>
                      <a:pt x="197403" y="4789"/>
                    </a:lnTo>
                    <a:lnTo>
                      <a:pt x="199846" y="3685"/>
                    </a:lnTo>
                    <a:lnTo>
                      <a:pt x="200061" y="3958"/>
                    </a:lnTo>
                    <a:lnTo>
                      <a:pt x="200631" y="5335"/>
                    </a:lnTo>
                    <a:lnTo>
                      <a:pt x="200768" y="5494"/>
                    </a:lnTo>
                    <a:lnTo>
                      <a:pt x="203236" y="7293"/>
                    </a:lnTo>
                    <a:lnTo>
                      <a:pt x="203813" y="14602"/>
                    </a:lnTo>
                    <a:lnTo>
                      <a:pt x="208274" y="15737"/>
                    </a:lnTo>
                    <a:lnTo>
                      <a:pt x="214824" y="12308"/>
                    </a:lnTo>
                    <a:lnTo>
                      <a:pt x="224489" y="17113"/>
                    </a:lnTo>
                    <a:lnTo>
                      <a:pt x="225740" y="16787"/>
                    </a:lnTo>
                    <a:lnTo>
                      <a:pt x="226836" y="11253"/>
                    </a:lnTo>
                    <a:lnTo>
                      <a:pt x="236950" y="13935"/>
                    </a:lnTo>
                    <a:lnTo>
                      <a:pt x="248491" y="12769"/>
                    </a:lnTo>
                    <a:lnTo>
                      <a:pt x="249208" y="11381"/>
                    </a:lnTo>
                    <a:lnTo>
                      <a:pt x="248401" y="10224"/>
                    </a:lnTo>
                    <a:lnTo>
                      <a:pt x="242046" y="4457"/>
                    </a:lnTo>
                    <a:lnTo>
                      <a:pt x="241443" y="3180"/>
                    </a:lnTo>
                    <a:lnTo>
                      <a:pt x="242884" y="1253"/>
                    </a:lnTo>
                    <a:lnTo>
                      <a:pt x="262405" y="277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90" name="Freeform 46">
                <a:extLst>
                  <a:ext uri="{FF2B5EF4-FFF2-40B4-BE49-F238E27FC236}">
                    <a16:creationId xmlns:a16="http://schemas.microsoft.com/office/drawing/2014/main" id="{97E7FCD4-847A-E4C9-6112-33473FE780C2}"/>
                  </a:ext>
                </a:extLst>
              </p:cNvPr>
              <p:cNvSpPr>
                <a:spLocks noChangeAspect="1"/>
              </p:cNvSpPr>
              <p:nvPr>
                <p:custDataLst>
                  <p:tags r:id="rId46"/>
                </p:custDataLst>
              </p:nvPr>
            </p:nvSpPr>
            <p:spPr>
              <a:xfrm>
                <a:off x="4240836" y="5210769"/>
                <a:ext cx="420646" cy="385095"/>
              </a:xfrm>
              <a:custGeom>
                <a:avLst/>
                <a:gdLst/>
                <a:ahLst/>
                <a:cxnLst/>
                <a:rect l="l" t="t" r="r" b="b"/>
                <a:pathLst>
                  <a:path w="431891" h="395389">
                    <a:moveTo>
                      <a:pt x="2153" y="17680"/>
                    </a:moveTo>
                    <a:lnTo>
                      <a:pt x="3118" y="20509"/>
                    </a:lnTo>
                    <a:lnTo>
                      <a:pt x="3462" y="22085"/>
                    </a:lnTo>
                    <a:lnTo>
                      <a:pt x="3770" y="24577"/>
                    </a:lnTo>
                    <a:lnTo>
                      <a:pt x="3808" y="29240"/>
                    </a:lnTo>
                    <a:lnTo>
                      <a:pt x="2099" y="31029"/>
                    </a:lnTo>
                    <a:lnTo>
                      <a:pt x="213" y="28337"/>
                    </a:lnTo>
                    <a:lnTo>
                      <a:pt x="0" y="23174"/>
                    </a:lnTo>
                    <a:lnTo>
                      <a:pt x="892" y="18403"/>
                    </a:lnTo>
                    <a:close/>
                    <a:moveTo>
                      <a:pt x="218360" y="0"/>
                    </a:moveTo>
                    <a:lnTo>
                      <a:pt x="231969" y="3642"/>
                    </a:lnTo>
                    <a:lnTo>
                      <a:pt x="231965" y="3664"/>
                    </a:lnTo>
                    <a:lnTo>
                      <a:pt x="231485" y="6052"/>
                    </a:lnTo>
                    <a:lnTo>
                      <a:pt x="231229" y="6702"/>
                    </a:lnTo>
                    <a:lnTo>
                      <a:pt x="230070" y="10229"/>
                    </a:lnTo>
                    <a:lnTo>
                      <a:pt x="230652" y="16271"/>
                    </a:lnTo>
                    <a:lnTo>
                      <a:pt x="229007" y="26467"/>
                    </a:lnTo>
                    <a:lnTo>
                      <a:pt x="217949" y="28430"/>
                    </a:lnTo>
                    <a:lnTo>
                      <a:pt x="205774" y="26867"/>
                    </a:lnTo>
                    <a:lnTo>
                      <a:pt x="204288" y="29088"/>
                    </a:lnTo>
                    <a:lnTo>
                      <a:pt x="204560" y="40339"/>
                    </a:lnTo>
                    <a:lnTo>
                      <a:pt x="207676" y="45349"/>
                    </a:lnTo>
                    <a:lnTo>
                      <a:pt x="216769" y="52186"/>
                    </a:lnTo>
                    <a:lnTo>
                      <a:pt x="222561" y="53792"/>
                    </a:lnTo>
                    <a:lnTo>
                      <a:pt x="230929" y="62966"/>
                    </a:lnTo>
                    <a:lnTo>
                      <a:pt x="239864" y="63198"/>
                    </a:lnTo>
                    <a:lnTo>
                      <a:pt x="249920" y="70986"/>
                    </a:lnTo>
                    <a:lnTo>
                      <a:pt x="259601" y="70698"/>
                    </a:lnTo>
                    <a:lnTo>
                      <a:pt x="261524" y="73880"/>
                    </a:lnTo>
                    <a:lnTo>
                      <a:pt x="259983" y="79815"/>
                    </a:lnTo>
                    <a:lnTo>
                      <a:pt x="256763" y="85432"/>
                    </a:lnTo>
                    <a:lnTo>
                      <a:pt x="258685" y="90212"/>
                    </a:lnTo>
                    <a:lnTo>
                      <a:pt x="275719" y="92042"/>
                    </a:lnTo>
                    <a:lnTo>
                      <a:pt x="278401" y="89815"/>
                    </a:lnTo>
                    <a:lnTo>
                      <a:pt x="279066" y="85041"/>
                    </a:lnTo>
                    <a:lnTo>
                      <a:pt x="280746" y="83129"/>
                    </a:lnTo>
                    <a:lnTo>
                      <a:pt x="288694" y="81025"/>
                    </a:lnTo>
                    <a:lnTo>
                      <a:pt x="296036" y="84738"/>
                    </a:lnTo>
                    <a:lnTo>
                      <a:pt x="301379" y="83574"/>
                    </a:lnTo>
                    <a:lnTo>
                      <a:pt x="306799" y="87284"/>
                    </a:lnTo>
                    <a:lnTo>
                      <a:pt x="311473" y="88129"/>
                    </a:lnTo>
                    <a:lnTo>
                      <a:pt x="313016" y="91523"/>
                    </a:lnTo>
                    <a:lnTo>
                      <a:pt x="313820" y="102139"/>
                    </a:lnTo>
                    <a:lnTo>
                      <a:pt x="325651" y="102866"/>
                    </a:lnTo>
                    <a:lnTo>
                      <a:pt x="338453" y="114831"/>
                    </a:lnTo>
                    <a:lnTo>
                      <a:pt x="349698" y="116184"/>
                    </a:lnTo>
                    <a:lnTo>
                      <a:pt x="365222" y="114317"/>
                    </a:lnTo>
                    <a:lnTo>
                      <a:pt x="360237" y="127281"/>
                    </a:lnTo>
                    <a:lnTo>
                      <a:pt x="367638" y="134043"/>
                    </a:lnTo>
                    <a:lnTo>
                      <a:pt x="381477" y="129739"/>
                    </a:lnTo>
                    <a:lnTo>
                      <a:pt x="391741" y="130537"/>
                    </a:lnTo>
                    <a:lnTo>
                      <a:pt x="392689" y="133077"/>
                    </a:lnTo>
                    <a:lnTo>
                      <a:pt x="391591" y="141253"/>
                    </a:lnTo>
                    <a:lnTo>
                      <a:pt x="396703" y="144717"/>
                    </a:lnTo>
                    <a:lnTo>
                      <a:pt x="396003" y="151195"/>
                    </a:lnTo>
                    <a:lnTo>
                      <a:pt x="402549" y="147447"/>
                    </a:lnTo>
                    <a:lnTo>
                      <a:pt x="404840" y="148814"/>
                    </a:lnTo>
                    <a:lnTo>
                      <a:pt x="408794" y="147942"/>
                    </a:lnTo>
                    <a:lnTo>
                      <a:pt x="412297" y="151530"/>
                    </a:lnTo>
                    <a:lnTo>
                      <a:pt x="415817" y="162202"/>
                    </a:lnTo>
                    <a:lnTo>
                      <a:pt x="422336" y="167149"/>
                    </a:lnTo>
                    <a:lnTo>
                      <a:pt x="430130" y="168376"/>
                    </a:lnTo>
                    <a:lnTo>
                      <a:pt x="431891" y="171757"/>
                    </a:lnTo>
                    <a:lnTo>
                      <a:pt x="416389" y="181942"/>
                    </a:lnTo>
                    <a:lnTo>
                      <a:pt x="419836" y="185312"/>
                    </a:lnTo>
                    <a:lnTo>
                      <a:pt x="415875" y="195947"/>
                    </a:lnTo>
                    <a:lnTo>
                      <a:pt x="416773" y="199110"/>
                    </a:lnTo>
                    <a:lnTo>
                      <a:pt x="412619" y="200099"/>
                    </a:lnTo>
                    <a:lnTo>
                      <a:pt x="404073" y="205903"/>
                    </a:lnTo>
                    <a:lnTo>
                      <a:pt x="398352" y="206603"/>
                    </a:lnTo>
                    <a:lnTo>
                      <a:pt x="389165" y="204043"/>
                    </a:lnTo>
                    <a:lnTo>
                      <a:pt x="386352" y="204943"/>
                    </a:lnTo>
                    <a:lnTo>
                      <a:pt x="380855" y="209569"/>
                    </a:lnTo>
                    <a:lnTo>
                      <a:pt x="379627" y="210289"/>
                    </a:lnTo>
                    <a:lnTo>
                      <a:pt x="375621" y="213788"/>
                    </a:lnTo>
                    <a:lnTo>
                      <a:pt x="373288" y="214824"/>
                    </a:lnTo>
                    <a:lnTo>
                      <a:pt x="370764" y="214585"/>
                    </a:lnTo>
                    <a:lnTo>
                      <a:pt x="366093" y="212536"/>
                    </a:lnTo>
                    <a:lnTo>
                      <a:pt x="363341" y="211987"/>
                    </a:lnTo>
                    <a:lnTo>
                      <a:pt x="358711" y="212796"/>
                    </a:lnTo>
                    <a:lnTo>
                      <a:pt x="350600" y="216613"/>
                    </a:lnTo>
                    <a:lnTo>
                      <a:pt x="340746" y="219032"/>
                    </a:lnTo>
                    <a:lnTo>
                      <a:pt x="337954" y="222875"/>
                    </a:lnTo>
                    <a:lnTo>
                      <a:pt x="335775" y="227960"/>
                    </a:lnTo>
                    <a:lnTo>
                      <a:pt x="332114" y="233188"/>
                    </a:lnTo>
                    <a:lnTo>
                      <a:pt x="314515" y="241011"/>
                    </a:lnTo>
                    <a:lnTo>
                      <a:pt x="309035" y="240735"/>
                    </a:lnTo>
                    <a:lnTo>
                      <a:pt x="304957" y="239415"/>
                    </a:lnTo>
                    <a:lnTo>
                      <a:pt x="301699" y="236293"/>
                    </a:lnTo>
                    <a:lnTo>
                      <a:pt x="298700" y="230575"/>
                    </a:lnTo>
                    <a:lnTo>
                      <a:pt x="295545" y="221470"/>
                    </a:lnTo>
                    <a:lnTo>
                      <a:pt x="294560" y="219931"/>
                    </a:lnTo>
                    <a:lnTo>
                      <a:pt x="293869" y="219558"/>
                    </a:lnTo>
                    <a:lnTo>
                      <a:pt x="293347" y="218735"/>
                    </a:lnTo>
                    <a:lnTo>
                      <a:pt x="292578" y="217926"/>
                    </a:lnTo>
                    <a:lnTo>
                      <a:pt x="291169" y="217552"/>
                    </a:lnTo>
                    <a:lnTo>
                      <a:pt x="290359" y="218360"/>
                    </a:lnTo>
                    <a:lnTo>
                      <a:pt x="290082" y="220162"/>
                    </a:lnTo>
                    <a:lnTo>
                      <a:pt x="290338" y="221965"/>
                    </a:lnTo>
                    <a:lnTo>
                      <a:pt x="293374" y="225431"/>
                    </a:lnTo>
                    <a:lnTo>
                      <a:pt x="296587" y="238562"/>
                    </a:lnTo>
                    <a:lnTo>
                      <a:pt x="298698" y="243627"/>
                    </a:lnTo>
                    <a:lnTo>
                      <a:pt x="294372" y="247758"/>
                    </a:lnTo>
                    <a:lnTo>
                      <a:pt x="290458" y="253039"/>
                    </a:lnTo>
                    <a:lnTo>
                      <a:pt x="286936" y="259546"/>
                    </a:lnTo>
                    <a:lnTo>
                      <a:pt x="283746" y="267327"/>
                    </a:lnTo>
                    <a:lnTo>
                      <a:pt x="281035" y="277765"/>
                    </a:lnTo>
                    <a:lnTo>
                      <a:pt x="281176" y="282599"/>
                    </a:lnTo>
                    <a:lnTo>
                      <a:pt x="281171" y="282601"/>
                    </a:lnTo>
                    <a:lnTo>
                      <a:pt x="279971" y="282668"/>
                    </a:lnTo>
                    <a:lnTo>
                      <a:pt x="275240" y="282267"/>
                    </a:lnTo>
                    <a:lnTo>
                      <a:pt x="268258" y="282255"/>
                    </a:lnTo>
                    <a:lnTo>
                      <a:pt x="261283" y="282240"/>
                    </a:lnTo>
                    <a:lnTo>
                      <a:pt x="255794" y="286133"/>
                    </a:lnTo>
                    <a:lnTo>
                      <a:pt x="251289" y="292386"/>
                    </a:lnTo>
                    <a:lnTo>
                      <a:pt x="247779" y="299410"/>
                    </a:lnTo>
                    <a:lnTo>
                      <a:pt x="246759" y="305672"/>
                    </a:lnTo>
                    <a:lnTo>
                      <a:pt x="246239" y="311145"/>
                    </a:lnTo>
                    <a:lnTo>
                      <a:pt x="249222" y="315850"/>
                    </a:lnTo>
                    <a:lnTo>
                      <a:pt x="253205" y="321347"/>
                    </a:lnTo>
                    <a:lnTo>
                      <a:pt x="259692" y="323701"/>
                    </a:lnTo>
                    <a:lnTo>
                      <a:pt x="267172" y="328423"/>
                    </a:lnTo>
                    <a:lnTo>
                      <a:pt x="276163" y="332344"/>
                    </a:lnTo>
                    <a:lnTo>
                      <a:pt x="277858" y="332969"/>
                    </a:lnTo>
                    <a:lnTo>
                      <a:pt x="277864" y="332970"/>
                    </a:lnTo>
                    <a:lnTo>
                      <a:pt x="277520" y="333504"/>
                    </a:lnTo>
                    <a:lnTo>
                      <a:pt x="275849" y="343056"/>
                    </a:lnTo>
                    <a:lnTo>
                      <a:pt x="272926" y="345103"/>
                    </a:lnTo>
                    <a:lnTo>
                      <a:pt x="269115" y="343870"/>
                    </a:lnTo>
                    <a:lnTo>
                      <a:pt x="265209" y="340521"/>
                    </a:lnTo>
                    <a:lnTo>
                      <a:pt x="263424" y="349046"/>
                    </a:lnTo>
                    <a:lnTo>
                      <a:pt x="258212" y="352173"/>
                    </a:lnTo>
                    <a:lnTo>
                      <a:pt x="252724" y="353650"/>
                    </a:lnTo>
                    <a:lnTo>
                      <a:pt x="250170" y="357309"/>
                    </a:lnTo>
                    <a:lnTo>
                      <a:pt x="248839" y="363768"/>
                    </a:lnTo>
                    <a:lnTo>
                      <a:pt x="246320" y="371714"/>
                    </a:lnTo>
                    <a:lnTo>
                      <a:pt x="244889" y="380688"/>
                    </a:lnTo>
                    <a:lnTo>
                      <a:pt x="246741" y="390248"/>
                    </a:lnTo>
                    <a:lnTo>
                      <a:pt x="243062" y="392147"/>
                    </a:lnTo>
                    <a:lnTo>
                      <a:pt x="233193" y="394971"/>
                    </a:lnTo>
                    <a:lnTo>
                      <a:pt x="229009" y="395389"/>
                    </a:lnTo>
                    <a:lnTo>
                      <a:pt x="223537" y="394029"/>
                    </a:lnTo>
                    <a:lnTo>
                      <a:pt x="219086" y="391771"/>
                    </a:lnTo>
                    <a:lnTo>
                      <a:pt x="215265" y="391287"/>
                    </a:lnTo>
                    <a:lnTo>
                      <a:pt x="211641" y="395309"/>
                    </a:lnTo>
                    <a:lnTo>
                      <a:pt x="202545" y="386932"/>
                    </a:lnTo>
                    <a:lnTo>
                      <a:pt x="188501" y="369183"/>
                    </a:lnTo>
                    <a:lnTo>
                      <a:pt x="172537" y="354361"/>
                    </a:lnTo>
                    <a:lnTo>
                      <a:pt x="169843" y="353098"/>
                    </a:lnTo>
                    <a:lnTo>
                      <a:pt x="167594" y="353655"/>
                    </a:lnTo>
                    <a:lnTo>
                      <a:pt x="161327" y="357164"/>
                    </a:lnTo>
                    <a:lnTo>
                      <a:pt x="158915" y="357983"/>
                    </a:lnTo>
                    <a:lnTo>
                      <a:pt x="157507" y="358841"/>
                    </a:lnTo>
                    <a:lnTo>
                      <a:pt x="154196" y="362542"/>
                    </a:lnTo>
                    <a:lnTo>
                      <a:pt x="152191" y="363396"/>
                    </a:lnTo>
                    <a:lnTo>
                      <a:pt x="149482" y="362781"/>
                    </a:lnTo>
                    <a:lnTo>
                      <a:pt x="146980" y="361268"/>
                    </a:lnTo>
                    <a:lnTo>
                      <a:pt x="143134" y="357847"/>
                    </a:lnTo>
                    <a:lnTo>
                      <a:pt x="143702" y="356484"/>
                    </a:lnTo>
                    <a:lnTo>
                      <a:pt x="144688" y="352890"/>
                    </a:lnTo>
                    <a:lnTo>
                      <a:pt x="139336" y="351317"/>
                    </a:lnTo>
                    <a:lnTo>
                      <a:pt x="133940" y="347304"/>
                    </a:lnTo>
                    <a:lnTo>
                      <a:pt x="132097" y="342988"/>
                    </a:lnTo>
                    <a:lnTo>
                      <a:pt x="132100" y="342985"/>
                    </a:lnTo>
                    <a:lnTo>
                      <a:pt x="135850" y="338384"/>
                    </a:lnTo>
                    <a:lnTo>
                      <a:pt x="141677" y="336070"/>
                    </a:lnTo>
                    <a:lnTo>
                      <a:pt x="147257" y="332964"/>
                    </a:lnTo>
                    <a:lnTo>
                      <a:pt x="151051" y="331419"/>
                    </a:lnTo>
                    <a:lnTo>
                      <a:pt x="151575" y="329056"/>
                    </a:lnTo>
                    <a:lnTo>
                      <a:pt x="151592" y="327083"/>
                    </a:lnTo>
                    <a:lnTo>
                      <a:pt x="150361" y="323521"/>
                    </a:lnTo>
                    <a:lnTo>
                      <a:pt x="145855" y="319534"/>
                    </a:lnTo>
                    <a:lnTo>
                      <a:pt x="140849" y="315937"/>
                    </a:lnTo>
                    <a:lnTo>
                      <a:pt x="135090" y="312331"/>
                    </a:lnTo>
                    <a:lnTo>
                      <a:pt x="130327" y="309523"/>
                    </a:lnTo>
                    <a:lnTo>
                      <a:pt x="126550" y="309485"/>
                    </a:lnTo>
                    <a:lnTo>
                      <a:pt x="123026" y="309449"/>
                    </a:lnTo>
                    <a:lnTo>
                      <a:pt x="119464" y="312568"/>
                    </a:lnTo>
                    <a:lnTo>
                      <a:pt x="115665" y="312765"/>
                    </a:lnTo>
                    <a:lnTo>
                      <a:pt x="115581" y="313021"/>
                    </a:lnTo>
                    <a:lnTo>
                      <a:pt x="115097" y="312995"/>
                    </a:lnTo>
                    <a:lnTo>
                      <a:pt x="115079" y="312995"/>
                    </a:lnTo>
                    <a:lnTo>
                      <a:pt x="115853" y="310811"/>
                    </a:lnTo>
                    <a:lnTo>
                      <a:pt x="119216" y="305720"/>
                    </a:lnTo>
                    <a:lnTo>
                      <a:pt x="121897" y="300294"/>
                    </a:lnTo>
                    <a:lnTo>
                      <a:pt x="117028" y="302667"/>
                    </a:lnTo>
                    <a:lnTo>
                      <a:pt x="114564" y="302407"/>
                    </a:lnTo>
                    <a:lnTo>
                      <a:pt x="111912" y="300188"/>
                    </a:lnTo>
                    <a:lnTo>
                      <a:pt x="111117" y="303241"/>
                    </a:lnTo>
                    <a:lnTo>
                      <a:pt x="111115" y="303245"/>
                    </a:lnTo>
                    <a:lnTo>
                      <a:pt x="108711" y="298009"/>
                    </a:lnTo>
                    <a:lnTo>
                      <a:pt x="106092" y="298295"/>
                    </a:lnTo>
                    <a:lnTo>
                      <a:pt x="104645" y="301121"/>
                    </a:lnTo>
                    <a:lnTo>
                      <a:pt x="103065" y="298891"/>
                    </a:lnTo>
                    <a:lnTo>
                      <a:pt x="104545" y="295930"/>
                    </a:lnTo>
                    <a:lnTo>
                      <a:pt x="107205" y="290809"/>
                    </a:lnTo>
                    <a:lnTo>
                      <a:pt x="107859" y="286682"/>
                    </a:lnTo>
                    <a:lnTo>
                      <a:pt x="114678" y="286867"/>
                    </a:lnTo>
                    <a:lnTo>
                      <a:pt x="116455" y="285189"/>
                    </a:lnTo>
                    <a:lnTo>
                      <a:pt x="116549" y="282220"/>
                    </a:lnTo>
                    <a:lnTo>
                      <a:pt x="111375" y="280043"/>
                    </a:lnTo>
                    <a:lnTo>
                      <a:pt x="110220" y="274722"/>
                    </a:lnTo>
                    <a:lnTo>
                      <a:pt x="108222" y="271838"/>
                    </a:lnTo>
                    <a:lnTo>
                      <a:pt x="95230" y="268293"/>
                    </a:lnTo>
                    <a:lnTo>
                      <a:pt x="94721" y="259705"/>
                    </a:lnTo>
                    <a:lnTo>
                      <a:pt x="91820" y="253946"/>
                    </a:lnTo>
                    <a:lnTo>
                      <a:pt x="87941" y="250918"/>
                    </a:lnTo>
                    <a:lnTo>
                      <a:pt x="89412" y="236512"/>
                    </a:lnTo>
                    <a:lnTo>
                      <a:pt x="80049" y="229813"/>
                    </a:lnTo>
                    <a:lnTo>
                      <a:pt x="77327" y="216091"/>
                    </a:lnTo>
                    <a:lnTo>
                      <a:pt x="74021" y="210740"/>
                    </a:lnTo>
                    <a:lnTo>
                      <a:pt x="73753" y="200456"/>
                    </a:lnTo>
                    <a:lnTo>
                      <a:pt x="70099" y="191920"/>
                    </a:lnTo>
                    <a:lnTo>
                      <a:pt x="70482" y="183222"/>
                    </a:lnTo>
                    <a:lnTo>
                      <a:pt x="66214" y="180836"/>
                    </a:lnTo>
                    <a:lnTo>
                      <a:pt x="63353" y="184931"/>
                    </a:lnTo>
                    <a:lnTo>
                      <a:pt x="61801" y="184593"/>
                    </a:lnTo>
                    <a:lnTo>
                      <a:pt x="55185" y="177188"/>
                    </a:lnTo>
                    <a:lnTo>
                      <a:pt x="47330" y="176857"/>
                    </a:lnTo>
                    <a:lnTo>
                      <a:pt x="44409" y="174583"/>
                    </a:lnTo>
                    <a:lnTo>
                      <a:pt x="45648" y="172263"/>
                    </a:lnTo>
                    <a:lnTo>
                      <a:pt x="53005" y="169618"/>
                    </a:lnTo>
                    <a:lnTo>
                      <a:pt x="55113" y="163175"/>
                    </a:lnTo>
                    <a:lnTo>
                      <a:pt x="55787" y="153751"/>
                    </a:lnTo>
                    <a:lnTo>
                      <a:pt x="59911" y="151046"/>
                    </a:lnTo>
                    <a:lnTo>
                      <a:pt x="61081" y="148518"/>
                    </a:lnTo>
                    <a:lnTo>
                      <a:pt x="55036" y="134320"/>
                    </a:lnTo>
                    <a:lnTo>
                      <a:pt x="52154" y="130568"/>
                    </a:lnTo>
                    <a:lnTo>
                      <a:pt x="51655" y="123130"/>
                    </a:lnTo>
                    <a:lnTo>
                      <a:pt x="30040" y="122061"/>
                    </a:lnTo>
                    <a:lnTo>
                      <a:pt x="30029" y="122060"/>
                    </a:lnTo>
                    <a:lnTo>
                      <a:pt x="31176" y="115890"/>
                    </a:lnTo>
                    <a:lnTo>
                      <a:pt x="32891" y="112715"/>
                    </a:lnTo>
                    <a:lnTo>
                      <a:pt x="36447" y="103166"/>
                    </a:lnTo>
                    <a:lnTo>
                      <a:pt x="35531" y="100231"/>
                    </a:lnTo>
                    <a:lnTo>
                      <a:pt x="34713" y="94747"/>
                    </a:lnTo>
                    <a:lnTo>
                      <a:pt x="34579" y="89399"/>
                    </a:lnTo>
                    <a:lnTo>
                      <a:pt x="35790" y="87024"/>
                    </a:lnTo>
                    <a:lnTo>
                      <a:pt x="57223" y="87344"/>
                    </a:lnTo>
                    <a:lnTo>
                      <a:pt x="59834" y="88253"/>
                    </a:lnTo>
                    <a:lnTo>
                      <a:pt x="64755" y="92066"/>
                    </a:lnTo>
                    <a:lnTo>
                      <a:pt x="67152" y="92938"/>
                    </a:lnTo>
                    <a:lnTo>
                      <a:pt x="81093" y="94662"/>
                    </a:lnTo>
                    <a:lnTo>
                      <a:pt x="86027" y="93187"/>
                    </a:lnTo>
                    <a:lnTo>
                      <a:pt x="89661" y="90621"/>
                    </a:lnTo>
                    <a:lnTo>
                      <a:pt x="106123" y="72558"/>
                    </a:lnTo>
                    <a:lnTo>
                      <a:pt x="107488" y="70366"/>
                    </a:lnTo>
                    <a:lnTo>
                      <a:pt x="108588" y="68094"/>
                    </a:lnTo>
                    <a:lnTo>
                      <a:pt x="110096" y="66060"/>
                    </a:lnTo>
                    <a:lnTo>
                      <a:pt x="112635" y="64596"/>
                    </a:lnTo>
                    <a:lnTo>
                      <a:pt x="111169" y="60897"/>
                    </a:lnTo>
                    <a:lnTo>
                      <a:pt x="108392" y="50469"/>
                    </a:lnTo>
                    <a:lnTo>
                      <a:pt x="107895" y="47713"/>
                    </a:lnTo>
                    <a:lnTo>
                      <a:pt x="107101" y="45312"/>
                    </a:lnTo>
                    <a:lnTo>
                      <a:pt x="103071" y="39079"/>
                    </a:lnTo>
                    <a:lnTo>
                      <a:pt x="101489" y="35766"/>
                    </a:lnTo>
                    <a:lnTo>
                      <a:pt x="109502" y="36542"/>
                    </a:lnTo>
                    <a:lnTo>
                      <a:pt x="111305" y="35879"/>
                    </a:lnTo>
                    <a:lnTo>
                      <a:pt x="112901" y="31778"/>
                    </a:lnTo>
                    <a:lnTo>
                      <a:pt x="112594" y="27750"/>
                    </a:lnTo>
                    <a:lnTo>
                      <a:pt x="110844" y="24467"/>
                    </a:lnTo>
                    <a:lnTo>
                      <a:pt x="108173" y="22587"/>
                    </a:lnTo>
                    <a:lnTo>
                      <a:pt x="108200" y="20209"/>
                    </a:lnTo>
                    <a:lnTo>
                      <a:pt x="126523" y="13088"/>
                    </a:lnTo>
                    <a:lnTo>
                      <a:pt x="170349" y="9365"/>
                    </a:lnTo>
                    <a:lnTo>
                      <a:pt x="179346" y="6012"/>
                    </a:lnTo>
                    <a:lnTo>
                      <a:pt x="183852" y="5267"/>
                    </a:lnTo>
                    <a:lnTo>
                      <a:pt x="201161" y="5378"/>
                    </a:lnTo>
                    <a:lnTo>
                      <a:pt x="206417" y="4382"/>
                    </a:lnTo>
                    <a:lnTo>
                      <a:pt x="214064" y="33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91" name="Freeform 48">
                <a:extLst>
                  <a:ext uri="{FF2B5EF4-FFF2-40B4-BE49-F238E27FC236}">
                    <a16:creationId xmlns:a16="http://schemas.microsoft.com/office/drawing/2014/main" id="{E053C1AD-694B-F404-A840-7CCE75525169}"/>
                  </a:ext>
                </a:extLst>
              </p:cNvPr>
              <p:cNvSpPr>
                <a:spLocks noChangeAspect="1"/>
              </p:cNvSpPr>
              <p:nvPr>
                <p:custDataLst>
                  <p:tags r:id="rId47"/>
                </p:custDataLst>
              </p:nvPr>
            </p:nvSpPr>
            <p:spPr>
              <a:xfrm>
                <a:off x="4886398" y="5390980"/>
                <a:ext cx="31025" cy="13848"/>
              </a:xfrm>
              <a:custGeom>
                <a:avLst/>
                <a:gdLst/>
                <a:ahLst/>
                <a:cxnLst/>
                <a:rect l="0" t="0" r="0" b="0"/>
                <a:pathLst>
                  <a:path w="31854" h="14218">
                    <a:moveTo>
                      <a:pt x="31853" y="10958"/>
                    </a:moveTo>
                    <a:lnTo>
                      <a:pt x="22713" y="9441"/>
                    </a:lnTo>
                    <a:lnTo>
                      <a:pt x="17313" y="9841"/>
                    </a:lnTo>
                    <a:lnTo>
                      <a:pt x="12522" y="11516"/>
                    </a:lnTo>
                    <a:lnTo>
                      <a:pt x="7975" y="14118"/>
                    </a:lnTo>
                    <a:lnTo>
                      <a:pt x="7849" y="14214"/>
                    </a:lnTo>
                    <a:lnTo>
                      <a:pt x="7846" y="14217"/>
                    </a:lnTo>
                    <a:lnTo>
                      <a:pt x="5933" y="13553"/>
                    </a:lnTo>
                    <a:lnTo>
                      <a:pt x="1873" y="12969"/>
                    </a:lnTo>
                    <a:lnTo>
                      <a:pt x="311" y="10308"/>
                    </a:lnTo>
                    <a:lnTo>
                      <a:pt x="0" y="5252"/>
                    </a:lnTo>
                    <a:lnTo>
                      <a:pt x="1425" y="1846"/>
                    </a:lnTo>
                    <a:lnTo>
                      <a:pt x="1884" y="1383"/>
                    </a:lnTo>
                    <a:lnTo>
                      <a:pt x="3096" y="133"/>
                    </a:lnTo>
                    <a:lnTo>
                      <a:pt x="5446" y="83"/>
                    </a:lnTo>
                    <a:lnTo>
                      <a:pt x="9283" y="0"/>
                    </a:lnTo>
                    <a:lnTo>
                      <a:pt x="13996" y="569"/>
                    </a:lnTo>
                    <a:lnTo>
                      <a:pt x="19376" y="2148"/>
                    </a:lnTo>
                    <a:lnTo>
                      <a:pt x="27125" y="532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92" name="Freeform 49">
                <a:extLst>
                  <a:ext uri="{FF2B5EF4-FFF2-40B4-BE49-F238E27FC236}">
                    <a16:creationId xmlns:a16="http://schemas.microsoft.com/office/drawing/2014/main" id="{515ADC4D-090F-8F74-1EE3-3E27B61DDE28}"/>
                  </a:ext>
                </a:extLst>
              </p:cNvPr>
              <p:cNvSpPr>
                <a:spLocks noChangeAspect="1"/>
              </p:cNvSpPr>
              <p:nvPr>
                <p:custDataLst>
                  <p:tags r:id="rId48"/>
                </p:custDataLst>
              </p:nvPr>
            </p:nvSpPr>
            <p:spPr>
              <a:xfrm>
                <a:off x="4645827" y="5270109"/>
                <a:ext cx="300808" cy="207108"/>
              </a:xfrm>
              <a:custGeom>
                <a:avLst/>
                <a:gdLst/>
                <a:ahLst/>
                <a:cxnLst/>
                <a:rect l="0" t="0" r="0" b="0"/>
                <a:pathLst>
                  <a:path w="308849" h="212644">
                    <a:moveTo>
                      <a:pt x="204211" y="47781"/>
                    </a:moveTo>
                    <a:lnTo>
                      <a:pt x="213875" y="45999"/>
                    </a:lnTo>
                    <a:lnTo>
                      <a:pt x="219942" y="41419"/>
                    </a:lnTo>
                    <a:lnTo>
                      <a:pt x="228861" y="39011"/>
                    </a:lnTo>
                    <a:lnTo>
                      <a:pt x="234963" y="33064"/>
                    </a:lnTo>
                    <a:lnTo>
                      <a:pt x="239872" y="34660"/>
                    </a:lnTo>
                    <a:lnTo>
                      <a:pt x="250528" y="51410"/>
                    </a:lnTo>
                    <a:lnTo>
                      <a:pt x="257305" y="58568"/>
                    </a:lnTo>
                    <a:lnTo>
                      <a:pt x="261474" y="59226"/>
                    </a:lnTo>
                    <a:lnTo>
                      <a:pt x="267535" y="54966"/>
                    </a:lnTo>
                    <a:lnTo>
                      <a:pt x="275270" y="56370"/>
                    </a:lnTo>
                    <a:lnTo>
                      <a:pt x="273935" y="65529"/>
                    </a:lnTo>
                    <a:lnTo>
                      <a:pt x="267351" y="71097"/>
                    </a:lnTo>
                    <a:lnTo>
                      <a:pt x="269104" y="80809"/>
                    </a:lnTo>
                    <a:lnTo>
                      <a:pt x="275627" y="79940"/>
                    </a:lnTo>
                    <a:lnTo>
                      <a:pt x="278248" y="93649"/>
                    </a:lnTo>
                    <a:lnTo>
                      <a:pt x="275797" y="98481"/>
                    </a:lnTo>
                    <a:lnTo>
                      <a:pt x="275279" y="104968"/>
                    </a:lnTo>
                    <a:lnTo>
                      <a:pt x="277800" y="112451"/>
                    </a:lnTo>
                    <a:lnTo>
                      <a:pt x="281116" y="117625"/>
                    </a:lnTo>
                    <a:lnTo>
                      <a:pt x="293477" y="113782"/>
                    </a:lnTo>
                    <a:lnTo>
                      <a:pt x="294436" y="114706"/>
                    </a:lnTo>
                    <a:lnTo>
                      <a:pt x="293887" y="122791"/>
                    </a:lnTo>
                    <a:lnTo>
                      <a:pt x="307796" y="122454"/>
                    </a:lnTo>
                    <a:lnTo>
                      <a:pt x="308848" y="127895"/>
                    </a:lnTo>
                    <a:lnTo>
                      <a:pt x="308838" y="127895"/>
                    </a:lnTo>
                    <a:lnTo>
                      <a:pt x="303977" y="128062"/>
                    </a:lnTo>
                    <a:lnTo>
                      <a:pt x="298679" y="129776"/>
                    </a:lnTo>
                    <a:lnTo>
                      <a:pt x="289489" y="134938"/>
                    </a:lnTo>
                    <a:lnTo>
                      <a:pt x="285111" y="136082"/>
                    </a:lnTo>
                    <a:lnTo>
                      <a:pt x="278861" y="135061"/>
                    </a:lnTo>
                    <a:lnTo>
                      <a:pt x="278855" y="135060"/>
                    </a:lnTo>
                    <a:lnTo>
                      <a:pt x="274127" y="129431"/>
                    </a:lnTo>
                    <a:lnTo>
                      <a:pt x="266378" y="126250"/>
                    </a:lnTo>
                    <a:lnTo>
                      <a:pt x="260998" y="124671"/>
                    </a:lnTo>
                    <a:lnTo>
                      <a:pt x="256285" y="124102"/>
                    </a:lnTo>
                    <a:lnTo>
                      <a:pt x="252448" y="124185"/>
                    </a:lnTo>
                    <a:lnTo>
                      <a:pt x="250098" y="124235"/>
                    </a:lnTo>
                    <a:lnTo>
                      <a:pt x="248886" y="125485"/>
                    </a:lnTo>
                    <a:lnTo>
                      <a:pt x="246864" y="122627"/>
                    </a:lnTo>
                    <a:lnTo>
                      <a:pt x="243596" y="119655"/>
                    </a:lnTo>
                    <a:lnTo>
                      <a:pt x="239083" y="118072"/>
                    </a:lnTo>
                    <a:lnTo>
                      <a:pt x="233967" y="118177"/>
                    </a:lnTo>
                    <a:lnTo>
                      <a:pt x="230762" y="118242"/>
                    </a:lnTo>
                    <a:lnTo>
                      <a:pt x="228034" y="120980"/>
                    </a:lnTo>
                    <a:lnTo>
                      <a:pt x="227257" y="124372"/>
                    </a:lnTo>
                    <a:lnTo>
                      <a:pt x="225642" y="129457"/>
                    </a:lnTo>
                    <a:lnTo>
                      <a:pt x="224877" y="134188"/>
                    </a:lnTo>
                    <a:lnTo>
                      <a:pt x="223480" y="135503"/>
                    </a:lnTo>
                    <a:lnTo>
                      <a:pt x="221545" y="130951"/>
                    </a:lnTo>
                    <a:lnTo>
                      <a:pt x="220284" y="129903"/>
                    </a:lnTo>
                    <a:lnTo>
                      <a:pt x="218116" y="131904"/>
                    </a:lnTo>
                    <a:lnTo>
                      <a:pt x="209999" y="145752"/>
                    </a:lnTo>
                    <a:lnTo>
                      <a:pt x="213164" y="145256"/>
                    </a:lnTo>
                    <a:lnTo>
                      <a:pt x="216012" y="144160"/>
                    </a:lnTo>
                    <a:lnTo>
                      <a:pt x="218670" y="142415"/>
                    </a:lnTo>
                    <a:lnTo>
                      <a:pt x="221285" y="140047"/>
                    </a:lnTo>
                    <a:lnTo>
                      <a:pt x="226667" y="149312"/>
                    </a:lnTo>
                    <a:lnTo>
                      <a:pt x="229542" y="152115"/>
                    </a:lnTo>
                    <a:lnTo>
                      <a:pt x="234018" y="153081"/>
                    </a:lnTo>
                    <a:lnTo>
                      <a:pt x="238059" y="152951"/>
                    </a:lnTo>
                    <a:lnTo>
                      <a:pt x="241623" y="153670"/>
                    </a:lnTo>
                    <a:lnTo>
                      <a:pt x="243359" y="156587"/>
                    </a:lnTo>
                    <a:lnTo>
                      <a:pt x="241775" y="163117"/>
                    </a:lnTo>
                    <a:lnTo>
                      <a:pt x="245392" y="165340"/>
                    </a:lnTo>
                    <a:lnTo>
                      <a:pt x="246794" y="165840"/>
                    </a:lnTo>
                    <a:lnTo>
                      <a:pt x="238568" y="176454"/>
                    </a:lnTo>
                    <a:lnTo>
                      <a:pt x="239186" y="182130"/>
                    </a:lnTo>
                    <a:lnTo>
                      <a:pt x="234735" y="184349"/>
                    </a:lnTo>
                    <a:lnTo>
                      <a:pt x="214974" y="185159"/>
                    </a:lnTo>
                    <a:lnTo>
                      <a:pt x="210829" y="184353"/>
                    </a:lnTo>
                    <a:lnTo>
                      <a:pt x="192440" y="176036"/>
                    </a:lnTo>
                    <a:lnTo>
                      <a:pt x="147414" y="171717"/>
                    </a:lnTo>
                    <a:lnTo>
                      <a:pt x="138990" y="166590"/>
                    </a:lnTo>
                    <a:lnTo>
                      <a:pt x="133841" y="167412"/>
                    </a:lnTo>
                    <a:lnTo>
                      <a:pt x="124778" y="170617"/>
                    </a:lnTo>
                    <a:lnTo>
                      <a:pt x="121985" y="174339"/>
                    </a:lnTo>
                    <a:lnTo>
                      <a:pt x="119073" y="182536"/>
                    </a:lnTo>
                    <a:lnTo>
                      <a:pt x="117828" y="190711"/>
                    </a:lnTo>
                    <a:lnTo>
                      <a:pt x="120109" y="194363"/>
                    </a:lnTo>
                    <a:lnTo>
                      <a:pt x="126262" y="196282"/>
                    </a:lnTo>
                    <a:lnTo>
                      <a:pt x="126941" y="201120"/>
                    </a:lnTo>
                    <a:lnTo>
                      <a:pt x="124452" y="207168"/>
                    </a:lnTo>
                    <a:lnTo>
                      <a:pt x="121103" y="212622"/>
                    </a:lnTo>
                    <a:lnTo>
                      <a:pt x="119600" y="212643"/>
                    </a:lnTo>
                    <a:lnTo>
                      <a:pt x="119211" y="198197"/>
                    </a:lnTo>
                    <a:lnTo>
                      <a:pt x="113465" y="188765"/>
                    </a:lnTo>
                    <a:lnTo>
                      <a:pt x="62232" y="150260"/>
                    </a:lnTo>
                    <a:lnTo>
                      <a:pt x="20479" y="134994"/>
                    </a:lnTo>
                    <a:lnTo>
                      <a:pt x="15032" y="134819"/>
                    </a:lnTo>
                    <a:lnTo>
                      <a:pt x="962" y="138183"/>
                    </a:lnTo>
                    <a:lnTo>
                      <a:pt x="956" y="138184"/>
                    </a:lnTo>
                    <a:lnTo>
                      <a:pt x="58" y="135021"/>
                    </a:lnTo>
                    <a:lnTo>
                      <a:pt x="4019" y="124386"/>
                    </a:lnTo>
                    <a:lnTo>
                      <a:pt x="572" y="121016"/>
                    </a:lnTo>
                    <a:lnTo>
                      <a:pt x="16074" y="110831"/>
                    </a:lnTo>
                    <a:lnTo>
                      <a:pt x="14313" y="107450"/>
                    </a:lnTo>
                    <a:lnTo>
                      <a:pt x="6519" y="106223"/>
                    </a:lnTo>
                    <a:lnTo>
                      <a:pt x="0" y="101276"/>
                    </a:lnTo>
                    <a:lnTo>
                      <a:pt x="6778" y="94146"/>
                    </a:lnTo>
                    <a:lnTo>
                      <a:pt x="30148" y="89502"/>
                    </a:lnTo>
                    <a:lnTo>
                      <a:pt x="33863" y="86175"/>
                    </a:lnTo>
                    <a:lnTo>
                      <a:pt x="38443" y="88680"/>
                    </a:lnTo>
                    <a:lnTo>
                      <a:pt x="45647" y="83838"/>
                    </a:lnTo>
                    <a:lnTo>
                      <a:pt x="56293" y="83419"/>
                    </a:lnTo>
                    <a:lnTo>
                      <a:pt x="71106" y="76160"/>
                    </a:lnTo>
                    <a:lnTo>
                      <a:pt x="80422" y="76490"/>
                    </a:lnTo>
                    <a:lnTo>
                      <a:pt x="82008" y="74558"/>
                    </a:lnTo>
                    <a:lnTo>
                      <a:pt x="79907" y="66628"/>
                    </a:lnTo>
                    <a:lnTo>
                      <a:pt x="82324" y="61607"/>
                    </a:lnTo>
                    <a:lnTo>
                      <a:pt x="82512" y="53967"/>
                    </a:lnTo>
                    <a:lnTo>
                      <a:pt x="84795" y="48947"/>
                    </a:lnTo>
                    <a:lnTo>
                      <a:pt x="83780" y="41755"/>
                    </a:lnTo>
                    <a:lnTo>
                      <a:pt x="89828" y="39238"/>
                    </a:lnTo>
                    <a:lnTo>
                      <a:pt x="92928" y="41528"/>
                    </a:lnTo>
                    <a:lnTo>
                      <a:pt x="95537" y="40766"/>
                    </a:lnTo>
                    <a:lnTo>
                      <a:pt x="97363" y="36915"/>
                    </a:lnTo>
                    <a:lnTo>
                      <a:pt x="96567" y="32800"/>
                    </a:lnTo>
                    <a:lnTo>
                      <a:pt x="97370" y="31823"/>
                    </a:lnTo>
                    <a:lnTo>
                      <a:pt x="108492" y="34226"/>
                    </a:lnTo>
                    <a:lnTo>
                      <a:pt x="114736" y="46557"/>
                    </a:lnTo>
                    <a:lnTo>
                      <a:pt x="119348" y="50856"/>
                    </a:lnTo>
                    <a:lnTo>
                      <a:pt x="121880" y="50288"/>
                    </a:lnTo>
                    <a:lnTo>
                      <a:pt x="122725" y="44217"/>
                    </a:lnTo>
                    <a:lnTo>
                      <a:pt x="123866" y="43471"/>
                    </a:lnTo>
                    <a:lnTo>
                      <a:pt x="131583" y="45374"/>
                    </a:lnTo>
                    <a:lnTo>
                      <a:pt x="146599" y="38361"/>
                    </a:lnTo>
                    <a:lnTo>
                      <a:pt x="146282" y="35918"/>
                    </a:lnTo>
                    <a:lnTo>
                      <a:pt x="138613" y="32423"/>
                    </a:lnTo>
                    <a:lnTo>
                      <a:pt x="138371" y="29466"/>
                    </a:lnTo>
                    <a:lnTo>
                      <a:pt x="140051" y="25721"/>
                    </a:lnTo>
                    <a:lnTo>
                      <a:pt x="149528" y="15717"/>
                    </a:lnTo>
                    <a:lnTo>
                      <a:pt x="146728" y="7155"/>
                    </a:lnTo>
                    <a:lnTo>
                      <a:pt x="149891" y="0"/>
                    </a:lnTo>
                    <a:lnTo>
                      <a:pt x="157982" y="1036"/>
                    </a:lnTo>
                    <a:lnTo>
                      <a:pt x="163769" y="4239"/>
                    </a:lnTo>
                    <a:lnTo>
                      <a:pt x="169915" y="4235"/>
                    </a:lnTo>
                    <a:lnTo>
                      <a:pt x="173415" y="6407"/>
                    </a:lnTo>
                    <a:lnTo>
                      <a:pt x="180768" y="14572"/>
                    </a:lnTo>
                    <a:lnTo>
                      <a:pt x="193174" y="36418"/>
                    </a:lnTo>
                    <a:lnTo>
                      <a:pt x="198220" y="38221"/>
                    </a:lnTo>
                    <a:lnTo>
                      <a:pt x="200668" y="4423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93" name="Freeform 50">
                <a:extLst>
                  <a:ext uri="{FF2B5EF4-FFF2-40B4-BE49-F238E27FC236}">
                    <a16:creationId xmlns:a16="http://schemas.microsoft.com/office/drawing/2014/main" id="{ED40C251-6F5F-3EAA-0C91-B09FE601C40A}"/>
                  </a:ext>
                </a:extLst>
              </p:cNvPr>
              <p:cNvSpPr>
                <a:spLocks noChangeAspect="1"/>
              </p:cNvSpPr>
              <p:nvPr>
                <p:custDataLst>
                  <p:tags r:id="rId49"/>
                </p:custDataLst>
              </p:nvPr>
            </p:nvSpPr>
            <p:spPr>
              <a:xfrm>
                <a:off x="4863489" y="5385107"/>
                <a:ext cx="30552" cy="29314"/>
              </a:xfrm>
              <a:custGeom>
                <a:avLst/>
                <a:gdLst/>
                <a:ahLst/>
                <a:cxnLst/>
                <a:rect l="0" t="0" r="0" b="0"/>
                <a:pathLst>
                  <a:path w="31369" h="30098">
                    <a:moveTo>
                      <a:pt x="25406" y="7413"/>
                    </a:moveTo>
                    <a:lnTo>
                      <a:pt x="24947" y="7876"/>
                    </a:lnTo>
                    <a:lnTo>
                      <a:pt x="23522" y="11282"/>
                    </a:lnTo>
                    <a:lnTo>
                      <a:pt x="23833" y="16338"/>
                    </a:lnTo>
                    <a:lnTo>
                      <a:pt x="25395" y="18999"/>
                    </a:lnTo>
                    <a:lnTo>
                      <a:pt x="29455" y="19583"/>
                    </a:lnTo>
                    <a:lnTo>
                      <a:pt x="31368" y="20247"/>
                    </a:lnTo>
                    <a:lnTo>
                      <a:pt x="27323" y="23625"/>
                    </a:lnTo>
                    <a:lnTo>
                      <a:pt x="23729" y="28115"/>
                    </a:lnTo>
                    <a:lnTo>
                      <a:pt x="21128" y="30097"/>
                    </a:lnTo>
                    <a:lnTo>
                      <a:pt x="20030" y="27509"/>
                    </a:lnTo>
                    <a:lnTo>
                      <a:pt x="19517" y="23604"/>
                    </a:lnTo>
                    <a:lnTo>
                      <a:pt x="18707" y="21553"/>
                    </a:lnTo>
                    <a:lnTo>
                      <a:pt x="9357" y="19150"/>
                    </a:lnTo>
                    <a:lnTo>
                      <a:pt x="3024" y="19728"/>
                    </a:lnTo>
                    <a:lnTo>
                      <a:pt x="1065" y="19316"/>
                    </a:lnTo>
                    <a:lnTo>
                      <a:pt x="190" y="17904"/>
                    </a:lnTo>
                    <a:lnTo>
                      <a:pt x="4" y="17442"/>
                    </a:lnTo>
                    <a:lnTo>
                      <a:pt x="0" y="17431"/>
                    </a:lnTo>
                    <a:lnTo>
                      <a:pt x="1397" y="16116"/>
                    </a:lnTo>
                    <a:lnTo>
                      <a:pt x="2162" y="11385"/>
                    </a:lnTo>
                    <a:lnTo>
                      <a:pt x="3777" y="6300"/>
                    </a:lnTo>
                    <a:lnTo>
                      <a:pt x="4554" y="2908"/>
                    </a:lnTo>
                    <a:lnTo>
                      <a:pt x="7282" y="170"/>
                    </a:lnTo>
                    <a:lnTo>
                      <a:pt x="10487" y="105"/>
                    </a:lnTo>
                    <a:lnTo>
                      <a:pt x="15603" y="0"/>
                    </a:lnTo>
                    <a:lnTo>
                      <a:pt x="20116" y="1583"/>
                    </a:lnTo>
                    <a:lnTo>
                      <a:pt x="23384" y="455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94" name="Freeform 51">
                <a:extLst>
                  <a:ext uri="{FF2B5EF4-FFF2-40B4-BE49-F238E27FC236}">
                    <a16:creationId xmlns:a16="http://schemas.microsoft.com/office/drawing/2014/main" id="{47FDA8AA-64E4-86AF-59BB-26C9CA3F94BE}"/>
                  </a:ext>
                </a:extLst>
              </p:cNvPr>
              <p:cNvSpPr>
                <a:spLocks noChangeAspect="1"/>
              </p:cNvSpPr>
              <p:nvPr>
                <p:custDataLst>
                  <p:tags r:id="rId50"/>
                </p:custDataLst>
              </p:nvPr>
            </p:nvSpPr>
            <p:spPr>
              <a:xfrm>
                <a:off x="5201943" y="4640835"/>
                <a:ext cx="230560" cy="269420"/>
              </a:xfrm>
              <a:custGeom>
                <a:avLst/>
                <a:gdLst/>
                <a:ahLst/>
                <a:cxnLst/>
                <a:rect l="0" t="0" r="0" b="0"/>
                <a:pathLst>
                  <a:path w="236723" h="276622">
                    <a:moveTo>
                      <a:pt x="146226" y="65"/>
                    </a:moveTo>
                    <a:lnTo>
                      <a:pt x="143721" y="20913"/>
                    </a:lnTo>
                    <a:lnTo>
                      <a:pt x="153243" y="23905"/>
                    </a:lnTo>
                    <a:lnTo>
                      <a:pt x="154423" y="27897"/>
                    </a:lnTo>
                    <a:lnTo>
                      <a:pt x="150635" y="33292"/>
                    </a:lnTo>
                    <a:lnTo>
                      <a:pt x="150889" y="35928"/>
                    </a:lnTo>
                    <a:lnTo>
                      <a:pt x="165622" y="46119"/>
                    </a:lnTo>
                    <a:lnTo>
                      <a:pt x="165440" y="47829"/>
                    </a:lnTo>
                    <a:lnTo>
                      <a:pt x="159939" y="52899"/>
                    </a:lnTo>
                    <a:lnTo>
                      <a:pt x="159602" y="57485"/>
                    </a:lnTo>
                    <a:lnTo>
                      <a:pt x="162347" y="61810"/>
                    </a:lnTo>
                    <a:lnTo>
                      <a:pt x="160356" y="68616"/>
                    </a:lnTo>
                    <a:lnTo>
                      <a:pt x="161887" y="76822"/>
                    </a:lnTo>
                    <a:lnTo>
                      <a:pt x="164976" y="79104"/>
                    </a:lnTo>
                    <a:lnTo>
                      <a:pt x="164694" y="82310"/>
                    </a:lnTo>
                    <a:lnTo>
                      <a:pt x="169517" y="89494"/>
                    </a:lnTo>
                    <a:lnTo>
                      <a:pt x="171588" y="89485"/>
                    </a:lnTo>
                    <a:lnTo>
                      <a:pt x="176883" y="84323"/>
                    </a:lnTo>
                    <a:lnTo>
                      <a:pt x="186750" y="82524"/>
                    </a:lnTo>
                    <a:lnTo>
                      <a:pt x="194889" y="86982"/>
                    </a:lnTo>
                    <a:lnTo>
                      <a:pt x="195485" y="89599"/>
                    </a:lnTo>
                    <a:lnTo>
                      <a:pt x="203875" y="99991"/>
                    </a:lnTo>
                    <a:lnTo>
                      <a:pt x="215784" y="108160"/>
                    </a:lnTo>
                    <a:lnTo>
                      <a:pt x="203604" y="118069"/>
                    </a:lnTo>
                    <a:lnTo>
                      <a:pt x="202694" y="120453"/>
                    </a:lnTo>
                    <a:lnTo>
                      <a:pt x="203251" y="124911"/>
                    </a:lnTo>
                    <a:lnTo>
                      <a:pt x="210821" y="137669"/>
                    </a:lnTo>
                    <a:lnTo>
                      <a:pt x="217555" y="143350"/>
                    </a:lnTo>
                    <a:lnTo>
                      <a:pt x="217962" y="146195"/>
                    </a:lnTo>
                    <a:lnTo>
                      <a:pt x="215047" y="152208"/>
                    </a:lnTo>
                    <a:lnTo>
                      <a:pt x="215261" y="155063"/>
                    </a:lnTo>
                    <a:lnTo>
                      <a:pt x="224230" y="155104"/>
                    </a:lnTo>
                    <a:lnTo>
                      <a:pt x="233662" y="164783"/>
                    </a:lnTo>
                    <a:lnTo>
                      <a:pt x="233759" y="167447"/>
                    </a:lnTo>
                    <a:lnTo>
                      <a:pt x="230512" y="171347"/>
                    </a:lnTo>
                    <a:lnTo>
                      <a:pt x="215564" y="176422"/>
                    </a:lnTo>
                    <a:lnTo>
                      <a:pt x="203931" y="168237"/>
                    </a:lnTo>
                    <a:lnTo>
                      <a:pt x="203585" y="165369"/>
                    </a:lnTo>
                    <a:lnTo>
                      <a:pt x="200107" y="163440"/>
                    </a:lnTo>
                    <a:lnTo>
                      <a:pt x="196606" y="175957"/>
                    </a:lnTo>
                    <a:lnTo>
                      <a:pt x="207260" y="187918"/>
                    </a:lnTo>
                    <a:lnTo>
                      <a:pt x="211488" y="187916"/>
                    </a:lnTo>
                    <a:lnTo>
                      <a:pt x="215037" y="182503"/>
                    </a:lnTo>
                    <a:lnTo>
                      <a:pt x="220183" y="183704"/>
                    </a:lnTo>
                    <a:lnTo>
                      <a:pt x="223257" y="181418"/>
                    </a:lnTo>
                    <a:lnTo>
                      <a:pt x="227925" y="185619"/>
                    </a:lnTo>
                    <a:lnTo>
                      <a:pt x="233426" y="185204"/>
                    </a:lnTo>
                    <a:lnTo>
                      <a:pt x="236299" y="188979"/>
                    </a:lnTo>
                    <a:lnTo>
                      <a:pt x="236722" y="191822"/>
                    </a:lnTo>
                    <a:lnTo>
                      <a:pt x="232995" y="204785"/>
                    </a:lnTo>
                    <a:lnTo>
                      <a:pt x="233410" y="211031"/>
                    </a:lnTo>
                    <a:lnTo>
                      <a:pt x="230086" y="212383"/>
                    </a:lnTo>
                    <a:lnTo>
                      <a:pt x="224691" y="210348"/>
                    </a:lnTo>
                    <a:lnTo>
                      <a:pt x="222752" y="211958"/>
                    </a:lnTo>
                    <a:lnTo>
                      <a:pt x="218064" y="217949"/>
                    </a:lnTo>
                    <a:lnTo>
                      <a:pt x="217407" y="224035"/>
                    </a:lnTo>
                    <a:lnTo>
                      <a:pt x="211016" y="233854"/>
                    </a:lnTo>
                    <a:lnTo>
                      <a:pt x="214484" y="250908"/>
                    </a:lnTo>
                    <a:lnTo>
                      <a:pt x="210917" y="254047"/>
                    </a:lnTo>
                    <a:lnTo>
                      <a:pt x="213050" y="257332"/>
                    </a:lnTo>
                    <a:lnTo>
                      <a:pt x="210777" y="260224"/>
                    </a:lnTo>
                    <a:lnTo>
                      <a:pt x="204604" y="257256"/>
                    </a:lnTo>
                    <a:lnTo>
                      <a:pt x="194563" y="246305"/>
                    </a:lnTo>
                    <a:lnTo>
                      <a:pt x="190094" y="243576"/>
                    </a:lnTo>
                    <a:lnTo>
                      <a:pt x="185283" y="242665"/>
                    </a:lnTo>
                    <a:lnTo>
                      <a:pt x="178211" y="246119"/>
                    </a:lnTo>
                    <a:lnTo>
                      <a:pt x="166591" y="244904"/>
                    </a:lnTo>
                    <a:lnTo>
                      <a:pt x="163687" y="247070"/>
                    </a:lnTo>
                    <a:lnTo>
                      <a:pt x="163994" y="254507"/>
                    </a:lnTo>
                    <a:lnTo>
                      <a:pt x="160265" y="258098"/>
                    </a:lnTo>
                    <a:lnTo>
                      <a:pt x="151501" y="260875"/>
                    </a:lnTo>
                    <a:lnTo>
                      <a:pt x="145707" y="255850"/>
                    </a:lnTo>
                    <a:lnTo>
                      <a:pt x="143565" y="256293"/>
                    </a:lnTo>
                    <a:lnTo>
                      <a:pt x="144541" y="266752"/>
                    </a:lnTo>
                    <a:lnTo>
                      <a:pt x="138483" y="276621"/>
                    </a:lnTo>
                    <a:lnTo>
                      <a:pt x="130874" y="261371"/>
                    </a:lnTo>
                    <a:lnTo>
                      <a:pt x="118703" y="259655"/>
                    </a:lnTo>
                    <a:lnTo>
                      <a:pt x="115974" y="258917"/>
                    </a:lnTo>
                    <a:lnTo>
                      <a:pt x="111951" y="263579"/>
                    </a:lnTo>
                    <a:lnTo>
                      <a:pt x="103202" y="266331"/>
                    </a:lnTo>
                    <a:lnTo>
                      <a:pt x="93595" y="272319"/>
                    </a:lnTo>
                    <a:lnTo>
                      <a:pt x="91616" y="270692"/>
                    </a:lnTo>
                    <a:lnTo>
                      <a:pt x="91093" y="266467"/>
                    </a:lnTo>
                    <a:lnTo>
                      <a:pt x="86975" y="263380"/>
                    </a:lnTo>
                    <a:lnTo>
                      <a:pt x="87816" y="257608"/>
                    </a:lnTo>
                    <a:lnTo>
                      <a:pt x="87035" y="254879"/>
                    </a:lnTo>
                    <a:lnTo>
                      <a:pt x="84038" y="253525"/>
                    </a:lnTo>
                    <a:lnTo>
                      <a:pt x="86778" y="233643"/>
                    </a:lnTo>
                    <a:lnTo>
                      <a:pt x="86236" y="228984"/>
                    </a:lnTo>
                    <a:lnTo>
                      <a:pt x="77397" y="230887"/>
                    </a:lnTo>
                    <a:lnTo>
                      <a:pt x="66408" y="230215"/>
                    </a:lnTo>
                    <a:lnTo>
                      <a:pt x="65379" y="229204"/>
                    </a:lnTo>
                    <a:lnTo>
                      <a:pt x="68380" y="223327"/>
                    </a:lnTo>
                    <a:lnTo>
                      <a:pt x="58836" y="219946"/>
                    </a:lnTo>
                    <a:lnTo>
                      <a:pt x="58330" y="218802"/>
                    </a:lnTo>
                    <a:lnTo>
                      <a:pt x="61684" y="215133"/>
                    </a:lnTo>
                    <a:lnTo>
                      <a:pt x="61123" y="212610"/>
                    </a:lnTo>
                    <a:lnTo>
                      <a:pt x="56877" y="208018"/>
                    </a:lnTo>
                    <a:lnTo>
                      <a:pt x="47596" y="204303"/>
                    </a:lnTo>
                    <a:lnTo>
                      <a:pt x="46913" y="196152"/>
                    </a:lnTo>
                    <a:lnTo>
                      <a:pt x="37856" y="194635"/>
                    </a:lnTo>
                    <a:lnTo>
                      <a:pt x="34627" y="196693"/>
                    </a:lnTo>
                    <a:lnTo>
                      <a:pt x="32371" y="195625"/>
                    </a:lnTo>
                    <a:lnTo>
                      <a:pt x="29080" y="190137"/>
                    </a:lnTo>
                    <a:lnTo>
                      <a:pt x="28013" y="180301"/>
                    </a:lnTo>
                    <a:lnTo>
                      <a:pt x="16685" y="176857"/>
                    </a:lnTo>
                    <a:lnTo>
                      <a:pt x="13900" y="169545"/>
                    </a:lnTo>
                    <a:lnTo>
                      <a:pt x="6885" y="165503"/>
                    </a:lnTo>
                    <a:lnTo>
                      <a:pt x="6036" y="159878"/>
                    </a:lnTo>
                    <a:lnTo>
                      <a:pt x="0" y="150578"/>
                    </a:lnTo>
                    <a:lnTo>
                      <a:pt x="0" y="144105"/>
                    </a:lnTo>
                    <a:lnTo>
                      <a:pt x="13393" y="137060"/>
                    </a:lnTo>
                    <a:lnTo>
                      <a:pt x="15383" y="131877"/>
                    </a:lnTo>
                    <a:lnTo>
                      <a:pt x="22943" y="125286"/>
                    </a:lnTo>
                    <a:lnTo>
                      <a:pt x="32388" y="111378"/>
                    </a:lnTo>
                    <a:lnTo>
                      <a:pt x="33223" y="108259"/>
                    </a:lnTo>
                    <a:lnTo>
                      <a:pt x="29754" y="95239"/>
                    </a:lnTo>
                    <a:lnTo>
                      <a:pt x="15671" y="87498"/>
                    </a:lnTo>
                    <a:lnTo>
                      <a:pt x="17299" y="77647"/>
                    </a:lnTo>
                    <a:lnTo>
                      <a:pt x="13193" y="72921"/>
                    </a:lnTo>
                    <a:lnTo>
                      <a:pt x="13227" y="69303"/>
                    </a:lnTo>
                    <a:lnTo>
                      <a:pt x="17060" y="69426"/>
                    </a:lnTo>
                    <a:lnTo>
                      <a:pt x="21125" y="74319"/>
                    </a:lnTo>
                    <a:lnTo>
                      <a:pt x="27201" y="81032"/>
                    </a:lnTo>
                    <a:lnTo>
                      <a:pt x="34475" y="88342"/>
                    </a:lnTo>
                    <a:lnTo>
                      <a:pt x="43771" y="89195"/>
                    </a:lnTo>
                    <a:lnTo>
                      <a:pt x="47052" y="84601"/>
                    </a:lnTo>
                    <a:lnTo>
                      <a:pt x="54472" y="77924"/>
                    </a:lnTo>
                    <a:lnTo>
                      <a:pt x="59538" y="70084"/>
                    </a:lnTo>
                    <a:lnTo>
                      <a:pt x="64454" y="67962"/>
                    </a:lnTo>
                    <a:lnTo>
                      <a:pt x="76428" y="59778"/>
                    </a:lnTo>
                    <a:lnTo>
                      <a:pt x="88627" y="56674"/>
                    </a:lnTo>
                    <a:lnTo>
                      <a:pt x="94369" y="55768"/>
                    </a:lnTo>
                    <a:lnTo>
                      <a:pt x="96232" y="54405"/>
                    </a:lnTo>
                    <a:lnTo>
                      <a:pt x="97203" y="50553"/>
                    </a:lnTo>
                    <a:lnTo>
                      <a:pt x="96845" y="42958"/>
                    </a:lnTo>
                    <a:lnTo>
                      <a:pt x="96136" y="27970"/>
                    </a:lnTo>
                    <a:lnTo>
                      <a:pt x="107789" y="31381"/>
                    </a:lnTo>
                    <a:lnTo>
                      <a:pt x="115235" y="30818"/>
                    </a:lnTo>
                    <a:lnTo>
                      <a:pt x="118737" y="27365"/>
                    </a:lnTo>
                    <a:lnTo>
                      <a:pt x="120602" y="21955"/>
                    </a:lnTo>
                    <a:lnTo>
                      <a:pt x="119022" y="10547"/>
                    </a:lnTo>
                    <a:lnTo>
                      <a:pt x="120661" y="8548"/>
                    </a:lnTo>
                    <a:lnTo>
                      <a:pt x="129213" y="7173"/>
                    </a:lnTo>
                    <a:lnTo>
                      <a:pt x="140899"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95" name="Freeform 52">
                <a:extLst>
                  <a:ext uri="{FF2B5EF4-FFF2-40B4-BE49-F238E27FC236}">
                    <a16:creationId xmlns:a16="http://schemas.microsoft.com/office/drawing/2014/main" id="{46D23912-0B79-1775-12CE-74234D2AB4D9}"/>
                  </a:ext>
                </a:extLst>
              </p:cNvPr>
              <p:cNvSpPr>
                <a:spLocks noChangeAspect="1"/>
              </p:cNvSpPr>
              <p:nvPr>
                <p:custDataLst>
                  <p:tags r:id="rId51"/>
                </p:custDataLst>
              </p:nvPr>
            </p:nvSpPr>
            <p:spPr>
              <a:xfrm>
                <a:off x="4949317" y="4562226"/>
                <a:ext cx="209281" cy="219859"/>
              </a:xfrm>
              <a:custGeom>
                <a:avLst/>
                <a:gdLst/>
                <a:ahLst/>
                <a:cxnLst/>
                <a:rect l="l" t="t" r="r" b="b"/>
                <a:pathLst>
                  <a:path w="214875" h="225736">
                    <a:moveTo>
                      <a:pt x="107696" y="119450"/>
                    </a:moveTo>
                    <a:lnTo>
                      <a:pt x="98368" y="119752"/>
                    </a:lnTo>
                    <a:lnTo>
                      <a:pt x="93922" y="126632"/>
                    </a:lnTo>
                    <a:lnTo>
                      <a:pt x="94163" y="134307"/>
                    </a:lnTo>
                    <a:lnTo>
                      <a:pt x="97585" y="150554"/>
                    </a:lnTo>
                    <a:lnTo>
                      <a:pt x="108229" y="154062"/>
                    </a:lnTo>
                    <a:lnTo>
                      <a:pt x="121281" y="142074"/>
                    </a:lnTo>
                    <a:lnTo>
                      <a:pt x="122681" y="131457"/>
                    </a:lnTo>
                    <a:lnTo>
                      <a:pt x="118866" y="121965"/>
                    </a:lnTo>
                    <a:close/>
                    <a:moveTo>
                      <a:pt x="185101" y="0"/>
                    </a:moveTo>
                    <a:lnTo>
                      <a:pt x="185864" y="6590"/>
                    </a:lnTo>
                    <a:lnTo>
                      <a:pt x="189950" y="9616"/>
                    </a:lnTo>
                    <a:lnTo>
                      <a:pt x="190690" y="12353"/>
                    </a:lnTo>
                    <a:lnTo>
                      <a:pt x="186881" y="25361"/>
                    </a:lnTo>
                    <a:lnTo>
                      <a:pt x="189365" y="29930"/>
                    </a:lnTo>
                    <a:lnTo>
                      <a:pt x="189395" y="34395"/>
                    </a:lnTo>
                    <a:lnTo>
                      <a:pt x="196395" y="36044"/>
                    </a:lnTo>
                    <a:lnTo>
                      <a:pt x="200103" y="42579"/>
                    </a:lnTo>
                    <a:lnTo>
                      <a:pt x="204726" y="54514"/>
                    </a:lnTo>
                    <a:lnTo>
                      <a:pt x="208202" y="58092"/>
                    </a:lnTo>
                    <a:lnTo>
                      <a:pt x="211533" y="72841"/>
                    </a:lnTo>
                    <a:lnTo>
                      <a:pt x="214875" y="80534"/>
                    </a:lnTo>
                    <a:lnTo>
                      <a:pt x="207951" y="86042"/>
                    </a:lnTo>
                    <a:lnTo>
                      <a:pt x="197743" y="93175"/>
                    </a:lnTo>
                    <a:lnTo>
                      <a:pt x="184904" y="92694"/>
                    </a:lnTo>
                    <a:lnTo>
                      <a:pt x="179809" y="96738"/>
                    </a:lnTo>
                    <a:lnTo>
                      <a:pt x="180091" y="104412"/>
                    </a:lnTo>
                    <a:lnTo>
                      <a:pt x="181463" y="110131"/>
                    </a:lnTo>
                    <a:lnTo>
                      <a:pt x="181123" y="116880"/>
                    </a:lnTo>
                    <a:lnTo>
                      <a:pt x="181617" y="130327"/>
                    </a:lnTo>
                    <a:lnTo>
                      <a:pt x="182557" y="139904"/>
                    </a:lnTo>
                    <a:lnTo>
                      <a:pt x="185901" y="151338"/>
                    </a:lnTo>
                    <a:lnTo>
                      <a:pt x="191620" y="163609"/>
                    </a:lnTo>
                    <a:lnTo>
                      <a:pt x="197172" y="171095"/>
                    </a:lnTo>
                    <a:lnTo>
                      <a:pt x="200120" y="173205"/>
                    </a:lnTo>
                    <a:lnTo>
                      <a:pt x="199090" y="174113"/>
                    </a:lnTo>
                    <a:lnTo>
                      <a:pt x="192956" y="176263"/>
                    </a:lnTo>
                    <a:lnTo>
                      <a:pt x="186333" y="173646"/>
                    </a:lnTo>
                    <a:lnTo>
                      <a:pt x="176508" y="175385"/>
                    </a:lnTo>
                    <a:lnTo>
                      <a:pt x="169326" y="173524"/>
                    </a:lnTo>
                    <a:lnTo>
                      <a:pt x="167379" y="175077"/>
                    </a:lnTo>
                    <a:lnTo>
                      <a:pt x="162754" y="187156"/>
                    </a:lnTo>
                    <a:lnTo>
                      <a:pt x="168088" y="191408"/>
                    </a:lnTo>
                    <a:lnTo>
                      <a:pt x="164995" y="197368"/>
                    </a:lnTo>
                    <a:lnTo>
                      <a:pt x="161953" y="197359"/>
                    </a:lnTo>
                    <a:lnTo>
                      <a:pt x="152517" y="192183"/>
                    </a:lnTo>
                    <a:lnTo>
                      <a:pt x="146544" y="191641"/>
                    </a:lnTo>
                    <a:lnTo>
                      <a:pt x="130304" y="199432"/>
                    </a:lnTo>
                    <a:lnTo>
                      <a:pt x="129633" y="200620"/>
                    </a:lnTo>
                    <a:lnTo>
                      <a:pt x="130580" y="202821"/>
                    </a:lnTo>
                    <a:lnTo>
                      <a:pt x="133104" y="203900"/>
                    </a:lnTo>
                    <a:lnTo>
                      <a:pt x="128144" y="215644"/>
                    </a:lnTo>
                    <a:lnTo>
                      <a:pt x="114966" y="207807"/>
                    </a:lnTo>
                    <a:lnTo>
                      <a:pt x="107392" y="215897"/>
                    </a:lnTo>
                    <a:lnTo>
                      <a:pt x="102453" y="225736"/>
                    </a:lnTo>
                    <a:lnTo>
                      <a:pt x="95440" y="224795"/>
                    </a:lnTo>
                    <a:lnTo>
                      <a:pt x="89183" y="211817"/>
                    </a:lnTo>
                    <a:lnTo>
                      <a:pt x="82206" y="208104"/>
                    </a:lnTo>
                    <a:lnTo>
                      <a:pt x="69429" y="188111"/>
                    </a:lnTo>
                    <a:lnTo>
                      <a:pt x="45222" y="176185"/>
                    </a:lnTo>
                    <a:lnTo>
                      <a:pt x="43138" y="171150"/>
                    </a:lnTo>
                    <a:lnTo>
                      <a:pt x="40010" y="167645"/>
                    </a:lnTo>
                    <a:lnTo>
                      <a:pt x="21713" y="160078"/>
                    </a:lnTo>
                    <a:lnTo>
                      <a:pt x="16236" y="153334"/>
                    </a:lnTo>
                    <a:lnTo>
                      <a:pt x="9669" y="151063"/>
                    </a:lnTo>
                    <a:lnTo>
                      <a:pt x="10302" y="143402"/>
                    </a:lnTo>
                    <a:lnTo>
                      <a:pt x="6227" y="135551"/>
                    </a:lnTo>
                    <a:lnTo>
                      <a:pt x="11296" y="132216"/>
                    </a:lnTo>
                    <a:lnTo>
                      <a:pt x="11826" y="127758"/>
                    </a:lnTo>
                    <a:lnTo>
                      <a:pt x="786" y="114562"/>
                    </a:lnTo>
                    <a:lnTo>
                      <a:pt x="0" y="111502"/>
                    </a:lnTo>
                    <a:lnTo>
                      <a:pt x="10911" y="103145"/>
                    </a:lnTo>
                    <a:lnTo>
                      <a:pt x="11664" y="99935"/>
                    </a:lnTo>
                    <a:lnTo>
                      <a:pt x="8708" y="92696"/>
                    </a:lnTo>
                    <a:lnTo>
                      <a:pt x="9039" y="88016"/>
                    </a:lnTo>
                    <a:lnTo>
                      <a:pt x="10984" y="86472"/>
                    </a:lnTo>
                    <a:lnTo>
                      <a:pt x="24427" y="86531"/>
                    </a:lnTo>
                    <a:lnTo>
                      <a:pt x="29128" y="84603"/>
                    </a:lnTo>
                    <a:lnTo>
                      <a:pt x="30129" y="83627"/>
                    </a:lnTo>
                    <a:lnTo>
                      <a:pt x="29381" y="79707"/>
                    </a:lnTo>
                    <a:lnTo>
                      <a:pt x="35032" y="72763"/>
                    </a:lnTo>
                    <a:lnTo>
                      <a:pt x="42339" y="70204"/>
                    </a:lnTo>
                    <a:lnTo>
                      <a:pt x="43766" y="63683"/>
                    </a:lnTo>
                    <a:lnTo>
                      <a:pt x="48158" y="55695"/>
                    </a:lnTo>
                    <a:lnTo>
                      <a:pt x="47602" y="54240"/>
                    </a:lnTo>
                    <a:lnTo>
                      <a:pt x="54649" y="47227"/>
                    </a:lnTo>
                    <a:lnTo>
                      <a:pt x="63206" y="41875"/>
                    </a:lnTo>
                    <a:lnTo>
                      <a:pt x="72124" y="41939"/>
                    </a:lnTo>
                    <a:lnTo>
                      <a:pt x="71399" y="58198"/>
                    </a:lnTo>
                    <a:lnTo>
                      <a:pt x="73551" y="65777"/>
                    </a:lnTo>
                    <a:lnTo>
                      <a:pt x="81689" y="73594"/>
                    </a:lnTo>
                    <a:lnTo>
                      <a:pt x="90402" y="75511"/>
                    </a:lnTo>
                    <a:lnTo>
                      <a:pt x="95269" y="70092"/>
                    </a:lnTo>
                    <a:lnTo>
                      <a:pt x="102772" y="67617"/>
                    </a:lnTo>
                    <a:lnTo>
                      <a:pt x="110330" y="61206"/>
                    </a:lnTo>
                    <a:lnTo>
                      <a:pt x="117139" y="59598"/>
                    </a:lnTo>
                    <a:lnTo>
                      <a:pt x="121420" y="62436"/>
                    </a:lnTo>
                    <a:lnTo>
                      <a:pt x="138163" y="60362"/>
                    </a:lnTo>
                    <a:lnTo>
                      <a:pt x="139636" y="58403"/>
                    </a:lnTo>
                    <a:lnTo>
                      <a:pt x="140363" y="53489"/>
                    </a:lnTo>
                    <a:lnTo>
                      <a:pt x="145778" y="50216"/>
                    </a:lnTo>
                    <a:lnTo>
                      <a:pt x="150306" y="44011"/>
                    </a:lnTo>
                    <a:lnTo>
                      <a:pt x="149340" y="40114"/>
                    </a:lnTo>
                    <a:lnTo>
                      <a:pt x="150009" y="39131"/>
                    </a:lnTo>
                    <a:lnTo>
                      <a:pt x="156596" y="36990"/>
                    </a:lnTo>
                    <a:lnTo>
                      <a:pt x="166932" y="26737"/>
                    </a:lnTo>
                    <a:lnTo>
                      <a:pt x="173031" y="12702"/>
                    </a:lnTo>
                    <a:lnTo>
                      <a:pt x="173241" y="8029"/>
                    </a:lnTo>
                    <a:lnTo>
                      <a:pt x="179406" y="163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96" name="Freeform 54">
                <a:extLst>
                  <a:ext uri="{FF2B5EF4-FFF2-40B4-BE49-F238E27FC236}">
                    <a16:creationId xmlns:a16="http://schemas.microsoft.com/office/drawing/2014/main" id="{3C88B3FD-F749-C286-169A-8EED550C7AC6}"/>
                  </a:ext>
                </a:extLst>
              </p:cNvPr>
              <p:cNvSpPr>
                <a:spLocks noChangeAspect="1"/>
              </p:cNvSpPr>
              <p:nvPr>
                <p:custDataLst>
                  <p:tags r:id="rId52"/>
                </p:custDataLst>
              </p:nvPr>
            </p:nvSpPr>
            <p:spPr>
              <a:xfrm>
                <a:off x="5188882" y="4250395"/>
                <a:ext cx="33495" cy="28936"/>
              </a:xfrm>
              <a:custGeom>
                <a:avLst/>
                <a:gdLst/>
                <a:ahLst/>
                <a:cxnLst/>
                <a:rect l="0" t="0" r="0" b="0"/>
                <a:pathLst>
                  <a:path w="34390" h="29710">
                    <a:moveTo>
                      <a:pt x="34389" y="18845"/>
                    </a:moveTo>
                    <a:lnTo>
                      <a:pt x="34384" y="18844"/>
                    </a:lnTo>
                    <a:lnTo>
                      <a:pt x="32219" y="18597"/>
                    </a:lnTo>
                    <a:lnTo>
                      <a:pt x="4186" y="29531"/>
                    </a:lnTo>
                    <a:lnTo>
                      <a:pt x="0" y="29709"/>
                    </a:lnTo>
                    <a:lnTo>
                      <a:pt x="260" y="25096"/>
                    </a:lnTo>
                    <a:lnTo>
                      <a:pt x="671" y="16402"/>
                    </a:lnTo>
                    <a:lnTo>
                      <a:pt x="4355" y="6698"/>
                    </a:lnTo>
                    <a:lnTo>
                      <a:pt x="8318" y="3484"/>
                    </a:lnTo>
                    <a:lnTo>
                      <a:pt x="13067" y="680"/>
                    </a:lnTo>
                    <a:lnTo>
                      <a:pt x="18934" y="0"/>
                    </a:lnTo>
                    <a:lnTo>
                      <a:pt x="23324" y="677"/>
                    </a:lnTo>
                    <a:lnTo>
                      <a:pt x="27591" y="4383"/>
                    </a:lnTo>
                    <a:lnTo>
                      <a:pt x="30866" y="9011"/>
                    </a:lnTo>
                    <a:lnTo>
                      <a:pt x="33399" y="14108"/>
                    </a:lnTo>
                    <a:lnTo>
                      <a:pt x="34158" y="1751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97" name="Freeform 55">
                <a:extLst>
                  <a:ext uri="{FF2B5EF4-FFF2-40B4-BE49-F238E27FC236}">
                    <a16:creationId xmlns:a16="http://schemas.microsoft.com/office/drawing/2014/main" id="{47059BDA-572D-0647-9032-73C7AED48FAB}"/>
                  </a:ext>
                </a:extLst>
              </p:cNvPr>
              <p:cNvSpPr>
                <a:spLocks noChangeAspect="1"/>
              </p:cNvSpPr>
              <p:nvPr>
                <p:custDataLst>
                  <p:tags r:id="rId53"/>
                </p:custDataLst>
              </p:nvPr>
            </p:nvSpPr>
            <p:spPr>
              <a:xfrm>
                <a:off x="5227537" y="4308395"/>
                <a:ext cx="68505" cy="74487"/>
              </a:xfrm>
              <a:custGeom>
                <a:avLst/>
                <a:gdLst/>
                <a:ahLst/>
                <a:cxnLst/>
                <a:rect l="0" t="0" r="0" b="0"/>
                <a:pathLst>
                  <a:path w="70336" h="76478">
                    <a:moveTo>
                      <a:pt x="70335" y="37650"/>
                    </a:moveTo>
                    <a:lnTo>
                      <a:pt x="70317" y="37667"/>
                    </a:lnTo>
                    <a:lnTo>
                      <a:pt x="69267" y="38559"/>
                    </a:lnTo>
                    <a:lnTo>
                      <a:pt x="68823" y="38857"/>
                    </a:lnTo>
                    <a:lnTo>
                      <a:pt x="65542" y="40995"/>
                    </a:lnTo>
                    <a:lnTo>
                      <a:pt x="60172" y="42620"/>
                    </a:lnTo>
                    <a:lnTo>
                      <a:pt x="55524" y="41787"/>
                    </a:lnTo>
                    <a:lnTo>
                      <a:pt x="52476" y="44058"/>
                    </a:lnTo>
                    <a:lnTo>
                      <a:pt x="45526" y="62875"/>
                    </a:lnTo>
                    <a:lnTo>
                      <a:pt x="46096" y="65616"/>
                    </a:lnTo>
                    <a:lnTo>
                      <a:pt x="50357" y="70089"/>
                    </a:lnTo>
                    <a:lnTo>
                      <a:pt x="44058" y="76131"/>
                    </a:lnTo>
                    <a:lnTo>
                      <a:pt x="41354" y="76477"/>
                    </a:lnTo>
                    <a:lnTo>
                      <a:pt x="35791" y="71321"/>
                    </a:lnTo>
                    <a:lnTo>
                      <a:pt x="34420" y="67649"/>
                    </a:lnTo>
                    <a:lnTo>
                      <a:pt x="30604" y="65811"/>
                    </a:lnTo>
                    <a:lnTo>
                      <a:pt x="29001" y="62702"/>
                    </a:lnTo>
                    <a:lnTo>
                      <a:pt x="22973" y="57990"/>
                    </a:lnTo>
                    <a:lnTo>
                      <a:pt x="24006" y="48799"/>
                    </a:lnTo>
                    <a:lnTo>
                      <a:pt x="20320" y="35902"/>
                    </a:lnTo>
                    <a:lnTo>
                      <a:pt x="26172" y="27231"/>
                    </a:lnTo>
                    <a:lnTo>
                      <a:pt x="25934" y="24484"/>
                    </a:lnTo>
                    <a:lnTo>
                      <a:pt x="17334" y="24336"/>
                    </a:lnTo>
                    <a:lnTo>
                      <a:pt x="10381" y="15640"/>
                    </a:lnTo>
                    <a:lnTo>
                      <a:pt x="0" y="9743"/>
                    </a:lnTo>
                    <a:lnTo>
                      <a:pt x="1468" y="5684"/>
                    </a:lnTo>
                    <a:lnTo>
                      <a:pt x="7859" y="3765"/>
                    </a:lnTo>
                    <a:lnTo>
                      <a:pt x="17532" y="427"/>
                    </a:lnTo>
                    <a:lnTo>
                      <a:pt x="18521" y="6"/>
                    </a:lnTo>
                    <a:lnTo>
                      <a:pt x="18536" y="0"/>
                    </a:lnTo>
                    <a:lnTo>
                      <a:pt x="20922" y="3382"/>
                    </a:lnTo>
                    <a:lnTo>
                      <a:pt x="31262" y="8179"/>
                    </a:lnTo>
                    <a:lnTo>
                      <a:pt x="38640" y="16254"/>
                    </a:lnTo>
                    <a:lnTo>
                      <a:pt x="42683" y="18928"/>
                    </a:lnTo>
                    <a:lnTo>
                      <a:pt x="50671" y="19761"/>
                    </a:lnTo>
                    <a:lnTo>
                      <a:pt x="53982" y="20971"/>
                    </a:lnTo>
                    <a:lnTo>
                      <a:pt x="65215" y="3383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98" name="Freeform 56">
                <a:extLst>
                  <a:ext uri="{FF2B5EF4-FFF2-40B4-BE49-F238E27FC236}">
                    <a16:creationId xmlns:a16="http://schemas.microsoft.com/office/drawing/2014/main" id="{FB0BC547-FDF2-808F-12EB-0A07D4A3D25E}"/>
                  </a:ext>
                </a:extLst>
              </p:cNvPr>
              <p:cNvSpPr>
                <a:spLocks noChangeAspect="1"/>
              </p:cNvSpPr>
              <p:nvPr>
                <p:custDataLst>
                  <p:tags r:id="rId54"/>
                </p:custDataLst>
              </p:nvPr>
            </p:nvSpPr>
            <p:spPr>
              <a:xfrm>
                <a:off x="5082792" y="4277985"/>
                <a:ext cx="162800" cy="101845"/>
              </a:xfrm>
              <a:custGeom>
                <a:avLst/>
                <a:gdLst/>
                <a:ahLst/>
                <a:cxnLst/>
                <a:rect l="0" t="0" r="0" b="0"/>
                <a:pathLst>
                  <a:path w="167152" h="104567">
                    <a:moveTo>
                      <a:pt x="167151" y="31223"/>
                    </a:moveTo>
                    <a:lnTo>
                      <a:pt x="167136" y="31229"/>
                    </a:lnTo>
                    <a:lnTo>
                      <a:pt x="166147" y="31650"/>
                    </a:lnTo>
                    <a:lnTo>
                      <a:pt x="156474" y="34988"/>
                    </a:lnTo>
                    <a:lnTo>
                      <a:pt x="150083" y="36907"/>
                    </a:lnTo>
                    <a:lnTo>
                      <a:pt x="148615" y="40966"/>
                    </a:lnTo>
                    <a:lnTo>
                      <a:pt x="147545" y="40361"/>
                    </a:lnTo>
                    <a:lnTo>
                      <a:pt x="146395" y="42864"/>
                    </a:lnTo>
                    <a:lnTo>
                      <a:pt x="147026" y="49952"/>
                    </a:lnTo>
                    <a:lnTo>
                      <a:pt x="139134" y="59859"/>
                    </a:lnTo>
                    <a:lnTo>
                      <a:pt x="133499" y="60957"/>
                    </a:lnTo>
                    <a:lnTo>
                      <a:pt x="118783" y="57651"/>
                    </a:lnTo>
                    <a:lnTo>
                      <a:pt x="105558" y="68845"/>
                    </a:lnTo>
                    <a:lnTo>
                      <a:pt x="105749" y="70340"/>
                    </a:lnTo>
                    <a:lnTo>
                      <a:pt x="122999" y="70753"/>
                    </a:lnTo>
                    <a:lnTo>
                      <a:pt x="125888" y="73197"/>
                    </a:lnTo>
                    <a:lnTo>
                      <a:pt x="126265" y="76254"/>
                    </a:lnTo>
                    <a:lnTo>
                      <a:pt x="123665" y="78916"/>
                    </a:lnTo>
                    <a:lnTo>
                      <a:pt x="110200" y="81833"/>
                    </a:lnTo>
                    <a:lnTo>
                      <a:pt x="107638" y="88622"/>
                    </a:lnTo>
                    <a:lnTo>
                      <a:pt x="109244" y="92171"/>
                    </a:lnTo>
                    <a:lnTo>
                      <a:pt x="108869" y="93886"/>
                    </a:lnTo>
                    <a:lnTo>
                      <a:pt x="99758" y="98299"/>
                    </a:lnTo>
                    <a:lnTo>
                      <a:pt x="86035" y="103013"/>
                    </a:lnTo>
                    <a:lnTo>
                      <a:pt x="78179" y="102699"/>
                    </a:lnTo>
                    <a:lnTo>
                      <a:pt x="75790" y="101510"/>
                    </a:lnTo>
                    <a:lnTo>
                      <a:pt x="73893" y="98187"/>
                    </a:lnTo>
                    <a:lnTo>
                      <a:pt x="76257" y="89277"/>
                    </a:lnTo>
                    <a:lnTo>
                      <a:pt x="76076" y="84720"/>
                    </a:lnTo>
                    <a:lnTo>
                      <a:pt x="74541" y="82765"/>
                    </a:lnTo>
                    <a:lnTo>
                      <a:pt x="46293" y="80571"/>
                    </a:lnTo>
                    <a:lnTo>
                      <a:pt x="44979" y="91035"/>
                    </a:lnTo>
                    <a:lnTo>
                      <a:pt x="40931" y="95970"/>
                    </a:lnTo>
                    <a:lnTo>
                      <a:pt x="34122" y="104566"/>
                    </a:lnTo>
                    <a:lnTo>
                      <a:pt x="9518" y="103394"/>
                    </a:lnTo>
                    <a:lnTo>
                      <a:pt x="8346" y="102368"/>
                    </a:lnTo>
                    <a:lnTo>
                      <a:pt x="12547" y="99766"/>
                    </a:lnTo>
                    <a:lnTo>
                      <a:pt x="12552" y="98087"/>
                    </a:lnTo>
                    <a:lnTo>
                      <a:pt x="5857" y="92162"/>
                    </a:lnTo>
                    <a:lnTo>
                      <a:pt x="0" y="80683"/>
                    </a:lnTo>
                    <a:lnTo>
                      <a:pt x="6285" y="74720"/>
                    </a:lnTo>
                    <a:lnTo>
                      <a:pt x="13984" y="76359"/>
                    </a:lnTo>
                    <a:lnTo>
                      <a:pt x="16033" y="75219"/>
                    </a:lnTo>
                    <a:lnTo>
                      <a:pt x="15628" y="69503"/>
                    </a:lnTo>
                    <a:lnTo>
                      <a:pt x="11728" y="66344"/>
                    </a:lnTo>
                    <a:lnTo>
                      <a:pt x="10770" y="62347"/>
                    </a:lnTo>
                    <a:lnTo>
                      <a:pt x="8095" y="59895"/>
                    </a:lnTo>
                    <a:lnTo>
                      <a:pt x="13202" y="56214"/>
                    </a:lnTo>
                    <a:lnTo>
                      <a:pt x="16135" y="57055"/>
                    </a:lnTo>
                    <a:lnTo>
                      <a:pt x="17841" y="55728"/>
                    </a:lnTo>
                    <a:lnTo>
                      <a:pt x="18881" y="49309"/>
                    </a:lnTo>
                    <a:lnTo>
                      <a:pt x="17456" y="43946"/>
                    </a:lnTo>
                    <a:lnTo>
                      <a:pt x="21212" y="43275"/>
                    </a:lnTo>
                    <a:lnTo>
                      <a:pt x="28992" y="34786"/>
                    </a:lnTo>
                    <a:lnTo>
                      <a:pt x="38031" y="25722"/>
                    </a:lnTo>
                    <a:lnTo>
                      <a:pt x="47454" y="18268"/>
                    </a:lnTo>
                    <a:lnTo>
                      <a:pt x="52066" y="13397"/>
                    </a:lnTo>
                    <a:lnTo>
                      <a:pt x="52679" y="13669"/>
                    </a:lnTo>
                    <a:lnTo>
                      <a:pt x="52879" y="12486"/>
                    </a:lnTo>
                    <a:lnTo>
                      <a:pt x="52880" y="12479"/>
                    </a:lnTo>
                    <a:lnTo>
                      <a:pt x="54473" y="14039"/>
                    </a:lnTo>
                    <a:lnTo>
                      <a:pt x="57624" y="7861"/>
                    </a:lnTo>
                    <a:lnTo>
                      <a:pt x="63762" y="4648"/>
                    </a:lnTo>
                    <a:lnTo>
                      <a:pt x="70583" y="3894"/>
                    </a:lnTo>
                    <a:lnTo>
                      <a:pt x="75919" y="5127"/>
                    </a:lnTo>
                    <a:lnTo>
                      <a:pt x="85386" y="11465"/>
                    </a:lnTo>
                    <a:lnTo>
                      <a:pt x="87922" y="14008"/>
                    </a:lnTo>
                    <a:lnTo>
                      <a:pt x="91363" y="16122"/>
                    </a:lnTo>
                    <a:lnTo>
                      <a:pt x="94904" y="14591"/>
                    </a:lnTo>
                    <a:lnTo>
                      <a:pt x="100961" y="9296"/>
                    </a:lnTo>
                    <a:lnTo>
                      <a:pt x="141105" y="0"/>
                    </a:lnTo>
                    <a:lnTo>
                      <a:pt x="147523" y="2452"/>
                    </a:lnTo>
                    <a:lnTo>
                      <a:pt x="152160" y="993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99" name="Freeform 57">
                <a:extLst>
                  <a:ext uri="{FF2B5EF4-FFF2-40B4-BE49-F238E27FC236}">
                    <a16:creationId xmlns:a16="http://schemas.microsoft.com/office/drawing/2014/main" id="{C9808087-A15E-1F76-B481-70E8BFB699A9}"/>
                  </a:ext>
                </a:extLst>
              </p:cNvPr>
              <p:cNvSpPr>
                <a:spLocks noChangeAspect="1"/>
              </p:cNvSpPr>
              <p:nvPr>
                <p:custDataLst>
                  <p:tags r:id="rId55"/>
                </p:custDataLst>
              </p:nvPr>
            </p:nvSpPr>
            <p:spPr>
              <a:xfrm>
                <a:off x="4955799" y="4576185"/>
                <a:ext cx="33268" cy="35352"/>
              </a:xfrm>
              <a:custGeom>
                <a:avLst/>
                <a:gdLst/>
                <a:ahLst/>
                <a:cxnLst/>
                <a:rect l="0" t="0" r="0" b="0"/>
                <a:pathLst>
                  <a:path w="34157" h="36297">
                    <a:moveTo>
                      <a:pt x="26741" y="36296"/>
                    </a:moveTo>
                    <a:lnTo>
                      <a:pt x="20506" y="36056"/>
                    </a:lnTo>
                    <a:lnTo>
                      <a:pt x="12246" y="34646"/>
                    </a:lnTo>
                    <a:lnTo>
                      <a:pt x="0" y="23838"/>
                    </a:lnTo>
                    <a:lnTo>
                      <a:pt x="1534" y="15561"/>
                    </a:lnTo>
                    <a:lnTo>
                      <a:pt x="5346" y="9276"/>
                    </a:lnTo>
                    <a:lnTo>
                      <a:pt x="9400" y="2983"/>
                    </a:lnTo>
                    <a:lnTo>
                      <a:pt x="13046" y="0"/>
                    </a:lnTo>
                    <a:lnTo>
                      <a:pt x="20784" y="1010"/>
                    </a:lnTo>
                    <a:lnTo>
                      <a:pt x="28116" y="5345"/>
                    </a:lnTo>
                    <a:lnTo>
                      <a:pt x="32969" y="10144"/>
                    </a:lnTo>
                    <a:lnTo>
                      <a:pt x="34156" y="16708"/>
                    </a:lnTo>
                    <a:lnTo>
                      <a:pt x="32389" y="24601"/>
                    </a:lnTo>
                    <a:lnTo>
                      <a:pt x="29112" y="3211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00" name="Freeform 58">
                <a:extLst>
                  <a:ext uri="{FF2B5EF4-FFF2-40B4-BE49-F238E27FC236}">
                    <a16:creationId xmlns:a16="http://schemas.microsoft.com/office/drawing/2014/main" id="{357BE2DF-7AF6-E570-0044-405AEAEC77D4}"/>
                  </a:ext>
                </a:extLst>
              </p:cNvPr>
              <p:cNvSpPr>
                <a:spLocks noChangeAspect="1"/>
              </p:cNvSpPr>
              <p:nvPr>
                <p:custDataLst>
                  <p:tags r:id="rId56"/>
                </p:custDataLst>
              </p:nvPr>
            </p:nvSpPr>
            <p:spPr>
              <a:xfrm>
                <a:off x="4846076" y="4357005"/>
                <a:ext cx="191774" cy="314565"/>
              </a:xfrm>
              <a:custGeom>
                <a:avLst/>
                <a:gdLst/>
                <a:ahLst/>
                <a:cxnLst/>
                <a:rect l="l" t="t" r="r" b="b"/>
                <a:pathLst>
                  <a:path w="196900" h="322974">
                    <a:moveTo>
                      <a:pt x="125702" y="225039"/>
                    </a:moveTo>
                    <a:lnTo>
                      <a:pt x="122056" y="228022"/>
                    </a:lnTo>
                    <a:lnTo>
                      <a:pt x="118002" y="234315"/>
                    </a:lnTo>
                    <a:lnTo>
                      <a:pt x="114190" y="240600"/>
                    </a:lnTo>
                    <a:lnTo>
                      <a:pt x="112656" y="248877"/>
                    </a:lnTo>
                    <a:lnTo>
                      <a:pt x="124902" y="259685"/>
                    </a:lnTo>
                    <a:lnTo>
                      <a:pt x="133162" y="261095"/>
                    </a:lnTo>
                    <a:lnTo>
                      <a:pt x="139397" y="261335"/>
                    </a:lnTo>
                    <a:lnTo>
                      <a:pt x="141768" y="257149"/>
                    </a:lnTo>
                    <a:lnTo>
                      <a:pt x="145045" y="249640"/>
                    </a:lnTo>
                    <a:lnTo>
                      <a:pt x="146812" y="241747"/>
                    </a:lnTo>
                    <a:lnTo>
                      <a:pt x="145625" y="235183"/>
                    </a:lnTo>
                    <a:lnTo>
                      <a:pt x="140772" y="230384"/>
                    </a:lnTo>
                    <a:lnTo>
                      <a:pt x="133440" y="226049"/>
                    </a:lnTo>
                    <a:close/>
                    <a:moveTo>
                      <a:pt x="26286" y="0"/>
                    </a:moveTo>
                    <a:lnTo>
                      <a:pt x="32289" y="185"/>
                    </a:lnTo>
                    <a:lnTo>
                      <a:pt x="44844" y="6063"/>
                    </a:lnTo>
                    <a:lnTo>
                      <a:pt x="49672" y="13280"/>
                    </a:lnTo>
                    <a:lnTo>
                      <a:pt x="50416" y="20590"/>
                    </a:lnTo>
                    <a:lnTo>
                      <a:pt x="51825" y="24054"/>
                    </a:lnTo>
                    <a:lnTo>
                      <a:pt x="64833" y="34272"/>
                    </a:lnTo>
                    <a:lnTo>
                      <a:pt x="63680" y="41727"/>
                    </a:lnTo>
                    <a:lnTo>
                      <a:pt x="64414" y="45837"/>
                    </a:lnTo>
                    <a:lnTo>
                      <a:pt x="71877" y="48421"/>
                    </a:lnTo>
                    <a:lnTo>
                      <a:pt x="74564" y="54517"/>
                    </a:lnTo>
                    <a:lnTo>
                      <a:pt x="77922" y="54551"/>
                    </a:lnTo>
                    <a:lnTo>
                      <a:pt x="84734" y="58411"/>
                    </a:lnTo>
                    <a:lnTo>
                      <a:pt x="84929" y="61269"/>
                    </a:lnTo>
                    <a:lnTo>
                      <a:pt x="83252" y="65124"/>
                    </a:lnTo>
                    <a:lnTo>
                      <a:pt x="84093" y="67867"/>
                    </a:lnTo>
                    <a:lnTo>
                      <a:pt x="97400" y="72938"/>
                    </a:lnTo>
                    <a:lnTo>
                      <a:pt x="99885" y="75737"/>
                    </a:lnTo>
                    <a:lnTo>
                      <a:pt x="99729" y="77222"/>
                    </a:lnTo>
                    <a:lnTo>
                      <a:pt x="93621" y="81747"/>
                    </a:lnTo>
                    <a:lnTo>
                      <a:pt x="92615" y="84419"/>
                    </a:lnTo>
                    <a:lnTo>
                      <a:pt x="93710" y="85241"/>
                    </a:lnTo>
                    <a:lnTo>
                      <a:pt x="98889" y="86488"/>
                    </a:lnTo>
                    <a:lnTo>
                      <a:pt x="102725" y="85331"/>
                    </a:lnTo>
                    <a:lnTo>
                      <a:pt x="111822" y="90925"/>
                    </a:lnTo>
                    <a:lnTo>
                      <a:pt x="128196" y="83898"/>
                    </a:lnTo>
                    <a:lnTo>
                      <a:pt x="134168" y="77350"/>
                    </a:lnTo>
                    <a:lnTo>
                      <a:pt x="142893" y="76467"/>
                    </a:lnTo>
                    <a:lnTo>
                      <a:pt x="145408" y="77778"/>
                    </a:lnTo>
                    <a:lnTo>
                      <a:pt x="146012" y="83389"/>
                    </a:lnTo>
                    <a:lnTo>
                      <a:pt x="151034" y="85791"/>
                    </a:lnTo>
                    <a:lnTo>
                      <a:pt x="157137" y="86145"/>
                    </a:lnTo>
                    <a:lnTo>
                      <a:pt x="159447" y="84791"/>
                    </a:lnTo>
                    <a:lnTo>
                      <a:pt x="161785" y="80257"/>
                    </a:lnTo>
                    <a:lnTo>
                      <a:pt x="167393" y="78921"/>
                    </a:lnTo>
                    <a:lnTo>
                      <a:pt x="169587" y="80238"/>
                    </a:lnTo>
                    <a:lnTo>
                      <a:pt x="168662" y="85580"/>
                    </a:lnTo>
                    <a:lnTo>
                      <a:pt x="173372" y="85751"/>
                    </a:lnTo>
                    <a:lnTo>
                      <a:pt x="177775" y="88588"/>
                    </a:lnTo>
                    <a:lnTo>
                      <a:pt x="192934" y="87291"/>
                    </a:lnTo>
                    <a:lnTo>
                      <a:pt x="196613" y="89898"/>
                    </a:lnTo>
                    <a:lnTo>
                      <a:pt x="195809" y="94706"/>
                    </a:lnTo>
                    <a:lnTo>
                      <a:pt x="196900" y="98917"/>
                    </a:lnTo>
                    <a:lnTo>
                      <a:pt x="194759" y="103876"/>
                    </a:lnTo>
                    <a:lnTo>
                      <a:pt x="190780" y="106660"/>
                    </a:lnTo>
                    <a:lnTo>
                      <a:pt x="189128" y="110526"/>
                    </a:lnTo>
                    <a:lnTo>
                      <a:pt x="190866" y="119183"/>
                    </a:lnTo>
                    <a:lnTo>
                      <a:pt x="189876" y="128361"/>
                    </a:lnTo>
                    <a:lnTo>
                      <a:pt x="191571" y="133503"/>
                    </a:lnTo>
                    <a:lnTo>
                      <a:pt x="191045" y="135219"/>
                    </a:lnTo>
                    <a:lnTo>
                      <a:pt x="182138" y="137513"/>
                    </a:lnTo>
                    <a:lnTo>
                      <a:pt x="179093" y="141738"/>
                    </a:lnTo>
                    <a:lnTo>
                      <a:pt x="171619" y="141018"/>
                    </a:lnTo>
                    <a:lnTo>
                      <a:pt x="164107" y="145593"/>
                    </a:lnTo>
                    <a:lnTo>
                      <a:pt x="163536" y="150094"/>
                    </a:lnTo>
                    <a:lnTo>
                      <a:pt x="168861" y="167969"/>
                    </a:lnTo>
                    <a:lnTo>
                      <a:pt x="167053" y="171638"/>
                    </a:lnTo>
                    <a:lnTo>
                      <a:pt x="162384" y="175710"/>
                    </a:lnTo>
                    <a:lnTo>
                      <a:pt x="160572" y="181077"/>
                    </a:lnTo>
                    <a:lnTo>
                      <a:pt x="162542" y="187487"/>
                    </a:lnTo>
                    <a:lnTo>
                      <a:pt x="162902" y="195230"/>
                    </a:lnTo>
                    <a:lnTo>
                      <a:pt x="171830" y="205370"/>
                    </a:lnTo>
                    <a:lnTo>
                      <a:pt x="172607" y="220518"/>
                    </a:lnTo>
                    <a:lnTo>
                      <a:pt x="175922" y="230719"/>
                    </a:lnTo>
                    <a:lnTo>
                      <a:pt x="175781" y="238476"/>
                    </a:lnTo>
                    <a:lnTo>
                      <a:pt x="184859" y="245129"/>
                    </a:lnTo>
                    <a:lnTo>
                      <a:pt x="182187" y="251335"/>
                    </a:lnTo>
                    <a:lnTo>
                      <a:pt x="178123" y="252646"/>
                    </a:lnTo>
                    <a:lnTo>
                      <a:pt x="169205" y="252582"/>
                    </a:lnTo>
                    <a:lnTo>
                      <a:pt x="160648" y="257934"/>
                    </a:lnTo>
                    <a:lnTo>
                      <a:pt x="153601" y="264947"/>
                    </a:lnTo>
                    <a:lnTo>
                      <a:pt x="154157" y="266402"/>
                    </a:lnTo>
                    <a:lnTo>
                      <a:pt x="149765" y="274390"/>
                    </a:lnTo>
                    <a:lnTo>
                      <a:pt x="148338" y="280911"/>
                    </a:lnTo>
                    <a:lnTo>
                      <a:pt x="141031" y="283470"/>
                    </a:lnTo>
                    <a:lnTo>
                      <a:pt x="135380" y="290414"/>
                    </a:lnTo>
                    <a:lnTo>
                      <a:pt x="136128" y="294334"/>
                    </a:lnTo>
                    <a:lnTo>
                      <a:pt x="135127" y="295310"/>
                    </a:lnTo>
                    <a:lnTo>
                      <a:pt x="130426" y="297238"/>
                    </a:lnTo>
                    <a:lnTo>
                      <a:pt x="116983" y="297179"/>
                    </a:lnTo>
                    <a:lnTo>
                      <a:pt x="115038" y="298723"/>
                    </a:lnTo>
                    <a:lnTo>
                      <a:pt x="114707" y="303403"/>
                    </a:lnTo>
                    <a:lnTo>
                      <a:pt x="117663" y="310642"/>
                    </a:lnTo>
                    <a:lnTo>
                      <a:pt x="116910" y="313852"/>
                    </a:lnTo>
                    <a:lnTo>
                      <a:pt x="105999" y="322209"/>
                    </a:lnTo>
                    <a:lnTo>
                      <a:pt x="102134" y="322112"/>
                    </a:lnTo>
                    <a:lnTo>
                      <a:pt x="100180" y="318962"/>
                    </a:lnTo>
                    <a:lnTo>
                      <a:pt x="97000" y="322974"/>
                    </a:lnTo>
                    <a:lnTo>
                      <a:pt x="92804" y="322549"/>
                    </a:lnTo>
                    <a:lnTo>
                      <a:pt x="91251" y="314312"/>
                    </a:lnTo>
                    <a:lnTo>
                      <a:pt x="82946" y="311439"/>
                    </a:lnTo>
                    <a:lnTo>
                      <a:pt x="78457" y="307166"/>
                    </a:lnTo>
                    <a:lnTo>
                      <a:pt x="84595" y="294730"/>
                    </a:lnTo>
                    <a:lnTo>
                      <a:pt x="94480" y="289169"/>
                    </a:lnTo>
                    <a:lnTo>
                      <a:pt x="97508" y="279235"/>
                    </a:lnTo>
                    <a:lnTo>
                      <a:pt x="102963" y="274195"/>
                    </a:lnTo>
                    <a:lnTo>
                      <a:pt x="98720" y="266771"/>
                    </a:lnTo>
                    <a:lnTo>
                      <a:pt x="93496" y="262866"/>
                    </a:lnTo>
                    <a:lnTo>
                      <a:pt x="72630" y="261804"/>
                    </a:lnTo>
                    <a:lnTo>
                      <a:pt x="69177" y="259854"/>
                    </a:lnTo>
                    <a:lnTo>
                      <a:pt x="64555" y="254039"/>
                    </a:lnTo>
                    <a:lnTo>
                      <a:pt x="56994" y="254000"/>
                    </a:lnTo>
                    <a:lnTo>
                      <a:pt x="54103" y="251421"/>
                    </a:lnTo>
                    <a:lnTo>
                      <a:pt x="48580" y="250796"/>
                    </a:lnTo>
                    <a:lnTo>
                      <a:pt x="47749" y="245079"/>
                    </a:lnTo>
                    <a:lnTo>
                      <a:pt x="44430" y="239732"/>
                    </a:lnTo>
                    <a:lnTo>
                      <a:pt x="44388" y="232199"/>
                    </a:lnTo>
                    <a:lnTo>
                      <a:pt x="48156" y="231907"/>
                    </a:lnTo>
                    <a:lnTo>
                      <a:pt x="49714" y="229956"/>
                    </a:lnTo>
                    <a:lnTo>
                      <a:pt x="50914" y="223766"/>
                    </a:lnTo>
                    <a:lnTo>
                      <a:pt x="50538" y="217939"/>
                    </a:lnTo>
                    <a:lnTo>
                      <a:pt x="62872" y="209583"/>
                    </a:lnTo>
                    <a:lnTo>
                      <a:pt x="65532" y="202846"/>
                    </a:lnTo>
                    <a:lnTo>
                      <a:pt x="64880" y="194359"/>
                    </a:lnTo>
                    <a:lnTo>
                      <a:pt x="61029" y="190727"/>
                    </a:lnTo>
                    <a:lnTo>
                      <a:pt x="59732" y="187044"/>
                    </a:lnTo>
                    <a:lnTo>
                      <a:pt x="57877" y="175949"/>
                    </a:lnTo>
                    <a:lnTo>
                      <a:pt x="58725" y="168494"/>
                    </a:lnTo>
                    <a:lnTo>
                      <a:pt x="52104" y="157815"/>
                    </a:lnTo>
                    <a:lnTo>
                      <a:pt x="52033" y="149009"/>
                    </a:lnTo>
                    <a:lnTo>
                      <a:pt x="50878" y="146388"/>
                    </a:lnTo>
                    <a:lnTo>
                      <a:pt x="46052" y="140969"/>
                    </a:lnTo>
                    <a:lnTo>
                      <a:pt x="38500" y="136044"/>
                    </a:lnTo>
                    <a:lnTo>
                      <a:pt x="21045" y="129314"/>
                    </a:lnTo>
                    <a:lnTo>
                      <a:pt x="16253" y="122207"/>
                    </a:lnTo>
                    <a:lnTo>
                      <a:pt x="10735" y="124810"/>
                    </a:lnTo>
                    <a:lnTo>
                      <a:pt x="11928" y="116037"/>
                    </a:lnTo>
                    <a:lnTo>
                      <a:pt x="7337" y="111767"/>
                    </a:lnTo>
                    <a:lnTo>
                      <a:pt x="6018" y="103202"/>
                    </a:lnTo>
                    <a:lnTo>
                      <a:pt x="4901" y="75834"/>
                    </a:lnTo>
                    <a:lnTo>
                      <a:pt x="4112" y="71485"/>
                    </a:lnTo>
                    <a:lnTo>
                      <a:pt x="0" y="65405"/>
                    </a:lnTo>
                    <a:lnTo>
                      <a:pt x="371" y="62673"/>
                    </a:lnTo>
                    <a:lnTo>
                      <a:pt x="3146" y="61215"/>
                    </a:lnTo>
                    <a:lnTo>
                      <a:pt x="8212" y="51869"/>
                    </a:lnTo>
                    <a:lnTo>
                      <a:pt x="6066" y="48832"/>
                    </a:lnTo>
                    <a:lnTo>
                      <a:pt x="1200" y="46602"/>
                    </a:lnTo>
                    <a:lnTo>
                      <a:pt x="825" y="43744"/>
                    </a:lnTo>
                    <a:lnTo>
                      <a:pt x="1668" y="40864"/>
                    </a:lnTo>
                    <a:lnTo>
                      <a:pt x="7611" y="34483"/>
                    </a:lnTo>
                    <a:lnTo>
                      <a:pt x="8486" y="24906"/>
                    </a:lnTo>
                    <a:lnTo>
                      <a:pt x="11503" y="14969"/>
                    </a:lnTo>
                    <a:lnTo>
                      <a:pt x="18571" y="14405"/>
                    </a:lnTo>
                    <a:lnTo>
                      <a:pt x="21619" y="12425"/>
                    </a:lnTo>
                    <a:lnTo>
                      <a:pt x="23484" y="483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01" name="Freeform 60">
                <a:extLst>
                  <a:ext uri="{FF2B5EF4-FFF2-40B4-BE49-F238E27FC236}">
                    <a16:creationId xmlns:a16="http://schemas.microsoft.com/office/drawing/2014/main" id="{3E42950B-597E-F27B-D2C5-48EB8A698DC5}"/>
                  </a:ext>
                </a:extLst>
              </p:cNvPr>
              <p:cNvSpPr>
                <a:spLocks noChangeAspect="1"/>
              </p:cNvSpPr>
              <p:nvPr>
                <p:custDataLst>
                  <p:tags r:id="rId57"/>
                </p:custDataLst>
              </p:nvPr>
            </p:nvSpPr>
            <p:spPr>
              <a:xfrm>
                <a:off x="5343767" y="5059381"/>
                <a:ext cx="27290" cy="38248"/>
              </a:xfrm>
              <a:custGeom>
                <a:avLst/>
                <a:gdLst/>
                <a:ahLst/>
                <a:cxnLst/>
                <a:rect l="0" t="0" r="0" b="0"/>
                <a:pathLst>
                  <a:path w="28020" h="39270">
                    <a:moveTo>
                      <a:pt x="21407" y="14306"/>
                    </a:moveTo>
                    <a:lnTo>
                      <a:pt x="25170" y="12108"/>
                    </a:lnTo>
                    <a:lnTo>
                      <a:pt x="25483" y="12092"/>
                    </a:lnTo>
                    <a:lnTo>
                      <a:pt x="25817" y="12243"/>
                    </a:lnTo>
                    <a:lnTo>
                      <a:pt x="26052" y="12527"/>
                    </a:lnTo>
                    <a:lnTo>
                      <a:pt x="26149" y="12739"/>
                    </a:lnTo>
                    <a:lnTo>
                      <a:pt x="26197" y="12974"/>
                    </a:lnTo>
                    <a:lnTo>
                      <a:pt x="26173" y="13844"/>
                    </a:lnTo>
                    <a:lnTo>
                      <a:pt x="26194" y="14002"/>
                    </a:lnTo>
                    <a:lnTo>
                      <a:pt x="26462" y="14581"/>
                    </a:lnTo>
                    <a:lnTo>
                      <a:pt x="27559" y="15869"/>
                    </a:lnTo>
                    <a:lnTo>
                      <a:pt x="27896" y="16445"/>
                    </a:lnTo>
                    <a:lnTo>
                      <a:pt x="27968" y="16659"/>
                    </a:lnTo>
                    <a:lnTo>
                      <a:pt x="28019" y="17922"/>
                    </a:lnTo>
                    <a:lnTo>
                      <a:pt x="27945" y="18400"/>
                    </a:lnTo>
                    <a:lnTo>
                      <a:pt x="23100" y="27927"/>
                    </a:lnTo>
                    <a:lnTo>
                      <a:pt x="22937" y="28973"/>
                    </a:lnTo>
                    <a:lnTo>
                      <a:pt x="22757" y="29427"/>
                    </a:lnTo>
                    <a:lnTo>
                      <a:pt x="22376" y="31541"/>
                    </a:lnTo>
                    <a:lnTo>
                      <a:pt x="22514" y="37533"/>
                    </a:lnTo>
                    <a:lnTo>
                      <a:pt x="18249" y="35813"/>
                    </a:lnTo>
                    <a:lnTo>
                      <a:pt x="13558" y="36286"/>
                    </a:lnTo>
                    <a:lnTo>
                      <a:pt x="11644" y="37055"/>
                    </a:lnTo>
                    <a:lnTo>
                      <a:pt x="6120" y="39269"/>
                    </a:lnTo>
                    <a:lnTo>
                      <a:pt x="6363" y="33524"/>
                    </a:lnTo>
                    <a:lnTo>
                      <a:pt x="6407" y="32158"/>
                    </a:lnTo>
                    <a:lnTo>
                      <a:pt x="6358" y="31667"/>
                    </a:lnTo>
                    <a:lnTo>
                      <a:pt x="6292" y="31432"/>
                    </a:lnTo>
                    <a:lnTo>
                      <a:pt x="5674" y="30130"/>
                    </a:lnTo>
                    <a:lnTo>
                      <a:pt x="5377" y="29838"/>
                    </a:lnTo>
                    <a:lnTo>
                      <a:pt x="2267" y="28511"/>
                    </a:lnTo>
                    <a:lnTo>
                      <a:pt x="1695" y="28005"/>
                    </a:lnTo>
                    <a:lnTo>
                      <a:pt x="427" y="25954"/>
                    </a:lnTo>
                    <a:lnTo>
                      <a:pt x="204" y="25036"/>
                    </a:lnTo>
                    <a:lnTo>
                      <a:pt x="0" y="22615"/>
                    </a:lnTo>
                    <a:lnTo>
                      <a:pt x="3825" y="20587"/>
                    </a:lnTo>
                    <a:lnTo>
                      <a:pt x="4260" y="20545"/>
                    </a:lnTo>
                    <a:lnTo>
                      <a:pt x="5841" y="21078"/>
                    </a:lnTo>
                    <a:lnTo>
                      <a:pt x="5982" y="21053"/>
                    </a:lnTo>
                    <a:lnTo>
                      <a:pt x="6369" y="20796"/>
                    </a:lnTo>
                    <a:lnTo>
                      <a:pt x="6818" y="20180"/>
                    </a:lnTo>
                    <a:lnTo>
                      <a:pt x="7026" y="19518"/>
                    </a:lnTo>
                    <a:lnTo>
                      <a:pt x="7296" y="19128"/>
                    </a:lnTo>
                    <a:lnTo>
                      <a:pt x="8447" y="18536"/>
                    </a:lnTo>
                    <a:lnTo>
                      <a:pt x="10683" y="18603"/>
                    </a:lnTo>
                    <a:lnTo>
                      <a:pt x="11507" y="18364"/>
                    </a:lnTo>
                    <a:lnTo>
                      <a:pt x="11847" y="18148"/>
                    </a:lnTo>
                    <a:lnTo>
                      <a:pt x="12240" y="17636"/>
                    </a:lnTo>
                    <a:lnTo>
                      <a:pt x="12339" y="17413"/>
                    </a:lnTo>
                    <a:lnTo>
                      <a:pt x="12395" y="17172"/>
                    </a:lnTo>
                    <a:lnTo>
                      <a:pt x="12436" y="15866"/>
                    </a:lnTo>
                    <a:lnTo>
                      <a:pt x="13740" y="10049"/>
                    </a:lnTo>
                    <a:lnTo>
                      <a:pt x="14040" y="3174"/>
                    </a:lnTo>
                    <a:lnTo>
                      <a:pt x="14089" y="2915"/>
                    </a:lnTo>
                    <a:lnTo>
                      <a:pt x="14503" y="1966"/>
                    </a:lnTo>
                    <a:lnTo>
                      <a:pt x="14606" y="1812"/>
                    </a:lnTo>
                    <a:lnTo>
                      <a:pt x="17403" y="0"/>
                    </a:lnTo>
                    <a:lnTo>
                      <a:pt x="16965" y="4055"/>
                    </a:lnTo>
                    <a:lnTo>
                      <a:pt x="16709" y="5077"/>
                    </a:lnTo>
                    <a:lnTo>
                      <a:pt x="16659" y="5572"/>
                    </a:lnTo>
                    <a:lnTo>
                      <a:pt x="16711" y="6617"/>
                    </a:lnTo>
                    <a:lnTo>
                      <a:pt x="16772" y="6852"/>
                    </a:lnTo>
                    <a:lnTo>
                      <a:pt x="18113" y="9116"/>
                    </a:lnTo>
                    <a:lnTo>
                      <a:pt x="18705" y="11260"/>
                    </a:lnTo>
                    <a:lnTo>
                      <a:pt x="19818" y="13497"/>
                    </a:lnTo>
                    <a:lnTo>
                      <a:pt x="20337" y="14044"/>
                    </a:lnTo>
                    <a:lnTo>
                      <a:pt x="20749" y="1429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02" name="Freeform 61">
                <a:extLst>
                  <a:ext uri="{FF2B5EF4-FFF2-40B4-BE49-F238E27FC236}">
                    <a16:creationId xmlns:a16="http://schemas.microsoft.com/office/drawing/2014/main" id="{6329EA16-4B79-1672-3547-841424CAD7DB}"/>
                  </a:ext>
                </a:extLst>
              </p:cNvPr>
              <p:cNvSpPr>
                <a:spLocks noChangeAspect="1"/>
              </p:cNvSpPr>
              <p:nvPr>
                <p:custDataLst>
                  <p:tags r:id="rId58"/>
                </p:custDataLst>
              </p:nvPr>
            </p:nvSpPr>
            <p:spPr>
              <a:xfrm>
                <a:off x="5347088" y="5094262"/>
                <a:ext cx="32380" cy="39425"/>
              </a:xfrm>
              <a:custGeom>
                <a:avLst/>
                <a:gdLst/>
                <a:ahLst/>
                <a:cxnLst/>
                <a:rect l="0" t="0" r="0" b="0"/>
                <a:pathLst>
                  <a:path w="33246" h="40479">
                    <a:moveTo>
                      <a:pt x="19105" y="1720"/>
                    </a:moveTo>
                    <a:lnTo>
                      <a:pt x="19708" y="1956"/>
                    </a:lnTo>
                    <a:lnTo>
                      <a:pt x="24721" y="7670"/>
                    </a:lnTo>
                    <a:lnTo>
                      <a:pt x="25302" y="8075"/>
                    </a:lnTo>
                    <a:lnTo>
                      <a:pt x="29399" y="7381"/>
                    </a:lnTo>
                    <a:lnTo>
                      <a:pt x="33245" y="5245"/>
                    </a:lnTo>
                    <a:lnTo>
                      <a:pt x="31932" y="6558"/>
                    </a:lnTo>
                    <a:lnTo>
                      <a:pt x="31558" y="9641"/>
                    </a:lnTo>
                    <a:lnTo>
                      <a:pt x="33144" y="11793"/>
                    </a:lnTo>
                    <a:lnTo>
                      <a:pt x="30705" y="17661"/>
                    </a:lnTo>
                    <a:lnTo>
                      <a:pt x="23867" y="25355"/>
                    </a:lnTo>
                    <a:lnTo>
                      <a:pt x="19429" y="33428"/>
                    </a:lnTo>
                    <a:lnTo>
                      <a:pt x="21081" y="40478"/>
                    </a:lnTo>
                    <a:lnTo>
                      <a:pt x="13999" y="35609"/>
                    </a:lnTo>
                    <a:lnTo>
                      <a:pt x="7111" y="35392"/>
                    </a:lnTo>
                    <a:lnTo>
                      <a:pt x="3408" y="32790"/>
                    </a:lnTo>
                    <a:lnTo>
                      <a:pt x="0" y="28908"/>
                    </a:lnTo>
                    <a:lnTo>
                      <a:pt x="64" y="28431"/>
                    </a:lnTo>
                    <a:lnTo>
                      <a:pt x="1773" y="24413"/>
                    </a:lnTo>
                    <a:lnTo>
                      <a:pt x="1970" y="23523"/>
                    </a:lnTo>
                    <a:lnTo>
                      <a:pt x="1927" y="21243"/>
                    </a:lnTo>
                    <a:lnTo>
                      <a:pt x="1160" y="17249"/>
                    </a:lnTo>
                    <a:lnTo>
                      <a:pt x="1115" y="16332"/>
                    </a:lnTo>
                    <a:lnTo>
                      <a:pt x="1185" y="15745"/>
                    </a:lnTo>
                    <a:lnTo>
                      <a:pt x="1301" y="15335"/>
                    </a:lnTo>
                    <a:lnTo>
                      <a:pt x="2288" y="13733"/>
                    </a:lnTo>
                    <a:lnTo>
                      <a:pt x="3092" y="13041"/>
                    </a:lnTo>
                    <a:lnTo>
                      <a:pt x="8280" y="11933"/>
                    </a:lnTo>
                    <a:lnTo>
                      <a:pt x="8601" y="11699"/>
                    </a:lnTo>
                    <a:lnTo>
                      <a:pt x="8807" y="11393"/>
                    </a:lnTo>
                    <a:lnTo>
                      <a:pt x="8889" y="11171"/>
                    </a:lnTo>
                    <a:lnTo>
                      <a:pt x="8916" y="10853"/>
                    </a:lnTo>
                    <a:lnTo>
                      <a:pt x="8216" y="7627"/>
                    </a:lnTo>
                    <a:lnTo>
                      <a:pt x="8476" y="2890"/>
                    </a:lnTo>
                    <a:lnTo>
                      <a:pt x="8235" y="1242"/>
                    </a:lnTo>
                    <a:lnTo>
                      <a:pt x="10149" y="473"/>
                    </a:lnTo>
                    <a:lnTo>
                      <a:pt x="14840"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03" name="Freeform 62">
                <a:extLst>
                  <a:ext uri="{FF2B5EF4-FFF2-40B4-BE49-F238E27FC236}">
                    <a16:creationId xmlns:a16="http://schemas.microsoft.com/office/drawing/2014/main" id="{21A02F19-CEEB-6D3A-F9A9-BC5EB3E0CA4A}"/>
                  </a:ext>
                </a:extLst>
              </p:cNvPr>
              <p:cNvSpPr>
                <a:spLocks noChangeAspect="1"/>
              </p:cNvSpPr>
              <p:nvPr>
                <p:custDataLst>
                  <p:tags r:id="rId59"/>
                </p:custDataLst>
              </p:nvPr>
            </p:nvSpPr>
            <p:spPr>
              <a:xfrm>
                <a:off x="5251111" y="5063231"/>
                <a:ext cx="34241" cy="28760"/>
              </a:xfrm>
              <a:custGeom>
                <a:avLst/>
                <a:gdLst/>
                <a:ahLst/>
                <a:cxnLst/>
                <a:rect l="0" t="0" r="0" b="0"/>
                <a:pathLst>
                  <a:path w="35156" h="29529">
                    <a:moveTo>
                      <a:pt x="21384" y="13164"/>
                    </a:moveTo>
                    <a:lnTo>
                      <a:pt x="21815" y="13045"/>
                    </a:lnTo>
                    <a:lnTo>
                      <a:pt x="22412" y="12504"/>
                    </a:lnTo>
                    <a:lnTo>
                      <a:pt x="22879" y="12355"/>
                    </a:lnTo>
                    <a:lnTo>
                      <a:pt x="23040" y="12377"/>
                    </a:lnTo>
                    <a:lnTo>
                      <a:pt x="23405" y="12578"/>
                    </a:lnTo>
                    <a:lnTo>
                      <a:pt x="28647" y="18228"/>
                    </a:lnTo>
                    <a:lnTo>
                      <a:pt x="34258" y="24621"/>
                    </a:lnTo>
                    <a:lnTo>
                      <a:pt x="35155" y="26793"/>
                    </a:lnTo>
                    <a:lnTo>
                      <a:pt x="34199" y="28249"/>
                    </a:lnTo>
                    <a:lnTo>
                      <a:pt x="33809" y="28604"/>
                    </a:lnTo>
                    <a:lnTo>
                      <a:pt x="33454" y="28778"/>
                    </a:lnTo>
                    <a:lnTo>
                      <a:pt x="33001" y="28819"/>
                    </a:lnTo>
                    <a:lnTo>
                      <a:pt x="31159" y="28073"/>
                    </a:lnTo>
                    <a:lnTo>
                      <a:pt x="30544" y="27518"/>
                    </a:lnTo>
                    <a:lnTo>
                      <a:pt x="29703" y="27151"/>
                    </a:lnTo>
                    <a:lnTo>
                      <a:pt x="29303" y="27150"/>
                    </a:lnTo>
                    <a:lnTo>
                      <a:pt x="29141" y="27236"/>
                    </a:lnTo>
                    <a:lnTo>
                      <a:pt x="29032" y="27419"/>
                    </a:lnTo>
                    <a:lnTo>
                      <a:pt x="28665" y="28562"/>
                    </a:lnTo>
                    <a:lnTo>
                      <a:pt x="27638" y="29528"/>
                    </a:lnTo>
                    <a:lnTo>
                      <a:pt x="26057" y="28838"/>
                    </a:lnTo>
                    <a:lnTo>
                      <a:pt x="25300" y="28557"/>
                    </a:lnTo>
                    <a:lnTo>
                      <a:pt x="24536" y="28394"/>
                    </a:lnTo>
                    <a:lnTo>
                      <a:pt x="23366" y="28210"/>
                    </a:lnTo>
                    <a:lnTo>
                      <a:pt x="21498" y="28117"/>
                    </a:lnTo>
                    <a:lnTo>
                      <a:pt x="12532" y="28577"/>
                    </a:lnTo>
                    <a:lnTo>
                      <a:pt x="12400" y="28525"/>
                    </a:lnTo>
                    <a:lnTo>
                      <a:pt x="12259" y="28393"/>
                    </a:lnTo>
                    <a:lnTo>
                      <a:pt x="12186" y="28258"/>
                    </a:lnTo>
                    <a:lnTo>
                      <a:pt x="11723" y="26817"/>
                    </a:lnTo>
                    <a:lnTo>
                      <a:pt x="11478" y="26550"/>
                    </a:lnTo>
                    <a:lnTo>
                      <a:pt x="10416" y="26459"/>
                    </a:lnTo>
                    <a:lnTo>
                      <a:pt x="7660" y="27569"/>
                    </a:lnTo>
                    <a:lnTo>
                      <a:pt x="7292" y="27467"/>
                    </a:lnTo>
                    <a:lnTo>
                      <a:pt x="6802" y="27074"/>
                    </a:lnTo>
                    <a:lnTo>
                      <a:pt x="6691" y="26921"/>
                    </a:lnTo>
                    <a:lnTo>
                      <a:pt x="6622" y="26746"/>
                    </a:lnTo>
                    <a:lnTo>
                      <a:pt x="6260" y="23640"/>
                    </a:lnTo>
                    <a:lnTo>
                      <a:pt x="6051" y="23076"/>
                    </a:lnTo>
                    <a:lnTo>
                      <a:pt x="5919" y="22865"/>
                    </a:lnTo>
                    <a:lnTo>
                      <a:pt x="4623" y="21628"/>
                    </a:lnTo>
                    <a:lnTo>
                      <a:pt x="0" y="20340"/>
                    </a:lnTo>
                    <a:lnTo>
                      <a:pt x="227" y="18038"/>
                    </a:lnTo>
                    <a:lnTo>
                      <a:pt x="456" y="17356"/>
                    </a:lnTo>
                    <a:lnTo>
                      <a:pt x="557" y="15414"/>
                    </a:lnTo>
                    <a:lnTo>
                      <a:pt x="947" y="14331"/>
                    </a:lnTo>
                    <a:lnTo>
                      <a:pt x="1093" y="14167"/>
                    </a:lnTo>
                    <a:lnTo>
                      <a:pt x="2063" y="13570"/>
                    </a:lnTo>
                    <a:lnTo>
                      <a:pt x="2204" y="13417"/>
                    </a:lnTo>
                    <a:lnTo>
                      <a:pt x="2284" y="13275"/>
                    </a:lnTo>
                    <a:lnTo>
                      <a:pt x="2403" y="12903"/>
                    </a:lnTo>
                    <a:lnTo>
                      <a:pt x="2414" y="12745"/>
                    </a:lnTo>
                    <a:lnTo>
                      <a:pt x="2297" y="11881"/>
                    </a:lnTo>
                    <a:lnTo>
                      <a:pt x="2312" y="10932"/>
                    </a:lnTo>
                    <a:lnTo>
                      <a:pt x="2352" y="10713"/>
                    </a:lnTo>
                    <a:lnTo>
                      <a:pt x="2666" y="10176"/>
                    </a:lnTo>
                    <a:lnTo>
                      <a:pt x="9645" y="7327"/>
                    </a:lnTo>
                    <a:lnTo>
                      <a:pt x="10004" y="6976"/>
                    </a:lnTo>
                    <a:lnTo>
                      <a:pt x="10250" y="6569"/>
                    </a:lnTo>
                    <a:lnTo>
                      <a:pt x="10268" y="6410"/>
                    </a:lnTo>
                    <a:lnTo>
                      <a:pt x="10237" y="6254"/>
                    </a:lnTo>
                    <a:lnTo>
                      <a:pt x="9728" y="5446"/>
                    </a:lnTo>
                    <a:lnTo>
                      <a:pt x="9670" y="5232"/>
                    </a:lnTo>
                    <a:lnTo>
                      <a:pt x="9654" y="4995"/>
                    </a:lnTo>
                    <a:lnTo>
                      <a:pt x="9693" y="4775"/>
                    </a:lnTo>
                    <a:lnTo>
                      <a:pt x="9782" y="4554"/>
                    </a:lnTo>
                    <a:lnTo>
                      <a:pt x="13084" y="0"/>
                    </a:lnTo>
                    <a:lnTo>
                      <a:pt x="18450" y="6399"/>
                    </a:lnTo>
                    <a:lnTo>
                      <a:pt x="18641" y="6964"/>
                    </a:lnTo>
                    <a:lnTo>
                      <a:pt x="18689" y="7219"/>
                    </a:lnTo>
                    <a:lnTo>
                      <a:pt x="18761" y="8865"/>
                    </a:lnTo>
                    <a:lnTo>
                      <a:pt x="19033" y="10424"/>
                    </a:lnTo>
                    <a:lnTo>
                      <a:pt x="19651" y="11760"/>
                    </a:lnTo>
                    <a:lnTo>
                      <a:pt x="20956" y="1307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04" name="Freeform 63">
                <a:extLst>
                  <a:ext uri="{FF2B5EF4-FFF2-40B4-BE49-F238E27FC236}">
                    <a16:creationId xmlns:a16="http://schemas.microsoft.com/office/drawing/2014/main" id="{FDA24ABC-3D6C-FFB7-3A1F-939749FD20DA}"/>
                  </a:ext>
                </a:extLst>
              </p:cNvPr>
              <p:cNvSpPr>
                <a:spLocks noChangeAspect="1"/>
              </p:cNvSpPr>
              <p:nvPr>
                <p:custDataLst>
                  <p:tags r:id="rId60"/>
                </p:custDataLst>
              </p:nvPr>
            </p:nvSpPr>
            <p:spPr>
              <a:xfrm>
                <a:off x="5311051" y="5120049"/>
                <a:ext cx="57425" cy="57902"/>
              </a:xfrm>
              <a:custGeom>
                <a:avLst/>
                <a:gdLst/>
                <a:ahLst/>
                <a:cxnLst/>
                <a:rect l="0" t="0" r="0" b="0"/>
                <a:pathLst>
                  <a:path w="58960" h="59450">
                    <a:moveTo>
                      <a:pt x="33770" y="6011"/>
                    </a:moveTo>
                    <a:lnTo>
                      <a:pt x="34102" y="5994"/>
                    </a:lnTo>
                    <a:lnTo>
                      <a:pt x="34440" y="5840"/>
                    </a:lnTo>
                    <a:lnTo>
                      <a:pt x="35562" y="4816"/>
                    </a:lnTo>
                    <a:lnTo>
                      <a:pt x="37000" y="2432"/>
                    </a:lnTo>
                    <a:lnTo>
                      <a:pt x="40408" y="6314"/>
                    </a:lnTo>
                    <a:lnTo>
                      <a:pt x="44111" y="8916"/>
                    </a:lnTo>
                    <a:lnTo>
                      <a:pt x="50999" y="9133"/>
                    </a:lnTo>
                    <a:lnTo>
                      <a:pt x="58081" y="14002"/>
                    </a:lnTo>
                    <a:lnTo>
                      <a:pt x="58959" y="17773"/>
                    </a:lnTo>
                    <a:lnTo>
                      <a:pt x="56287" y="30855"/>
                    </a:lnTo>
                    <a:lnTo>
                      <a:pt x="50777" y="36350"/>
                    </a:lnTo>
                    <a:lnTo>
                      <a:pt x="48457" y="42949"/>
                    </a:lnTo>
                    <a:lnTo>
                      <a:pt x="43127" y="48217"/>
                    </a:lnTo>
                    <a:lnTo>
                      <a:pt x="42876" y="56925"/>
                    </a:lnTo>
                    <a:lnTo>
                      <a:pt x="37018" y="59449"/>
                    </a:lnTo>
                    <a:lnTo>
                      <a:pt x="33438" y="56760"/>
                    </a:lnTo>
                    <a:lnTo>
                      <a:pt x="31890" y="54919"/>
                    </a:lnTo>
                    <a:lnTo>
                      <a:pt x="25817" y="57242"/>
                    </a:lnTo>
                    <a:lnTo>
                      <a:pt x="23819" y="46302"/>
                    </a:lnTo>
                    <a:lnTo>
                      <a:pt x="23021" y="45512"/>
                    </a:lnTo>
                    <a:lnTo>
                      <a:pt x="14512" y="27149"/>
                    </a:lnTo>
                    <a:lnTo>
                      <a:pt x="10212" y="22069"/>
                    </a:lnTo>
                    <a:lnTo>
                      <a:pt x="5002" y="18712"/>
                    </a:lnTo>
                    <a:lnTo>
                      <a:pt x="265" y="11823"/>
                    </a:lnTo>
                    <a:lnTo>
                      <a:pt x="2" y="10808"/>
                    </a:lnTo>
                    <a:lnTo>
                      <a:pt x="1" y="10374"/>
                    </a:lnTo>
                    <a:lnTo>
                      <a:pt x="0" y="10225"/>
                    </a:lnTo>
                    <a:lnTo>
                      <a:pt x="15" y="10155"/>
                    </a:lnTo>
                    <a:lnTo>
                      <a:pt x="30" y="10076"/>
                    </a:lnTo>
                    <a:lnTo>
                      <a:pt x="149" y="9862"/>
                    </a:lnTo>
                    <a:lnTo>
                      <a:pt x="165" y="9792"/>
                    </a:lnTo>
                    <a:lnTo>
                      <a:pt x="171" y="9653"/>
                    </a:lnTo>
                    <a:lnTo>
                      <a:pt x="175" y="9347"/>
                    </a:lnTo>
                    <a:lnTo>
                      <a:pt x="192" y="9178"/>
                    </a:lnTo>
                    <a:lnTo>
                      <a:pt x="214" y="9117"/>
                    </a:lnTo>
                    <a:lnTo>
                      <a:pt x="248" y="9058"/>
                    </a:lnTo>
                    <a:lnTo>
                      <a:pt x="353" y="8934"/>
                    </a:lnTo>
                    <a:lnTo>
                      <a:pt x="528" y="8846"/>
                    </a:lnTo>
                    <a:lnTo>
                      <a:pt x="690" y="8740"/>
                    </a:lnTo>
                    <a:lnTo>
                      <a:pt x="979" y="8470"/>
                    </a:lnTo>
                    <a:lnTo>
                      <a:pt x="1039" y="8426"/>
                    </a:lnTo>
                    <a:lnTo>
                      <a:pt x="1099" y="8404"/>
                    </a:lnTo>
                    <a:lnTo>
                      <a:pt x="1166" y="8381"/>
                    </a:lnTo>
                    <a:lnTo>
                      <a:pt x="1447" y="8328"/>
                    </a:lnTo>
                    <a:lnTo>
                      <a:pt x="1533" y="8305"/>
                    </a:lnTo>
                    <a:lnTo>
                      <a:pt x="1774" y="8195"/>
                    </a:lnTo>
                    <a:lnTo>
                      <a:pt x="1859" y="8170"/>
                    </a:lnTo>
                    <a:lnTo>
                      <a:pt x="2018" y="8143"/>
                    </a:lnTo>
                    <a:lnTo>
                      <a:pt x="2191" y="8145"/>
                    </a:lnTo>
                    <a:lnTo>
                      <a:pt x="13674" y="8573"/>
                    </a:lnTo>
                    <a:lnTo>
                      <a:pt x="18278" y="11137"/>
                    </a:lnTo>
                    <a:lnTo>
                      <a:pt x="19293" y="11069"/>
                    </a:lnTo>
                    <a:lnTo>
                      <a:pt x="19699" y="10792"/>
                    </a:lnTo>
                    <a:lnTo>
                      <a:pt x="20221" y="10223"/>
                    </a:lnTo>
                    <a:lnTo>
                      <a:pt x="21837" y="7506"/>
                    </a:lnTo>
                    <a:lnTo>
                      <a:pt x="23130" y="6831"/>
                    </a:lnTo>
                    <a:lnTo>
                      <a:pt x="26899" y="7752"/>
                    </a:lnTo>
                    <a:lnTo>
                      <a:pt x="27458" y="7706"/>
                    </a:lnTo>
                    <a:lnTo>
                      <a:pt x="28160" y="7315"/>
                    </a:lnTo>
                    <a:lnTo>
                      <a:pt x="28374" y="7009"/>
                    </a:lnTo>
                    <a:lnTo>
                      <a:pt x="28480" y="6786"/>
                    </a:lnTo>
                    <a:lnTo>
                      <a:pt x="28554" y="6278"/>
                    </a:lnTo>
                    <a:lnTo>
                      <a:pt x="28523" y="6012"/>
                    </a:lnTo>
                    <a:lnTo>
                      <a:pt x="28468" y="5758"/>
                    </a:lnTo>
                    <a:lnTo>
                      <a:pt x="28099" y="5016"/>
                    </a:lnTo>
                    <a:lnTo>
                      <a:pt x="23825" y="601"/>
                    </a:lnTo>
                    <a:lnTo>
                      <a:pt x="26589" y="0"/>
                    </a:lnTo>
                    <a:lnTo>
                      <a:pt x="27899" y="342"/>
                    </a:lnTo>
                    <a:lnTo>
                      <a:pt x="31579" y="3531"/>
                    </a:lnTo>
                    <a:lnTo>
                      <a:pt x="32799" y="5427"/>
                    </a:lnTo>
                    <a:lnTo>
                      <a:pt x="33263" y="585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05" name="Freeform 64">
                <a:extLst>
                  <a:ext uri="{FF2B5EF4-FFF2-40B4-BE49-F238E27FC236}">
                    <a16:creationId xmlns:a16="http://schemas.microsoft.com/office/drawing/2014/main" id="{A7F3176A-3B79-424D-7DEC-54C1E66F8B7C}"/>
                  </a:ext>
                </a:extLst>
              </p:cNvPr>
              <p:cNvSpPr>
                <a:spLocks noChangeAspect="1"/>
              </p:cNvSpPr>
              <p:nvPr>
                <p:custDataLst>
                  <p:tags r:id="rId61"/>
                </p:custDataLst>
              </p:nvPr>
            </p:nvSpPr>
            <p:spPr>
              <a:xfrm>
                <a:off x="5279012" y="5074630"/>
                <a:ext cx="25679" cy="23593"/>
              </a:xfrm>
              <a:custGeom>
                <a:avLst/>
                <a:gdLst/>
                <a:ahLst/>
                <a:cxnLst/>
                <a:rect l="0" t="0" r="0" b="0"/>
                <a:pathLst>
                  <a:path w="26365" h="24224">
                    <a:moveTo>
                      <a:pt x="17294" y="886"/>
                    </a:moveTo>
                    <a:lnTo>
                      <a:pt x="17813" y="2147"/>
                    </a:lnTo>
                    <a:lnTo>
                      <a:pt x="18039" y="3726"/>
                    </a:lnTo>
                    <a:lnTo>
                      <a:pt x="18440" y="4844"/>
                    </a:lnTo>
                    <a:lnTo>
                      <a:pt x="21164" y="8343"/>
                    </a:lnTo>
                    <a:lnTo>
                      <a:pt x="22585" y="11429"/>
                    </a:lnTo>
                    <a:lnTo>
                      <a:pt x="22688" y="11938"/>
                    </a:lnTo>
                    <a:lnTo>
                      <a:pt x="22699" y="12451"/>
                    </a:lnTo>
                    <a:lnTo>
                      <a:pt x="22590" y="13286"/>
                    </a:lnTo>
                    <a:lnTo>
                      <a:pt x="22604" y="14273"/>
                    </a:lnTo>
                    <a:lnTo>
                      <a:pt x="22673" y="14567"/>
                    </a:lnTo>
                    <a:lnTo>
                      <a:pt x="22750" y="14760"/>
                    </a:lnTo>
                    <a:lnTo>
                      <a:pt x="22915" y="15009"/>
                    </a:lnTo>
                    <a:lnTo>
                      <a:pt x="24407" y="15750"/>
                    </a:lnTo>
                    <a:lnTo>
                      <a:pt x="24755" y="16088"/>
                    </a:lnTo>
                    <a:lnTo>
                      <a:pt x="24937" y="16436"/>
                    </a:lnTo>
                    <a:lnTo>
                      <a:pt x="25219" y="17490"/>
                    </a:lnTo>
                    <a:lnTo>
                      <a:pt x="25612" y="18134"/>
                    </a:lnTo>
                    <a:lnTo>
                      <a:pt x="26364" y="18958"/>
                    </a:lnTo>
                    <a:lnTo>
                      <a:pt x="26243" y="21276"/>
                    </a:lnTo>
                    <a:lnTo>
                      <a:pt x="25083" y="21606"/>
                    </a:lnTo>
                    <a:lnTo>
                      <a:pt x="23803" y="23090"/>
                    </a:lnTo>
                    <a:lnTo>
                      <a:pt x="22827" y="24223"/>
                    </a:lnTo>
                    <a:lnTo>
                      <a:pt x="21822" y="22026"/>
                    </a:lnTo>
                    <a:lnTo>
                      <a:pt x="21255" y="22013"/>
                    </a:lnTo>
                    <a:lnTo>
                      <a:pt x="20717" y="21811"/>
                    </a:lnTo>
                    <a:lnTo>
                      <a:pt x="15963" y="17015"/>
                    </a:lnTo>
                    <a:lnTo>
                      <a:pt x="15154" y="15183"/>
                    </a:lnTo>
                    <a:lnTo>
                      <a:pt x="14646" y="14427"/>
                    </a:lnTo>
                    <a:lnTo>
                      <a:pt x="14039" y="13923"/>
                    </a:lnTo>
                    <a:lnTo>
                      <a:pt x="13270" y="13642"/>
                    </a:lnTo>
                    <a:lnTo>
                      <a:pt x="8559" y="13642"/>
                    </a:lnTo>
                    <a:lnTo>
                      <a:pt x="6508" y="15090"/>
                    </a:lnTo>
                    <a:lnTo>
                      <a:pt x="5611" y="12918"/>
                    </a:lnTo>
                    <a:lnTo>
                      <a:pt x="0" y="6525"/>
                    </a:lnTo>
                    <a:lnTo>
                      <a:pt x="4462" y="5412"/>
                    </a:lnTo>
                    <a:lnTo>
                      <a:pt x="5475" y="4279"/>
                    </a:lnTo>
                    <a:lnTo>
                      <a:pt x="6129" y="2984"/>
                    </a:lnTo>
                    <a:lnTo>
                      <a:pt x="7031" y="1856"/>
                    </a:lnTo>
                    <a:lnTo>
                      <a:pt x="9725" y="388"/>
                    </a:lnTo>
                    <a:lnTo>
                      <a:pt x="12989"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06" name="Freeform 65">
                <a:extLst>
                  <a:ext uri="{FF2B5EF4-FFF2-40B4-BE49-F238E27FC236}">
                    <a16:creationId xmlns:a16="http://schemas.microsoft.com/office/drawing/2014/main" id="{09549026-679B-9AAF-D758-63B0421ED853}"/>
                  </a:ext>
                </a:extLst>
              </p:cNvPr>
              <p:cNvSpPr>
                <a:spLocks noChangeAspect="1"/>
              </p:cNvSpPr>
              <p:nvPr>
                <p:custDataLst>
                  <p:tags r:id="rId62"/>
                </p:custDataLst>
              </p:nvPr>
            </p:nvSpPr>
            <p:spPr>
              <a:xfrm>
                <a:off x="5292402" y="5129869"/>
                <a:ext cx="41071" cy="47805"/>
              </a:xfrm>
              <a:custGeom>
                <a:avLst/>
                <a:gdLst/>
                <a:ahLst/>
                <a:cxnLst/>
                <a:rect l="0" t="0" r="0" b="0"/>
                <a:pathLst>
                  <a:path w="42169" h="49083">
                    <a:moveTo>
                      <a:pt x="19149" y="725"/>
                    </a:moveTo>
                    <a:lnTo>
                      <a:pt x="19412" y="1740"/>
                    </a:lnTo>
                    <a:lnTo>
                      <a:pt x="24149" y="8629"/>
                    </a:lnTo>
                    <a:lnTo>
                      <a:pt x="29359" y="11986"/>
                    </a:lnTo>
                    <a:lnTo>
                      <a:pt x="33659" y="17066"/>
                    </a:lnTo>
                    <a:lnTo>
                      <a:pt x="42168" y="35429"/>
                    </a:lnTo>
                    <a:lnTo>
                      <a:pt x="38878" y="32238"/>
                    </a:lnTo>
                    <a:lnTo>
                      <a:pt x="32480" y="32043"/>
                    </a:lnTo>
                    <a:lnTo>
                      <a:pt x="27982" y="38108"/>
                    </a:lnTo>
                    <a:lnTo>
                      <a:pt x="23465" y="38007"/>
                    </a:lnTo>
                    <a:lnTo>
                      <a:pt x="18983" y="40236"/>
                    </a:lnTo>
                    <a:lnTo>
                      <a:pt x="15196" y="47409"/>
                    </a:lnTo>
                    <a:lnTo>
                      <a:pt x="9015" y="49082"/>
                    </a:lnTo>
                    <a:lnTo>
                      <a:pt x="3271" y="44043"/>
                    </a:lnTo>
                    <a:lnTo>
                      <a:pt x="0" y="37842"/>
                    </a:lnTo>
                    <a:lnTo>
                      <a:pt x="5159" y="37286"/>
                    </a:lnTo>
                    <a:lnTo>
                      <a:pt x="5734" y="36885"/>
                    </a:lnTo>
                    <a:lnTo>
                      <a:pt x="5967" y="36578"/>
                    </a:lnTo>
                    <a:lnTo>
                      <a:pt x="6039" y="36396"/>
                    </a:lnTo>
                    <a:lnTo>
                      <a:pt x="6090" y="36146"/>
                    </a:lnTo>
                    <a:lnTo>
                      <a:pt x="6034" y="31377"/>
                    </a:lnTo>
                    <a:lnTo>
                      <a:pt x="6115" y="30860"/>
                    </a:lnTo>
                    <a:lnTo>
                      <a:pt x="6781" y="29347"/>
                    </a:lnTo>
                    <a:lnTo>
                      <a:pt x="7581" y="28470"/>
                    </a:lnTo>
                    <a:lnTo>
                      <a:pt x="8660" y="28014"/>
                    </a:lnTo>
                    <a:lnTo>
                      <a:pt x="10991" y="28201"/>
                    </a:lnTo>
                    <a:lnTo>
                      <a:pt x="11689" y="27814"/>
                    </a:lnTo>
                    <a:lnTo>
                      <a:pt x="11836" y="27638"/>
                    </a:lnTo>
                    <a:lnTo>
                      <a:pt x="12262" y="26305"/>
                    </a:lnTo>
                    <a:lnTo>
                      <a:pt x="12188" y="23996"/>
                    </a:lnTo>
                    <a:lnTo>
                      <a:pt x="11906" y="22971"/>
                    </a:lnTo>
                    <a:lnTo>
                      <a:pt x="11790" y="21782"/>
                    </a:lnTo>
                    <a:lnTo>
                      <a:pt x="10334" y="17087"/>
                    </a:lnTo>
                    <a:lnTo>
                      <a:pt x="10244" y="16460"/>
                    </a:lnTo>
                    <a:lnTo>
                      <a:pt x="10185" y="16264"/>
                    </a:lnTo>
                    <a:lnTo>
                      <a:pt x="9685" y="15319"/>
                    </a:lnTo>
                    <a:lnTo>
                      <a:pt x="6539" y="11692"/>
                    </a:lnTo>
                    <a:lnTo>
                      <a:pt x="7303" y="10727"/>
                    </a:lnTo>
                    <a:lnTo>
                      <a:pt x="8321" y="10305"/>
                    </a:lnTo>
                    <a:lnTo>
                      <a:pt x="8839" y="9896"/>
                    </a:lnTo>
                    <a:lnTo>
                      <a:pt x="9234" y="9373"/>
                    </a:lnTo>
                    <a:lnTo>
                      <a:pt x="9347" y="9150"/>
                    </a:lnTo>
                    <a:lnTo>
                      <a:pt x="9400" y="8950"/>
                    </a:lnTo>
                    <a:lnTo>
                      <a:pt x="9421" y="8732"/>
                    </a:lnTo>
                    <a:lnTo>
                      <a:pt x="9384" y="8318"/>
                    </a:lnTo>
                    <a:lnTo>
                      <a:pt x="9337" y="8103"/>
                    </a:lnTo>
                    <a:lnTo>
                      <a:pt x="7992" y="5815"/>
                    </a:lnTo>
                    <a:lnTo>
                      <a:pt x="7223" y="3697"/>
                    </a:lnTo>
                    <a:lnTo>
                      <a:pt x="11368" y="479"/>
                    </a:lnTo>
                    <a:lnTo>
                      <a:pt x="12758"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07" name="Freeform 66">
                <a:extLst>
                  <a:ext uri="{FF2B5EF4-FFF2-40B4-BE49-F238E27FC236}">
                    <a16:creationId xmlns:a16="http://schemas.microsoft.com/office/drawing/2014/main" id="{0B732C32-1C2B-841B-6135-A16216E5E297}"/>
                  </a:ext>
                </a:extLst>
              </p:cNvPr>
              <p:cNvSpPr>
                <a:spLocks noChangeAspect="1"/>
              </p:cNvSpPr>
              <p:nvPr>
                <p:custDataLst>
                  <p:tags r:id="rId63"/>
                </p:custDataLst>
              </p:nvPr>
            </p:nvSpPr>
            <p:spPr>
              <a:xfrm>
                <a:off x="5232574" y="5083042"/>
                <a:ext cx="40002" cy="23088"/>
              </a:xfrm>
              <a:custGeom>
                <a:avLst/>
                <a:gdLst/>
                <a:ahLst/>
                <a:cxnLst/>
                <a:rect l="0" t="0" r="0" b="0"/>
                <a:pathLst>
                  <a:path w="41071" h="23705">
                    <a:moveTo>
                      <a:pt x="26693" y="7229"/>
                    </a:moveTo>
                    <a:lnTo>
                      <a:pt x="29449" y="6119"/>
                    </a:lnTo>
                    <a:lnTo>
                      <a:pt x="30511" y="6210"/>
                    </a:lnTo>
                    <a:lnTo>
                      <a:pt x="30756" y="6477"/>
                    </a:lnTo>
                    <a:lnTo>
                      <a:pt x="31219" y="7918"/>
                    </a:lnTo>
                    <a:lnTo>
                      <a:pt x="31292" y="8053"/>
                    </a:lnTo>
                    <a:lnTo>
                      <a:pt x="31433" y="8185"/>
                    </a:lnTo>
                    <a:lnTo>
                      <a:pt x="31565" y="8237"/>
                    </a:lnTo>
                    <a:lnTo>
                      <a:pt x="40531" y="7777"/>
                    </a:lnTo>
                    <a:lnTo>
                      <a:pt x="41070" y="14134"/>
                    </a:lnTo>
                    <a:lnTo>
                      <a:pt x="40853" y="16042"/>
                    </a:lnTo>
                    <a:lnTo>
                      <a:pt x="40337" y="17882"/>
                    </a:lnTo>
                    <a:lnTo>
                      <a:pt x="39192" y="20107"/>
                    </a:lnTo>
                    <a:lnTo>
                      <a:pt x="37252" y="20925"/>
                    </a:lnTo>
                    <a:lnTo>
                      <a:pt x="36194" y="20954"/>
                    </a:lnTo>
                    <a:lnTo>
                      <a:pt x="32893" y="19639"/>
                    </a:lnTo>
                    <a:lnTo>
                      <a:pt x="28363" y="20492"/>
                    </a:lnTo>
                    <a:lnTo>
                      <a:pt x="26346" y="22380"/>
                    </a:lnTo>
                    <a:lnTo>
                      <a:pt x="25874" y="22560"/>
                    </a:lnTo>
                    <a:lnTo>
                      <a:pt x="16705" y="21757"/>
                    </a:lnTo>
                    <a:lnTo>
                      <a:pt x="10559" y="23704"/>
                    </a:lnTo>
                    <a:lnTo>
                      <a:pt x="3979" y="21952"/>
                    </a:lnTo>
                    <a:lnTo>
                      <a:pt x="8532" y="14051"/>
                    </a:lnTo>
                    <a:lnTo>
                      <a:pt x="8913" y="12751"/>
                    </a:lnTo>
                    <a:lnTo>
                      <a:pt x="8931" y="12295"/>
                    </a:lnTo>
                    <a:lnTo>
                      <a:pt x="8884" y="12059"/>
                    </a:lnTo>
                    <a:lnTo>
                      <a:pt x="8521" y="11325"/>
                    </a:lnTo>
                    <a:lnTo>
                      <a:pt x="8365" y="11133"/>
                    </a:lnTo>
                    <a:lnTo>
                      <a:pt x="8002" y="10834"/>
                    </a:lnTo>
                    <a:lnTo>
                      <a:pt x="7013" y="10441"/>
                    </a:lnTo>
                    <a:lnTo>
                      <a:pt x="1957" y="10126"/>
                    </a:lnTo>
                    <a:lnTo>
                      <a:pt x="975" y="9752"/>
                    </a:lnTo>
                    <a:lnTo>
                      <a:pt x="587" y="9433"/>
                    </a:lnTo>
                    <a:lnTo>
                      <a:pt x="189" y="8897"/>
                    </a:lnTo>
                    <a:lnTo>
                      <a:pt x="88" y="8664"/>
                    </a:lnTo>
                    <a:lnTo>
                      <a:pt x="28" y="8430"/>
                    </a:lnTo>
                    <a:lnTo>
                      <a:pt x="0" y="8184"/>
                    </a:lnTo>
                    <a:lnTo>
                      <a:pt x="22" y="7680"/>
                    </a:lnTo>
                    <a:lnTo>
                      <a:pt x="86" y="7460"/>
                    </a:lnTo>
                    <a:lnTo>
                      <a:pt x="213" y="7256"/>
                    </a:lnTo>
                    <a:lnTo>
                      <a:pt x="377" y="7071"/>
                    </a:lnTo>
                    <a:lnTo>
                      <a:pt x="3100" y="6302"/>
                    </a:lnTo>
                    <a:lnTo>
                      <a:pt x="9010" y="793"/>
                    </a:lnTo>
                    <a:lnTo>
                      <a:pt x="19033" y="0"/>
                    </a:lnTo>
                    <a:lnTo>
                      <a:pt x="23656" y="1288"/>
                    </a:lnTo>
                    <a:lnTo>
                      <a:pt x="24952" y="2525"/>
                    </a:lnTo>
                    <a:lnTo>
                      <a:pt x="25084" y="2736"/>
                    </a:lnTo>
                    <a:lnTo>
                      <a:pt x="25293" y="3300"/>
                    </a:lnTo>
                    <a:lnTo>
                      <a:pt x="25655" y="6406"/>
                    </a:lnTo>
                    <a:lnTo>
                      <a:pt x="25724" y="6581"/>
                    </a:lnTo>
                    <a:lnTo>
                      <a:pt x="25835" y="6734"/>
                    </a:lnTo>
                    <a:lnTo>
                      <a:pt x="26325" y="712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08" name="Freeform 67">
                <a:extLst>
                  <a:ext uri="{FF2B5EF4-FFF2-40B4-BE49-F238E27FC236}">
                    <a16:creationId xmlns:a16="http://schemas.microsoft.com/office/drawing/2014/main" id="{A7C9C9CB-F0AA-5A3D-0586-EA32BF2F1129}"/>
                  </a:ext>
                </a:extLst>
              </p:cNvPr>
              <p:cNvSpPr>
                <a:spLocks noChangeAspect="1"/>
              </p:cNvSpPr>
              <p:nvPr>
                <p:custDataLst>
                  <p:tags r:id="rId64"/>
                </p:custDataLst>
              </p:nvPr>
            </p:nvSpPr>
            <p:spPr>
              <a:xfrm>
                <a:off x="5286094" y="5029235"/>
                <a:ext cx="37983" cy="31431"/>
              </a:xfrm>
              <a:custGeom>
                <a:avLst/>
                <a:gdLst/>
                <a:ahLst/>
                <a:cxnLst/>
                <a:rect l="0" t="0" r="0" b="0"/>
                <a:pathLst>
                  <a:path w="38998" h="32271">
                    <a:moveTo>
                      <a:pt x="36394" y="3000"/>
                    </a:moveTo>
                    <a:lnTo>
                      <a:pt x="37612" y="7211"/>
                    </a:lnTo>
                    <a:lnTo>
                      <a:pt x="36514" y="13430"/>
                    </a:lnTo>
                    <a:lnTo>
                      <a:pt x="38997" y="14575"/>
                    </a:lnTo>
                    <a:lnTo>
                      <a:pt x="36863" y="18610"/>
                    </a:lnTo>
                    <a:lnTo>
                      <a:pt x="36638" y="19037"/>
                    </a:lnTo>
                    <a:lnTo>
                      <a:pt x="36560" y="19219"/>
                    </a:lnTo>
                    <a:lnTo>
                      <a:pt x="36423" y="19679"/>
                    </a:lnTo>
                    <a:lnTo>
                      <a:pt x="36374" y="19940"/>
                    </a:lnTo>
                    <a:lnTo>
                      <a:pt x="36349" y="20454"/>
                    </a:lnTo>
                    <a:lnTo>
                      <a:pt x="36348" y="21206"/>
                    </a:lnTo>
                    <a:lnTo>
                      <a:pt x="36333" y="21681"/>
                    </a:lnTo>
                    <a:lnTo>
                      <a:pt x="36100" y="23114"/>
                    </a:lnTo>
                    <a:lnTo>
                      <a:pt x="36055" y="23334"/>
                    </a:lnTo>
                    <a:lnTo>
                      <a:pt x="36029" y="24066"/>
                    </a:lnTo>
                    <a:lnTo>
                      <a:pt x="35997" y="24305"/>
                    </a:lnTo>
                    <a:lnTo>
                      <a:pt x="35952" y="24525"/>
                    </a:lnTo>
                    <a:lnTo>
                      <a:pt x="35602" y="25293"/>
                    </a:lnTo>
                    <a:lnTo>
                      <a:pt x="35470" y="25497"/>
                    </a:lnTo>
                    <a:lnTo>
                      <a:pt x="35138" y="25887"/>
                    </a:lnTo>
                    <a:lnTo>
                      <a:pt x="34305" y="26699"/>
                    </a:lnTo>
                    <a:lnTo>
                      <a:pt x="34113" y="26926"/>
                    </a:lnTo>
                    <a:lnTo>
                      <a:pt x="33681" y="27263"/>
                    </a:lnTo>
                    <a:lnTo>
                      <a:pt x="33499" y="27440"/>
                    </a:lnTo>
                    <a:lnTo>
                      <a:pt x="33342" y="27634"/>
                    </a:lnTo>
                    <a:lnTo>
                      <a:pt x="33217" y="27839"/>
                    </a:lnTo>
                    <a:lnTo>
                      <a:pt x="33169" y="27999"/>
                    </a:lnTo>
                    <a:lnTo>
                      <a:pt x="33098" y="28319"/>
                    </a:lnTo>
                    <a:lnTo>
                      <a:pt x="33072" y="28547"/>
                    </a:lnTo>
                    <a:lnTo>
                      <a:pt x="33155" y="29403"/>
                    </a:lnTo>
                    <a:lnTo>
                      <a:pt x="33254" y="29814"/>
                    </a:lnTo>
                    <a:lnTo>
                      <a:pt x="33435" y="30269"/>
                    </a:lnTo>
                    <a:lnTo>
                      <a:pt x="33483" y="30494"/>
                    </a:lnTo>
                    <a:lnTo>
                      <a:pt x="33495" y="30740"/>
                    </a:lnTo>
                    <a:lnTo>
                      <a:pt x="33470" y="30988"/>
                    </a:lnTo>
                    <a:lnTo>
                      <a:pt x="33378" y="31388"/>
                    </a:lnTo>
                    <a:lnTo>
                      <a:pt x="33341" y="31656"/>
                    </a:lnTo>
                    <a:lnTo>
                      <a:pt x="33323" y="31924"/>
                    </a:lnTo>
                    <a:lnTo>
                      <a:pt x="33333" y="32270"/>
                    </a:lnTo>
                    <a:lnTo>
                      <a:pt x="9368" y="30836"/>
                    </a:lnTo>
                    <a:lnTo>
                      <a:pt x="11518" y="23055"/>
                    </a:lnTo>
                    <a:lnTo>
                      <a:pt x="211" y="14591"/>
                    </a:lnTo>
                    <a:lnTo>
                      <a:pt x="0" y="6965"/>
                    </a:lnTo>
                    <a:lnTo>
                      <a:pt x="1587" y="5200"/>
                    </a:lnTo>
                    <a:lnTo>
                      <a:pt x="3791"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09" name="Freeform 68">
                <a:extLst>
                  <a:ext uri="{FF2B5EF4-FFF2-40B4-BE49-F238E27FC236}">
                    <a16:creationId xmlns:a16="http://schemas.microsoft.com/office/drawing/2014/main" id="{516CD050-AABD-AD69-C7BA-DAF8172E0EF3}"/>
                  </a:ext>
                </a:extLst>
              </p:cNvPr>
              <p:cNvSpPr>
                <a:spLocks noChangeAspect="1"/>
              </p:cNvSpPr>
              <p:nvPr>
                <p:custDataLst>
                  <p:tags r:id="rId65"/>
                </p:custDataLst>
              </p:nvPr>
            </p:nvSpPr>
            <p:spPr>
              <a:xfrm>
                <a:off x="5321377" y="5095472"/>
                <a:ext cx="34396" cy="30432"/>
              </a:xfrm>
              <a:custGeom>
                <a:avLst/>
                <a:gdLst/>
                <a:ahLst/>
                <a:cxnLst/>
                <a:rect l="0" t="0" r="0" b="0"/>
                <a:pathLst>
                  <a:path w="35315" h="31246">
                    <a:moveTo>
                      <a:pt x="26398" y="27666"/>
                    </a:moveTo>
                    <a:lnTo>
                      <a:pt x="24960" y="30050"/>
                    </a:lnTo>
                    <a:lnTo>
                      <a:pt x="23838" y="31074"/>
                    </a:lnTo>
                    <a:lnTo>
                      <a:pt x="23500" y="31228"/>
                    </a:lnTo>
                    <a:lnTo>
                      <a:pt x="23168" y="31245"/>
                    </a:lnTo>
                    <a:lnTo>
                      <a:pt x="22661" y="31093"/>
                    </a:lnTo>
                    <a:lnTo>
                      <a:pt x="22197" y="30661"/>
                    </a:lnTo>
                    <a:lnTo>
                      <a:pt x="20977" y="28765"/>
                    </a:lnTo>
                    <a:lnTo>
                      <a:pt x="17297" y="25576"/>
                    </a:lnTo>
                    <a:lnTo>
                      <a:pt x="15987" y="25234"/>
                    </a:lnTo>
                    <a:lnTo>
                      <a:pt x="13223" y="25835"/>
                    </a:lnTo>
                    <a:lnTo>
                      <a:pt x="13219" y="25746"/>
                    </a:lnTo>
                    <a:lnTo>
                      <a:pt x="13199" y="25588"/>
                    </a:lnTo>
                    <a:lnTo>
                      <a:pt x="13116" y="25395"/>
                    </a:lnTo>
                    <a:lnTo>
                      <a:pt x="12798" y="24798"/>
                    </a:lnTo>
                    <a:lnTo>
                      <a:pt x="12722" y="24505"/>
                    </a:lnTo>
                    <a:lnTo>
                      <a:pt x="12669" y="23914"/>
                    </a:lnTo>
                    <a:lnTo>
                      <a:pt x="12720" y="22905"/>
                    </a:lnTo>
                    <a:lnTo>
                      <a:pt x="12646" y="22513"/>
                    </a:lnTo>
                    <a:lnTo>
                      <a:pt x="12481" y="22037"/>
                    </a:lnTo>
                    <a:lnTo>
                      <a:pt x="12349" y="21845"/>
                    </a:lnTo>
                    <a:lnTo>
                      <a:pt x="10910" y="20878"/>
                    </a:lnTo>
                    <a:lnTo>
                      <a:pt x="10428" y="20328"/>
                    </a:lnTo>
                    <a:lnTo>
                      <a:pt x="10200" y="19805"/>
                    </a:lnTo>
                    <a:lnTo>
                      <a:pt x="10001" y="18867"/>
                    </a:lnTo>
                    <a:lnTo>
                      <a:pt x="9934" y="17971"/>
                    </a:lnTo>
                    <a:lnTo>
                      <a:pt x="9973" y="17367"/>
                    </a:lnTo>
                    <a:lnTo>
                      <a:pt x="10052" y="17086"/>
                    </a:lnTo>
                    <a:lnTo>
                      <a:pt x="10340" y="16409"/>
                    </a:lnTo>
                    <a:lnTo>
                      <a:pt x="10381" y="16250"/>
                    </a:lnTo>
                    <a:lnTo>
                      <a:pt x="10376" y="15865"/>
                    </a:lnTo>
                    <a:lnTo>
                      <a:pt x="10281" y="15692"/>
                    </a:lnTo>
                    <a:lnTo>
                      <a:pt x="10190" y="15597"/>
                    </a:lnTo>
                    <a:lnTo>
                      <a:pt x="10064" y="15524"/>
                    </a:lnTo>
                    <a:lnTo>
                      <a:pt x="6194" y="14843"/>
                    </a:lnTo>
                    <a:lnTo>
                      <a:pt x="5762" y="15100"/>
                    </a:lnTo>
                    <a:lnTo>
                      <a:pt x="5435" y="15848"/>
                    </a:lnTo>
                    <a:lnTo>
                      <a:pt x="5278" y="16053"/>
                    </a:lnTo>
                    <a:lnTo>
                      <a:pt x="5176" y="16118"/>
                    </a:lnTo>
                    <a:lnTo>
                      <a:pt x="4879" y="16092"/>
                    </a:lnTo>
                    <a:lnTo>
                      <a:pt x="4645" y="15965"/>
                    </a:lnTo>
                    <a:lnTo>
                      <a:pt x="3395" y="13891"/>
                    </a:lnTo>
                    <a:lnTo>
                      <a:pt x="3285" y="13501"/>
                    </a:lnTo>
                    <a:lnTo>
                      <a:pt x="3271" y="13334"/>
                    </a:lnTo>
                    <a:lnTo>
                      <a:pt x="3288" y="12137"/>
                    </a:lnTo>
                    <a:lnTo>
                      <a:pt x="3227" y="11883"/>
                    </a:lnTo>
                    <a:lnTo>
                      <a:pt x="3057" y="11556"/>
                    </a:lnTo>
                    <a:lnTo>
                      <a:pt x="327" y="10067"/>
                    </a:lnTo>
                    <a:lnTo>
                      <a:pt x="66" y="9763"/>
                    </a:lnTo>
                    <a:lnTo>
                      <a:pt x="15" y="9587"/>
                    </a:lnTo>
                    <a:lnTo>
                      <a:pt x="0" y="9391"/>
                    </a:lnTo>
                    <a:lnTo>
                      <a:pt x="26" y="9162"/>
                    </a:lnTo>
                    <a:lnTo>
                      <a:pt x="746" y="7062"/>
                    </a:lnTo>
                    <a:lnTo>
                      <a:pt x="2075" y="9132"/>
                    </a:lnTo>
                    <a:lnTo>
                      <a:pt x="3675" y="10162"/>
                    </a:lnTo>
                    <a:lnTo>
                      <a:pt x="5284" y="10322"/>
                    </a:lnTo>
                    <a:lnTo>
                      <a:pt x="5862" y="10195"/>
                    </a:lnTo>
                    <a:lnTo>
                      <a:pt x="6432" y="9871"/>
                    </a:lnTo>
                    <a:lnTo>
                      <a:pt x="6960" y="9322"/>
                    </a:lnTo>
                    <a:lnTo>
                      <a:pt x="7086" y="9107"/>
                    </a:lnTo>
                    <a:lnTo>
                      <a:pt x="7503" y="7525"/>
                    </a:lnTo>
                    <a:lnTo>
                      <a:pt x="7481" y="6657"/>
                    </a:lnTo>
                    <a:lnTo>
                      <a:pt x="7308" y="5479"/>
                    </a:lnTo>
                    <a:lnTo>
                      <a:pt x="7283" y="3149"/>
                    </a:lnTo>
                    <a:lnTo>
                      <a:pt x="7342" y="2830"/>
                    </a:lnTo>
                    <a:lnTo>
                      <a:pt x="7523" y="2504"/>
                    </a:lnTo>
                    <a:lnTo>
                      <a:pt x="7939" y="2188"/>
                    </a:lnTo>
                    <a:lnTo>
                      <a:pt x="10616" y="1267"/>
                    </a:lnTo>
                    <a:lnTo>
                      <a:pt x="17679" y="5310"/>
                    </a:lnTo>
                    <a:lnTo>
                      <a:pt x="23281" y="4538"/>
                    </a:lnTo>
                    <a:lnTo>
                      <a:pt x="29109" y="2214"/>
                    </a:lnTo>
                    <a:lnTo>
                      <a:pt x="34633" y="0"/>
                    </a:lnTo>
                    <a:lnTo>
                      <a:pt x="34874" y="1648"/>
                    </a:lnTo>
                    <a:lnTo>
                      <a:pt x="34614" y="6385"/>
                    </a:lnTo>
                    <a:lnTo>
                      <a:pt x="35314" y="9611"/>
                    </a:lnTo>
                    <a:lnTo>
                      <a:pt x="35287" y="9929"/>
                    </a:lnTo>
                    <a:lnTo>
                      <a:pt x="35205" y="10151"/>
                    </a:lnTo>
                    <a:lnTo>
                      <a:pt x="34999" y="10457"/>
                    </a:lnTo>
                    <a:lnTo>
                      <a:pt x="34678" y="10691"/>
                    </a:lnTo>
                    <a:lnTo>
                      <a:pt x="29490" y="11799"/>
                    </a:lnTo>
                    <a:lnTo>
                      <a:pt x="28686" y="12491"/>
                    </a:lnTo>
                    <a:lnTo>
                      <a:pt x="27699" y="14093"/>
                    </a:lnTo>
                    <a:lnTo>
                      <a:pt x="27583" y="14503"/>
                    </a:lnTo>
                    <a:lnTo>
                      <a:pt x="27513" y="15090"/>
                    </a:lnTo>
                    <a:lnTo>
                      <a:pt x="27558" y="16007"/>
                    </a:lnTo>
                    <a:lnTo>
                      <a:pt x="28325" y="20001"/>
                    </a:lnTo>
                    <a:lnTo>
                      <a:pt x="28368" y="22281"/>
                    </a:lnTo>
                    <a:lnTo>
                      <a:pt x="28171" y="23171"/>
                    </a:lnTo>
                    <a:lnTo>
                      <a:pt x="26462" y="2718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10" name="Freeform 69">
                <a:extLst>
                  <a:ext uri="{FF2B5EF4-FFF2-40B4-BE49-F238E27FC236}">
                    <a16:creationId xmlns:a16="http://schemas.microsoft.com/office/drawing/2014/main" id="{F7B2ECF0-3476-FA25-C648-ACFE67706C15}"/>
                  </a:ext>
                </a:extLst>
              </p:cNvPr>
              <p:cNvSpPr>
                <a:spLocks noChangeAspect="1"/>
              </p:cNvSpPr>
              <p:nvPr>
                <p:custDataLst>
                  <p:tags r:id="rId66"/>
                </p:custDataLst>
              </p:nvPr>
            </p:nvSpPr>
            <p:spPr>
              <a:xfrm>
                <a:off x="5270745" y="5090616"/>
                <a:ext cx="17350" cy="21570"/>
              </a:xfrm>
              <a:custGeom>
                <a:avLst/>
                <a:gdLst/>
                <a:ahLst/>
                <a:cxnLst/>
                <a:rect l="0" t="0" r="0" b="0"/>
                <a:pathLst>
                  <a:path w="17814" h="22147">
                    <a:moveTo>
                      <a:pt x="7479" y="1411"/>
                    </a:moveTo>
                    <a:lnTo>
                      <a:pt x="6617" y="2369"/>
                    </a:lnTo>
                    <a:lnTo>
                      <a:pt x="6488" y="2928"/>
                    </a:lnTo>
                    <a:lnTo>
                      <a:pt x="6376" y="4276"/>
                    </a:lnTo>
                    <a:lnTo>
                      <a:pt x="6390" y="4613"/>
                    </a:lnTo>
                    <a:lnTo>
                      <a:pt x="6587" y="5146"/>
                    </a:lnTo>
                    <a:lnTo>
                      <a:pt x="6892" y="5499"/>
                    </a:lnTo>
                    <a:lnTo>
                      <a:pt x="9109" y="6801"/>
                    </a:lnTo>
                    <a:lnTo>
                      <a:pt x="9266" y="7001"/>
                    </a:lnTo>
                    <a:lnTo>
                      <a:pt x="9448" y="7348"/>
                    </a:lnTo>
                    <a:lnTo>
                      <a:pt x="9490" y="7613"/>
                    </a:lnTo>
                    <a:lnTo>
                      <a:pt x="9619" y="10650"/>
                    </a:lnTo>
                    <a:lnTo>
                      <a:pt x="10048" y="12112"/>
                    </a:lnTo>
                    <a:lnTo>
                      <a:pt x="10828" y="13321"/>
                    </a:lnTo>
                    <a:lnTo>
                      <a:pt x="17813" y="19829"/>
                    </a:lnTo>
                    <a:lnTo>
                      <a:pt x="15934" y="20913"/>
                    </a:lnTo>
                    <a:lnTo>
                      <a:pt x="11444" y="22146"/>
                    </a:lnTo>
                    <a:lnTo>
                      <a:pt x="8617" y="21031"/>
                    </a:lnTo>
                    <a:lnTo>
                      <a:pt x="7939" y="20192"/>
                    </a:lnTo>
                    <a:lnTo>
                      <a:pt x="4559" y="16037"/>
                    </a:lnTo>
                    <a:lnTo>
                      <a:pt x="2024" y="14967"/>
                    </a:lnTo>
                    <a:lnTo>
                      <a:pt x="1982" y="14987"/>
                    </a:lnTo>
                    <a:lnTo>
                      <a:pt x="1943" y="14811"/>
                    </a:lnTo>
                    <a:lnTo>
                      <a:pt x="1529" y="13516"/>
                    </a:lnTo>
                    <a:lnTo>
                      <a:pt x="1312" y="13200"/>
                    </a:lnTo>
                    <a:lnTo>
                      <a:pt x="999" y="12927"/>
                    </a:lnTo>
                    <a:lnTo>
                      <a:pt x="625" y="12678"/>
                    </a:lnTo>
                    <a:lnTo>
                      <a:pt x="0" y="12330"/>
                    </a:lnTo>
                    <a:lnTo>
                      <a:pt x="1145" y="10105"/>
                    </a:lnTo>
                    <a:lnTo>
                      <a:pt x="1661" y="8265"/>
                    </a:lnTo>
                    <a:lnTo>
                      <a:pt x="1878" y="6357"/>
                    </a:lnTo>
                    <a:lnTo>
                      <a:pt x="1339" y="0"/>
                    </a:lnTo>
                    <a:lnTo>
                      <a:pt x="3207" y="93"/>
                    </a:lnTo>
                    <a:lnTo>
                      <a:pt x="4377" y="277"/>
                    </a:lnTo>
                    <a:lnTo>
                      <a:pt x="5141" y="440"/>
                    </a:lnTo>
                    <a:lnTo>
                      <a:pt x="5898" y="721"/>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11" name="Freeform 70">
                <a:extLst>
                  <a:ext uri="{FF2B5EF4-FFF2-40B4-BE49-F238E27FC236}">
                    <a16:creationId xmlns:a16="http://schemas.microsoft.com/office/drawing/2014/main" id="{1DAA1806-16A6-967C-C846-51498D23CDD1}"/>
                  </a:ext>
                </a:extLst>
              </p:cNvPr>
              <p:cNvSpPr>
                <a:spLocks noChangeAspect="1"/>
              </p:cNvSpPr>
              <p:nvPr>
                <p:custDataLst>
                  <p:tags r:id="rId67"/>
                </p:custDataLst>
              </p:nvPr>
            </p:nvSpPr>
            <p:spPr>
              <a:xfrm>
                <a:off x="5225768" y="5102169"/>
                <a:ext cx="46909" cy="31887"/>
              </a:xfrm>
              <a:custGeom>
                <a:avLst/>
                <a:gdLst/>
                <a:ahLst/>
                <a:cxnLst/>
                <a:rect l="0" t="0" r="0" b="0"/>
                <a:pathLst>
                  <a:path w="48163" h="32739">
                    <a:moveTo>
                      <a:pt x="44240" y="1286"/>
                    </a:moveTo>
                    <a:lnTo>
                      <a:pt x="46180" y="468"/>
                    </a:lnTo>
                    <a:lnTo>
                      <a:pt x="46805" y="816"/>
                    </a:lnTo>
                    <a:lnTo>
                      <a:pt x="47179" y="1065"/>
                    </a:lnTo>
                    <a:lnTo>
                      <a:pt x="47492" y="1338"/>
                    </a:lnTo>
                    <a:lnTo>
                      <a:pt x="47709" y="1654"/>
                    </a:lnTo>
                    <a:lnTo>
                      <a:pt x="48123" y="2949"/>
                    </a:lnTo>
                    <a:lnTo>
                      <a:pt x="48162" y="3125"/>
                    </a:lnTo>
                    <a:lnTo>
                      <a:pt x="45727" y="4036"/>
                    </a:lnTo>
                    <a:lnTo>
                      <a:pt x="42892" y="7750"/>
                    </a:lnTo>
                    <a:lnTo>
                      <a:pt x="40242" y="8688"/>
                    </a:lnTo>
                    <a:lnTo>
                      <a:pt x="30922" y="9467"/>
                    </a:lnTo>
                    <a:lnTo>
                      <a:pt x="27967" y="12639"/>
                    </a:lnTo>
                    <a:lnTo>
                      <a:pt x="29812" y="16016"/>
                    </a:lnTo>
                    <a:lnTo>
                      <a:pt x="18492" y="18387"/>
                    </a:lnTo>
                    <a:lnTo>
                      <a:pt x="17554" y="18942"/>
                    </a:lnTo>
                    <a:lnTo>
                      <a:pt x="15967" y="21046"/>
                    </a:lnTo>
                    <a:lnTo>
                      <a:pt x="15618" y="21811"/>
                    </a:lnTo>
                    <a:lnTo>
                      <a:pt x="15584" y="22030"/>
                    </a:lnTo>
                    <a:lnTo>
                      <a:pt x="15587" y="22257"/>
                    </a:lnTo>
                    <a:lnTo>
                      <a:pt x="15627" y="22483"/>
                    </a:lnTo>
                    <a:lnTo>
                      <a:pt x="15741" y="22695"/>
                    </a:lnTo>
                    <a:lnTo>
                      <a:pt x="16144" y="23191"/>
                    </a:lnTo>
                    <a:lnTo>
                      <a:pt x="16672" y="23584"/>
                    </a:lnTo>
                    <a:lnTo>
                      <a:pt x="17129" y="23742"/>
                    </a:lnTo>
                    <a:lnTo>
                      <a:pt x="20416" y="23658"/>
                    </a:lnTo>
                    <a:lnTo>
                      <a:pt x="20638" y="23808"/>
                    </a:lnTo>
                    <a:lnTo>
                      <a:pt x="20701" y="23983"/>
                    </a:lnTo>
                    <a:lnTo>
                      <a:pt x="20667" y="24201"/>
                    </a:lnTo>
                    <a:lnTo>
                      <a:pt x="20426" y="24606"/>
                    </a:lnTo>
                    <a:lnTo>
                      <a:pt x="18016" y="26370"/>
                    </a:lnTo>
                    <a:lnTo>
                      <a:pt x="16072" y="29221"/>
                    </a:lnTo>
                    <a:lnTo>
                      <a:pt x="15529" y="30666"/>
                    </a:lnTo>
                    <a:lnTo>
                      <a:pt x="14217" y="32738"/>
                    </a:lnTo>
                    <a:lnTo>
                      <a:pt x="10251" y="28591"/>
                    </a:lnTo>
                    <a:lnTo>
                      <a:pt x="2686" y="26908"/>
                    </a:lnTo>
                    <a:lnTo>
                      <a:pt x="520" y="24018"/>
                    </a:lnTo>
                    <a:lnTo>
                      <a:pt x="0" y="17974"/>
                    </a:lnTo>
                    <a:lnTo>
                      <a:pt x="998" y="18445"/>
                    </a:lnTo>
                    <a:lnTo>
                      <a:pt x="3586" y="18454"/>
                    </a:lnTo>
                    <a:lnTo>
                      <a:pt x="4455" y="17864"/>
                    </a:lnTo>
                    <a:lnTo>
                      <a:pt x="5365" y="16778"/>
                    </a:lnTo>
                    <a:lnTo>
                      <a:pt x="5429" y="16548"/>
                    </a:lnTo>
                    <a:lnTo>
                      <a:pt x="5450" y="13356"/>
                    </a:lnTo>
                    <a:lnTo>
                      <a:pt x="5502" y="13118"/>
                    </a:lnTo>
                    <a:lnTo>
                      <a:pt x="6038" y="11810"/>
                    </a:lnTo>
                    <a:lnTo>
                      <a:pt x="8276" y="8910"/>
                    </a:lnTo>
                    <a:lnTo>
                      <a:pt x="10967" y="2313"/>
                    </a:lnTo>
                    <a:lnTo>
                      <a:pt x="17547" y="4065"/>
                    </a:lnTo>
                    <a:lnTo>
                      <a:pt x="23693" y="2118"/>
                    </a:lnTo>
                    <a:lnTo>
                      <a:pt x="32862" y="2921"/>
                    </a:lnTo>
                    <a:lnTo>
                      <a:pt x="33334" y="2741"/>
                    </a:lnTo>
                    <a:lnTo>
                      <a:pt x="35351" y="853"/>
                    </a:lnTo>
                    <a:lnTo>
                      <a:pt x="39881" y="0"/>
                    </a:lnTo>
                    <a:lnTo>
                      <a:pt x="43182" y="131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12" name="Freeform 71">
                <a:extLst>
                  <a:ext uri="{FF2B5EF4-FFF2-40B4-BE49-F238E27FC236}">
                    <a16:creationId xmlns:a16="http://schemas.microsoft.com/office/drawing/2014/main" id="{0A665CBA-D44D-225D-7762-16CD35D445C6}"/>
                  </a:ext>
                </a:extLst>
              </p:cNvPr>
              <p:cNvSpPr>
                <a:spLocks noChangeAspect="1"/>
              </p:cNvSpPr>
              <p:nvPr>
                <p:custDataLst>
                  <p:tags r:id="rId68"/>
                </p:custDataLst>
              </p:nvPr>
            </p:nvSpPr>
            <p:spPr>
              <a:xfrm>
                <a:off x="5295856" y="5072778"/>
                <a:ext cx="14395" cy="17522"/>
              </a:xfrm>
              <a:custGeom>
                <a:avLst/>
                <a:gdLst/>
                <a:ahLst/>
                <a:cxnLst/>
                <a:rect l="0" t="0" r="0" b="0"/>
                <a:pathLst>
                  <a:path w="14780" h="17990">
                    <a:moveTo>
                      <a:pt x="8811" y="3935"/>
                    </a:moveTo>
                    <a:lnTo>
                      <a:pt x="8928" y="3929"/>
                    </a:lnTo>
                    <a:lnTo>
                      <a:pt x="9110" y="4000"/>
                    </a:lnTo>
                    <a:lnTo>
                      <a:pt x="11585" y="5958"/>
                    </a:lnTo>
                    <a:lnTo>
                      <a:pt x="11855" y="6341"/>
                    </a:lnTo>
                    <a:lnTo>
                      <a:pt x="11914" y="6555"/>
                    </a:lnTo>
                    <a:lnTo>
                      <a:pt x="11910" y="7404"/>
                    </a:lnTo>
                    <a:lnTo>
                      <a:pt x="11936" y="7562"/>
                    </a:lnTo>
                    <a:lnTo>
                      <a:pt x="11980" y="7708"/>
                    </a:lnTo>
                    <a:lnTo>
                      <a:pt x="12105" y="7890"/>
                    </a:lnTo>
                    <a:lnTo>
                      <a:pt x="12271" y="8020"/>
                    </a:lnTo>
                    <a:lnTo>
                      <a:pt x="14391" y="8533"/>
                    </a:lnTo>
                    <a:lnTo>
                      <a:pt x="14508" y="8666"/>
                    </a:lnTo>
                    <a:lnTo>
                      <a:pt x="14728" y="9030"/>
                    </a:lnTo>
                    <a:lnTo>
                      <a:pt x="14775" y="9235"/>
                    </a:lnTo>
                    <a:lnTo>
                      <a:pt x="14779" y="9462"/>
                    </a:lnTo>
                    <a:lnTo>
                      <a:pt x="14734" y="9682"/>
                    </a:lnTo>
                    <a:lnTo>
                      <a:pt x="11095" y="15288"/>
                    </a:lnTo>
                    <a:lnTo>
                      <a:pt x="10910" y="15831"/>
                    </a:lnTo>
                    <a:lnTo>
                      <a:pt x="10892" y="16089"/>
                    </a:lnTo>
                    <a:lnTo>
                      <a:pt x="10933" y="16324"/>
                    </a:lnTo>
                    <a:lnTo>
                      <a:pt x="10997" y="16500"/>
                    </a:lnTo>
                    <a:lnTo>
                      <a:pt x="9681" y="16843"/>
                    </a:lnTo>
                    <a:lnTo>
                      <a:pt x="8587" y="17092"/>
                    </a:lnTo>
                    <a:lnTo>
                      <a:pt x="7461" y="17989"/>
                    </a:lnTo>
                    <a:lnTo>
                      <a:pt x="7113" y="17651"/>
                    </a:lnTo>
                    <a:lnTo>
                      <a:pt x="5621" y="16910"/>
                    </a:lnTo>
                    <a:lnTo>
                      <a:pt x="5456" y="16661"/>
                    </a:lnTo>
                    <a:lnTo>
                      <a:pt x="5379" y="16468"/>
                    </a:lnTo>
                    <a:lnTo>
                      <a:pt x="5310" y="16174"/>
                    </a:lnTo>
                    <a:lnTo>
                      <a:pt x="5296" y="15187"/>
                    </a:lnTo>
                    <a:lnTo>
                      <a:pt x="5405" y="14352"/>
                    </a:lnTo>
                    <a:lnTo>
                      <a:pt x="5394" y="13839"/>
                    </a:lnTo>
                    <a:lnTo>
                      <a:pt x="5291" y="13330"/>
                    </a:lnTo>
                    <a:lnTo>
                      <a:pt x="3870" y="10244"/>
                    </a:lnTo>
                    <a:lnTo>
                      <a:pt x="1146" y="6745"/>
                    </a:lnTo>
                    <a:lnTo>
                      <a:pt x="745" y="5627"/>
                    </a:lnTo>
                    <a:lnTo>
                      <a:pt x="519" y="4048"/>
                    </a:lnTo>
                    <a:lnTo>
                      <a:pt x="0" y="2787"/>
                    </a:lnTo>
                    <a:lnTo>
                      <a:pt x="551" y="2049"/>
                    </a:lnTo>
                    <a:lnTo>
                      <a:pt x="3857" y="37"/>
                    </a:lnTo>
                    <a:lnTo>
                      <a:pt x="4660" y="0"/>
                    </a:lnTo>
                    <a:lnTo>
                      <a:pt x="5204" y="192"/>
                    </a:lnTo>
                    <a:lnTo>
                      <a:pt x="5569" y="520"/>
                    </a:lnTo>
                    <a:lnTo>
                      <a:pt x="6885" y="240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13" name="Freeform 72">
                <a:extLst>
                  <a:ext uri="{FF2B5EF4-FFF2-40B4-BE49-F238E27FC236}">
                    <a16:creationId xmlns:a16="http://schemas.microsoft.com/office/drawing/2014/main" id="{3DB2F2BD-91B1-AD02-5D19-D2A151A80C13}"/>
                  </a:ext>
                </a:extLst>
              </p:cNvPr>
              <p:cNvSpPr>
                <a:spLocks noChangeAspect="1"/>
              </p:cNvSpPr>
              <p:nvPr>
                <p:custDataLst>
                  <p:tags r:id="rId69"/>
                </p:custDataLst>
              </p:nvPr>
            </p:nvSpPr>
            <p:spPr>
              <a:xfrm>
                <a:off x="5276955" y="5091991"/>
                <a:ext cx="17513" cy="17939"/>
              </a:xfrm>
              <a:custGeom>
                <a:avLst/>
                <a:gdLst/>
                <a:ahLst/>
                <a:cxnLst/>
                <a:rect l="0" t="0" r="0" b="0"/>
                <a:pathLst>
                  <a:path w="17981" h="18419">
                    <a:moveTo>
                      <a:pt x="13623" y="11193"/>
                    </a:moveTo>
                    <a:lnTo>
                      <a:pt x="16155" y="10146"/>
                    </a:lnTo>
                    <a:lnTo>
                      <a:pt x="16469" y="10291"/>
                    </a:lnTo>
                    <a:lnTo>
                      <a:pt x="16612" y="10452"/>
                    </a:lnTo>
                    <a:lnTo>
                      <a:pt x="16760" y="10731"/>
                    </a:lnTo>
                    <a:lnTo>
                      <a:pt x="17253" y="12368"/>
                    </a:lnTo>
                    <a:lnTo>
                      <a:pt x="17980" y="13876"/>
                    </a:lnTo>
                    <a:lnTo>
                      <a:pt x="14798" y="16474"/>
                    </a:lnTo>
                    <a:lnTo>
                      <a:pt x="11437" y="18418"/>
                    </a:lnTo>
                    <a:lnTo>
                      <a:pt x="4452" y="11910"/>
                    </a:lnTo>
                    <a:lnTo>
                      <a:pt x="3672" y="10701"/>
                    </a:lnTo>
                    <a:lnTo>
                      <a:pt x="3243" y="9239"/>
                    </a:lnTo>
                    <a:lnTo>
                      <a:pt x="3114" y="6202"/>
                    </a:lnTo>
                    <a:lnTo>
                      <a:pt x="3072" y="5937"/>
                    </a:lnTo>
                    <a:lnTo>
                      <a:pt x="2890" y="5590"/>
                    </a:lnTo>
                    <a:lnTo>
                      <a:pt x="2733" y="5390"/>
                    </a:lnTo>
                    <a:lnTo>
                      <a:pt x="516" y="4088"/>
                    </a:lnTo>
                    <a:lnTo>
                      <a:pt x="211" y="3735"/>
                    </a:lnTo>
                    <a:lnTo>
                      <a:pt x="14" y="3202"/>
                    </a:lnTo>
                    <a:lnTo>
                      <a:pt x="0" y="2865"/>
                    </a:lnTo>
                    <a:lnTo>
                      <a:pt x="112" y="1517"/>
                    </a:lnTo>
                    <a:lnTo>
                      <a:pt x="241" y="958"/>
                    </a:lnTo>
                    <a:lnTo>
                      <a:pt x="1103" y="0"/>
                    </a:lnTo>
                    <a:lnTo>
                      <a:pt x="4575" y="464"/>
                    </a:lnTo>
                    <a:lnTo>
                      <a:pt x="4766" y="613"/>
                    </a:lnTo>
                    <a:lnTo>
                      <a:pt x="4922" y="813"/>
                    </a:lnTo>
                    <a:lnTo>
                      <a:pt x="5007" y="1057"/>
                    </a:lnTo>
                    <a:lnTo>
                      <a:pt x="5182" y="2343"/>
                    </a:lnTo>
                    <a:lnTo>
                      <a:pt x="5269" y="2645"/>
                    </a:lnTo>
                    <a:lnTo>
                      <a:pt x="5417" y="2934"/>
                    </a:lnTo>
                    <a:lnTo>
                      <a:pt x="6141" y="3850"/>
                    </a:lnTo>
                    <a:lnTo>
                      <a:pt x="8283" y="5105"/>
                    </a:lnTo>
                    <a:lnTo>
                      <a:pt x="10341" y="7610"/>
                    </a:lnTo>
                    <a:lnTo>
                      <a:pt x="11457" y="10127"/>
                    </a:lnTo>
                    <a:lnTo>
                      <a:pt x="12233" y="10961"/>
                    </a:lnTo>
                    <a:lnTo>
                      <a:pt x="12504" y="1109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14" name="Freeform 73">
                <a:extLst>
                  <a:ext uri="{FF2B5EF4-FFF2-40B4-BE49-F238E27FC236}">
                    <a16:creationId xmlns:a16="http://schemas.microsoft.com/office/drawing/2014/main" id="{65F28204-157C-AB86-7916-155850B1BEAE}"/>
                  </a:ext>
                </a:extLst>
              </p:cNvPr>
              <p:cNvSpPr>
                <a:spLocks noChangeAspect="1"/>
              </p:cNvSpPr>
              <p:nvPr>
                <p:custDataLst>
                  <p:tags r:id="rId70"/>
                </p:custDataLst>
              </p:nvPr>
            </p:nvSpPr>
            <p:spPr>
              <a:xfrm>
                <a:off x="5271806" y="5123597"/>
                <a:ext cx="29773" cy="21542"/>
              </a:xfrm>
              <a:custGeom>
                <a:avLst/>
                <a:gdLst/>
                <a:ahLst/>
                <a:cxnLst/>
                <a:rect l="0" t="0" r="0" b="0"/>
                <a:pathLst>
                  <a:path w="30569" h="22118">
                    <a:moveTo>
                      <a:pt x="27064" y="6502"/>
                    </a:moveTo>
                    <a:lnTo>
                      <a:pt x="25903" y="8918"/>
                    </a:lnTo>
                    <a:lnTo>
                      <a:pt x="25873" y="9068"/>
                    </a:lnTo>
                    <a:lnTo>
                      <a:pt x="25880" y="9225"/>
                    </a:lnTo>
                    <a:lnTo>
                      <a:pt x="25936" y="9361"/>
                    </a:lnTo>
                    <a:lnTo>
                      <a:pt x="26052" y="9474"/>
                    </a:lnTo>
                    <a:lnTo>
                      <a:pt x="28370" y="10137"/>
                    </a:lnTo>
                    <a:lnTo>
                      <a:pt x="29139" y="12255"/>
                    </a:lnTo>
                    <a:lnTo>
                      <a:pt x="30484" y="14543"/>
                    </a:lnTo>
                    <a:lnTo>
                      <a:pt x="30531" y="14758"/>
                    </a:lnTo>
                    <a:lnTo>
                      <a:pt x="30568" y="15172"/>
                    </a:lnTo>
                    <a:lnTo>
                      <a:pt x="30547" y="15390"/>
                    </a:lnTo>
                    <a:lnTo>
                      <a:pt x="30494" y="15590"/>
                    </a:lnTo>
                    <a:lnTo>
                      <a:pt x="30381" y="15813"/>
                    </a:lnTo>
                    <a:lnTo>
                      <a:pt x="29986" y="16336"/>
                    </a:lnTo>
                    <a:lnTo>
                      <a:pt x="29468" y="16745"/>
                    </a:lnTo>
                    <a:lnTo>
                      <a:pt x="28450" y="17167"/>
                    </a:lnTo>
                    <a:lnTo>
                      <a:pt x="27686" y="18132"/>
                    </a:lnTo>
                    <a:lnTo>
                      <a:pt x="26895" y="19049"/>
                    </a:lnTo>
                    <a:lnTo>
                      <a:pt x="26484" y="19236"/>
                    </a:lnTo>
                    <a:lnTo>
                      <a:pt x="25273" y="19213"/>
                    </a:lnTo>
                    <a:lnTo>
                      <a:pt x="23886" y="18289"/>
                    </a:lnTo>
                    <a:lnTo>
                      <a:pt x="22480" y="17890"/>
                    </a:lnTo>
                    <a:lnTo>
                      <a:pt x="19321" y="18441"/>
                    </a:lnTo>
                    <a:lnTo>
                      <a:pt x="17966" y="19452"/>
                    </a:lnTo>
                    <a:lnTo>
                      <a:pt x="12482" y="20722"/>
                    </a:lnTo>
                    <a:lnTo>
                      <a:pt x="11253" y="20135"/>
                    </a:lnTo>
                    <a:lnTo>
                      <a:pt x="10766" y="20157"/>
                    </a:lnTo>
                    <a:lnTo>
                      <a:pt x="10460" y="20349"/>
                    </a:lnTo>
                    <a:lnTo>
                      <a:pt x="9979" y="20904"/>
                    </a:lnTo>
                    <a:lnTo>
                      <a:pt x="9641" y="21512"/>
                    </a:lnTo>
                    <a:lnTo>
                      <a:pt x="9388" y="21782"/>
                    </a:lnTo>
                    <a:lnTo>
                      <a:pt x="9076" y="21973"/>
                    </a:lnTo>
                    <a:lnTo>
                      <a:pt x="8533" y="22117"/>
                    </a:lnTo>
                    <a:lnTo>
                      <a:pt x="7392" y="21852"/>
                    </a:lnTo>
                    <a:lnTo>
                      <a:pt x="6747" y="21368"/>
                    </a:lnTo>
                    <a:lnTo>
                      <a:pt x="5447" y="19866"/>
                    </a:lnTo>
                    <a:lnTo>
                      <a:pt x="5275" y="19201"/>
                    </a:lnTo>
                    <a:lnTo>
                      <a:pt x="4869" y="18252"/>
                    </a:lnTo>
                    <a:lnTo>
                      <a:pt x="3903" y="17051"/>
                    </a:lnTo>
                    <a:lnTo>
                      <a:pt x="2556" y="14484"/>
                    </a:lnTo>
                    <a:lnTo>
                      <a:pt x="1961" y="11902"/>
                    </a:lnTo>
                    <a:lnTo>
                      <a:pt x="1784" y="10112"/>
                    </a:lnTo>
                    <a:lnTo>
                      <a:pt x="1551" y="9313"/>
                    </a:lnTo>
                    <a:lnTo>
                      <a:pt x="1421" y="8172"/>
                    </a:lnTo>
                    <a:lnTo>
                      <a:pt x="1145" y="7088"/>
                    </a:lnTo>
                    <a:lnTo>
                      <a:pt x="973" y="4320"/>
                    </a:lnTo>
                    <a:lnTo>
                      <a:pt x="900" y="4046"/>
                    </a:lnTo>
                    <a:lnTo>
                      <a:pt x="0" y="2091"/>
                    </a:lnTo>
                    <a:lnTo>
                      <a:pt x="13405" y="0"/>
                    </a:lnTo>
                    <a:lnTo>
                      <a:pt x="14170" y="301"/>
                    </a:lnTo>
                    <a:lnTo>
                      <a:pt x="14855" y="863"/>
                    </a:lnTo>
                    <a:lnTo>
                      <a:pt x="15986" y="2974"/>
                    </a:lnTo>
                    <a:lnTo>
                      <a:pt x="16635" y="3706"/>
                    </a:lnTo>
                    <a:lnTo>
                      <a:pt x="21717" y="633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67" name="Freeform 74">
                <a:extLst>
                  <a:ext uri="{FF2B5EF4-FFF2-40B4-BE49-F238E27FC236}">
                    <a16:creationId xmlns:a16="http://schemas.microsoft.com/office/drawing/2014/main" id="{84FBA3AD-AD90-AD7F-FCC1-9FDC78012FFD}"/>
                  </a:ext>
                </a:extLst>
              </p:cNvPr>
              <p:cNvSpPr>
                <a:spLocks noChangeAspect="1"/>
              </p:cNvSpPr>
              <p:nvPr>
                <p:custDataLst>
                  <p:tags r:id="rId71"/>
                </p:custDataLst>
              </p:nvPr>
            </p:nvSpPr>
            <p:spPr>
              <a:xfrm>
                <a:off x="5329341" y="5050581"/>
                <a:ext cx="31377" cy="30828"/>
              </a:xfrm>
              <a:custGeom>
                <a:avLst/>
                <a:gdLst/>
                <a:ahLst/>
                <a:cxnLst/>
                <a:rect l="0" t="0" r="0" b="0"/>
                <a:pathLst>
                  <a:path w="32216" h="31652">
                    <a:moveTo>
                      <a:pt x="15927" y="9044"/>
                    </a:moveTo>
                    <a:lnTo>
                      <a:pt x="18652" y="8256"/>
                    </a:lnTo>
                    <a:lnTo>
                      <a:pt x="22371" y="3188"/>
                    </a:lnTo>
                    <a:lnTo>
                      <a:pt x="30934" y="2016"/>
                    </a:lnTo>
                    <a:lnTo>
                      <a:pt x="31545" y="3695"/>
                    </a:lnTo>
                    <a:lnTo>
                      <a:pt x="32215" y="9036"/>
                    </a:lnTo>
                    <a:lnTo>
                      <a:pt x="29418" y="10848"/>
                    </a:lnTo>
                    <a:lnTo>
                      <a:pt x="29315" y="11002"/>
                    </a:lnTo>
                    <a:lnTo>
                      <a:pt x="28901" y="11951"/>
                    </a:lnTo>
                    <a:lnTo>
                      <a:pt x="28852" y="12210"/>
                    </a:lnTo>
                    <a:lnTo>
                      <a:pt x="28552" y="19085"/>
                    </a:lnTo>
                    <a:lnTo>
                      <a:pt x="27248" y="24902"/>
                    </a:lnTo>
                    <a:lnTo>
                      <a:pt x="27207" y="26208"/>
                    </a:lnTo>
                    <a:lnTo>
                      <a:pt x="27151" y="26449"/>
                    </a:lnTo>
                    <a:lnTo>
                      <a:pt x="27052" y="26672"/>
                    </a:lnTo>
                    <a:lnTo>
                      <a:pt x="26659" y="27184"/>
                    </a:lnTo>
                    <a:lnTo>
                      <a:pt x="26319" y="27400"/>
                    </a:lnTo>
                    <a:lnTo>
                      <a:pt x="25495" y="27639"/>
                    </a:lnTo>
                    <a:lnTo>
                      <a:pt x="23259" y="27572"/>
                    </a:lnTo>
                    <a:lnTo>
                      <a:pt x="22108" y="28164"/>
                    </a:lnTo>
                    <a:lnTo>
                      <a:pt x="21838" y="28554"/>
                    </a:lnTo>
                    <a:lnTo>
                      <a:pt x="21630" y="29216"/>
                    </a:lnTo>
                    <a:lnTo>
                      <a:pt x="21181" y="29832"/>
                    </a:lnTo>
                    <a:lnTo>
                      <a:pt x="20794" y="30089"/>
                    </a:lnTo>
                    <a:lnTo>
                      <a:pt x="20653" y="30114"/>
                    </a:lnTo>
                    <a:lnTo>
                      <a:pt x="19072" y="29581"/>
                    </a:lnTo>
                    <a:lnTo>
                      <a:pt x="18637" y="29623"/>
                    </a:lnTo>
                    <a:lnTo>
                      <a:pt x="14812" y="31651"/>
                    </a:lnTo>
                    <a:lnTo>
                      <a:pt x="14249" y="28398"/>
                    </a:lnTo>
                    <a:lnTo>
                      <a:pt x="13834" y="27311"/>
                    </a:lnTo>
                    <a:lnTo>
                      <a:pt x="13436" y="26838"/>
                    </a:lnTo>
                    <a:lnTo>
                      <a:pt x="11529" y="26309"/>
                    </a:lnTo>
                    <a:lnTo>
                      <a:pt x="11146" y="26021"/>
                    </a:lnTo>
                    <a:lnTo>
                      <a:pt x="9529" y="24105"/>
                    </a:lnTo>
                    <a:lnTo>
                      <a:pt x="9376" y="23993"/>
                    </a:lnTo>
                    <a:lnTo>
                      <a:pt x="8640" y="23773"/>
                    </a:lnTo>
                    <a:lnTo>
                      <a:pt x="8309" y="23789"/>
                    </a:lnTo>
                    <a:lnTo>
                      <a:pt x="7778" y="23993"/>
                    </a:lnTo>
                    <a:lnTo>
                      <a:pt x="7205" y="24476"/>
                    </a:lnTo>
                    <a:lnTo>
                      <a:pt x="6081" y="26548"/>
                    </a:lnTo>
                    <a:lnTo>
                      <a:pt x="5725" y="26822"/>
                    </a:lnTo>
                    <a:lnTo>
                      <a:pt x="2553" y="27590"/>
                    </a:lnTo>
                    <a:lnTo>
                      <a:pt x="2621" y="21301"/>
                    </a:lnTo>
                    <a:lnTo>
                      <a:pt x="1138" y="15840"/>
                    </a:lnTo>
                    <a:lnTo>
                      <a:pt x="1071" y="10842"/>
                    </a:lnTo>
                    <a:lnTo>
                      <a:pt x="1848" y="7703"/>
                    </a:lnTo>
                    <a:lnTo>
                      <a:pt x="1872" y="6910"/>
                    </a:lnTo>
                    <a:lnTo>
                      <a:pt x="1601" y="5738"/>
                    </a:lnTo>
                    <a:lnTo>
                      <a:pt x="1227" y="4994"/>
                    </a:lnTo>
                    <a:lnTo>
                      <a:pt x="225" y="3670"/>
                    </a:lnTo>
                    <a:lnTo>
                      <a:pt x="53" y="3294"/>
                    </a:lnTo>
                    <a:lnTo>
                      <a:pt x="0" y="3068"/>
                    </a:lnTo>
                    <a:lnTo>
                      <a:pt x="9" y="2613"/>
                    </a:lnTo>
                    <a:lnTo>
                      <a:pt x="216" y="1684"/>
                    </a:lnTo>
                    <a:lnTo>
                      <a:pt x="334" y="1471"/>
                    </a:lnTo>
                    <a:lnTo>
                      <a:pt x="2124" y="0"/>
                    </a:lnTo>
                    <a:lnTo>
                      <a:pt x="2977" y="203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68" name="Freeform 75">
                <a:extLst>
                  <a:ext uri="{FF2B5EF4-FFF2-40B4-BE49-F238E27FC236}">
                    <a16:creationId xmlns:a16="http://schemas.microsoft.com/office/drawing/2014/main" id="{8FB04F7F-A6D6-D1E3-DC7F-4D511C089A98}"/>
                  </a:ext>
                </a:extLst>
              </p:cNvPr>
              <p:cNvSpPr>
                <a:spLocks noChangeAspect="1"/>
              </p:cNvSpPr>
              <p:nvPr>
                <p:custDataLst>
                  <p:tags r:id="rId72"/>
                </p:custDataLst>
              </p:nvPr>
            </p:nvSpPr>
            <p:spPr>
              <a:xfrm>
                <a:off x="5239614" y="5105194"/>
                <a:ext cx="38864" cy="38967"/>
              </a:xfrm>
              <a:custGeom>
                <a:avLst/>
                <a:gdLst/>
                <a:ahLst/>
                <a:cxnLst/>
                <a:rect l="0" t="0" r="0" b="0"/>
                <a:pathLst>
                  <a:path w="39903" h="40009">
                    <a:moveTo>
                      <a:pt x="39902" y="5225"/>
                    </a:moveTo>
                    <a:lnTo>
                      <a:pt x="39637" y="5632"/>
                    </a:lnTo>
                    <a:lnTo>
                      <a:pt x="38086" y="8982"/>
                    </a:lnTo>
                    <a:lnTo>
                      <a:pt x="37725" y="9472"/>
                    </a:lnTo>
                    <a:lnTo>
                      <a:pt x="37401" y="9665"/>
                    </a:lnTo>
                    <a:lnTo>
                      <a:pt x="33536" y="9879"/>
                    </a:lnTo>
                    <a:lnTo>
                      <a:pt x="33005" y="10259"/>
                    </a:lnTo>
                    <a:lnTo>
                      <a:pt x="32733" y="10666"/>
                    </a:lnTo>
                    <a:lnTo>
                      <a:pt x="32330" y="12147"/>
                    </a:lnTo>
                    <a:lnTo>
                      <a:pt x="32284" y="13048"/>
                    </a:lnTo>
                    <a:lnTo>
                      <a:pt x="32335" y="13648"/>
                    </a:lnTo>
                    <a:lnTo>
                      <a:pt x="33003" y="15396"/>
                    </a:lnTo>
                    <a:lnTo>
                      <a:pt x="33022" y="16245"/>
                    </a:lnTo>
                    <a:lnTo>
                      <a:pt x="32633" y="18891"/>
                    </a:lnTo>
                    <a:lnTo>
                      <a:pt x="33052" y="20986"/>
                    </a:lnTo>
                    <a:lnTo>
                      <a:pt x="31498" y="20681"/>
                    </a:lnTo>
                    <a:lnTo>
                      <a:pt x="30838" y="20829"/>
                    </a:lnTo>
                    <a:lnTo>
                      <a:pt x="28113" y="23619"/>
                    </a:lnTo>
                    <a:lnTo>
                      <a:pt x="24788" y="24686"/>
                    </a:lnTo>
                    <a:lnTo>
                      <a:pt x="24237" y="24641"/>
                    </a:lnTo>
                    <a:lnTo>
                      <a:pt x="21026" y="22531"/>
                    </a:lnTo>
                    <a:lnTo>
                      <a:pt x="20493" y="22456"/>
                    </a:lnTo>
                    <a:lnTo>
                      <a:pt x="19973" y="22549"/>
                    </a:lnTo>
                    <a:lnTo>
                      <a:pt x="19452" y="22897"/>
                    </a:lnTo>
                    <a:lnTo>
                      <a:pt x="19312" y="23081"/>
                    </a:lnTo>
                    <a:lnTo>
                      <a:pt x="19244" y="23223"/>
                    </a:lnTo>
                    <a:lnTo>
                      <a:pt x="19156" y="23601"/>
                    </a:lnTo>
                    <a:lnTo>
                      <a:pt x="19331" y="25234"/>
                    </a:lnTo>
                    <a:lnTo>
                      <a:pt x="20356" y="28122"/>
                    </a:lnTo>
                    <a:lnTo>
                      <a:pt x="20636" y="31756"/>
                    </a:lnTo>
                    <a:lnTo>
                      <a:pt x="20272" y="37176"/>
                    </a:lnTo>
                    <a:lnTo>
                      <a:pt x="20153" y="37684"/>
                    </a:lnTo>
                    <a:lnTo>
                      <a:pt x="18994" y="40008"/>
                    </a:lnTo>
                    <a:lnTo>
                      <a:pt x="17667" y="36974"/>
                    </a:lnTo>
                    <a:lnTo>
                      <a:pt x="12158" y="34954"/>
                    </a:lnTo>
                    <a:lnTo>
                      <a:pt x="8641" y="35068"/>
                    </a:lnTo>
                    <a:lnTo>
                      <a:pt x="8527" y="34569"/>
                    </a:lnTo>
                    <a:lnTo>
                      <a:pt x="2514" y="29891"/>
                    </a:lnTo>
                    <a:lnTo>
                      <a:pt x="0" y="29633"/>
                    </a:lnTo>
                    <a:lnTo>
                      <a:pt x="1312" y="27561"/>
                    </a:lnTo>
                    <a:lnTo>
                      <a:pt x="1855" y="26116"/>
                    </a:lnTo>
                    <a:lnTo>
                      <a:pt x="3799" y="23265"/>
                    </a:lnTo>
                    <a:lnTo>
                      <a:pt x="6209" y="21501"/>
                    </a:lnTo>
                    <a:lnTo>
                      <a:pt x="6450" y="21096"/>
                    </a:lnTo>
                    <a:lnTo>
                      <a:pt x="6484" y="20878"/>
                    </a:lnTo>
                    <a:lnTo>
                      <a:pt x="6421" y="20703"/>
                    </a:lnTo>
                    <a:lnTo>
                      <a:pt x="6199" y="20553"/>
                    </a:lnTo>
                    <a:lnTo>
                      <a:pt x="2912" y="20637"/>
                    </a:lnTo>
                    <a:lnTo>
                      <a:pt x="2455" y="20479"/>
                    </a:lnTo>
                    <a:lnTo>
                      <a:pt x="1927" y="20086"/>
                    </a:lnTo>
                    <a:lnTo>
                      <a:pt x="1524" y="19590"/>
                    </a:lnTo>
                    <a:lnTo>
                      <a:pt x="1410" y="19378"/>
                    </a:lnTo>
                    <a:lnTo>
                      <a:pt x="1370" y="19152"/>
                    </a:lnTo>
                    <a:lnTo>
                      <a:pt x="1367" y="18925"/>
                    </a:lnTo>
                    <a:lnTo>
                      <a:pt x="1401" y="18706"/>
                    </a:lnTo>
                    <a:lnTo>
                      <a:pt x="1750" y="17941"/>
                    </a:lnTo>
                    <a:lnTo>
                      <a:pt x="3337" y="15837"/>
                    </a:lnTo>
                    <a:lnTo>
                      <a:pt x="4275" y="15282"/>
                    </a:lnTo>
                    <a:lnTo>
                      <a:pt x="15595" y="12911"/>
                    </a:lnTo>
                    <a:lnTo>
                      <a:pt x="13750" y="9534"/>
                    </a:lnTo>
                    <a:lnTo>
                      <a:pt x="16705" y="6362"/>
                    </a:lnTo>
                    <a:lnTo>
                      <a:pt x="26025" y="5583"/>
                    </a:lnTo>
                    <a:lnTo>
                      <a:pt x="28675" y="4645"/>
                    </a:lnTo>
                    <a:lnTo>
                      <a:pt x="31510" y="931"/>
                    </a:lnTo>
                    <a:lnTo>
                      <a:pt x="33945" y="20"/>
                    </a:lnTo>
                    <a:lnTo>
                      <a:pt x="33987" y="0"/>
                    </a:lnTo>
                    <a:lnTo>
                      <a:pt x="36522" y="107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69" name="Freeform 76">
                <a:extLst>
                  <a:ext uri="{FF2B5EF4-FFF2-40B4-BE49-F238E27FC236}">
                    <a16:creationId xmlns:a16="http://schemas.microsoft.com/office/drawing/2014/main" id="{29615EFD-D276-A052-67E1-612D8D216BF5}"/>
                  </a:ext>
                </a:extLst>
              </p:cNvPr>
              <p:cNvSpPr>
                <a:spLocks noChangeAspect="1"/>
              </p:cNvSpPr>
              <p:nvPr>
                <p:custDataLst>
                  <p:tags r:id="rId73"/>
                </p:custDataLst>
              </p:nvPr>
            </p:nvSpPr>
            <p:spPr>
              <a:xfrm>
                <a:off x="5273052" y="5141021"/>
                <a:ext cx="31294" cy="25706"/>
              </a:xfrm>
              <a:custGeom>
                <a:avLst/>
                <a:gdLst/>
                <a:ahLst/>
                <a:cxnLst/>
                <a:rect l="0" t="0" r="0" b="0"/>
                <a:pathLst>
                  <a:path w="32131" h="26393">
                    <a:moveTo>
                      <a:pt x="25205" y="1346"/>
                    </a:moveTo>
                    <a:lnTo>
                      <a:pt x="25616" y="1159"/>
                    </a:lnTo>
                    <a:lnTo>
                      <a:pt x="26407" y="242"/>
                    </a:lnTo>
                    <a:lnTo>
                      <a:pt x="29553" y="3869"/>
                    </a:lnTo>
                    <a:lnTo>
                      <a:pt x="30053" y="4814"/>
                    </a:lnTo>
                    <a:lnTo>
                      <a:pt x="30112" y="5010"/>
                    </a:lnTo>
                    <a:lnTo>
                      <a:pt x="30202" y="5637"/>
                    </a:lnTo>
                    <a:lnTo>
                      <a:pt x="31658" y="10332"/>
                    </a:lnTo>
                    <a:lnTo>
                      <a:pt x="31774" y="11521"/>
                    </a:lnTo>
                    <a:lnTo>
                      <a:pt x="32056" y="12546"/>
                    </a:lnTo>
                    <a:lnTo>
                      <a:pt x="32130" y="14855"/>
                    </a:lnTo>
                    <a:lnTo>
                      <a:pt x="31704" y="16188"/>
                    </a:lnTo>
                    <a:lnTo>
                      <a:pt x="31557" y="16364"/>
                    </a:lnTo>
                    <a:lnTo>
                      <a:pt x="30859" y="16751"/>
                    </a:lnTo>
                    <a:lnTo>
                      <a:pt x="28528" y="16564"/>
                    </a:lnTo>
                    <a:lnTo>
                      <a:pt x="27449" y="17020"/>
                    </a:lnTo>
                    <a:lnTo>
                      <a:pt x="26649" y="17897"/>
                    </a:lnTo>
                    <a:lnTo>
                      <a:pt x="25983" y="19410"/>
                    </a:lnTo>
                    <a:lnTo>
                      <a:pt x="25902" y="19927"/>
                    </a:lnTo>
                    <a:lnTo>
                      <a:pt x="25958" y="24696"/>
                    </a:lnTo>
                    <a:lnTo>
                      <a:pt x="25907" y="24946"/>
                    </a:lnTo>
                    <a:lnTo>
                      <a:pt x="25835" y="25128"/>
                    </a:lnTo>
                    <a:lnTo>
                      <a:pt x="25602" y="25435"/>
                    </a:lnTo>
                    <a:lnTo>
                      <a:pt x="25027" y="25836"/>
                    </a:lnTo>
                    <a:lnTo>
                      <a:pt x="19868" y="26392"/>
                    </a:lnTo>
                    <a:lnTo>
                      <a:pt x="16025" y="19109"/>
                    </a:lnTo>
                    <a:lnTo>
                      <a:pt x="13563" y="19015"/>
                    </a:lnTo>
                    <a:lnTo>
                      <a:pt x="6401" y="23688"/>
                    </a:lnTo>
                    <a:lnTo>
                      <a:pt x="6316" y="14247"/>
                    </a:lnTo>
                    <a:lnTo>
                      <a:pt x="0" y="6668"/>
                    </a:lnTo>
                    <a:lnTo>
                      <a:pt x="1254" y="4735"/>
                    </a:lnTo>
                    <a:lnTo>
                      <a:pt x="1558" y="4504"/>
                    </a:lnTo>
                    <a:lnTo>
                      <a:pt x="1723" y="4318"/>
                    </a:lnTo>
                    <a:lnTo>
                      <a:pt x="2101" y="3808"/>
                    </a:lnTo>
                    <a:lnTo>
                      <a:pt x="2986" y="2878"/>
                    </a:lnTo>
                    <a:lnTo>
                      <a:pt x="3450" y="2502"/>
                    </a:lnTo>
                    <a:lnTo>
                      <a:pt x="4168" y="1976"/>
                    </a:lnTo>
                    <a:lnTo>
                      <a:pt x="5468" y="3478"/>
                    </a:lnTo>
                    <a:lnTo>
                      <a:pt x="6113" y="3962"/>
                    </a:lnTo>
                    <a:lnTo>
                      <a:pt x="7254" y="4227"/>
                    </a:lnTo>
                    <a:lnTo>
                      <a:pt x="7797" y="4083"/>
                    </a:lnTo>
                    <a:lnTo>
                      <a:pt x="8109" y="3892"/>
                    </a:lnTo>
                    <a:lnTo>
                      <a:pt x="8362" y="3622"/>
                    </a:lnTo>
                    <a:lnTo>
                      <a:pt x="8700" y="3014"/>
                    </a:lnTo>
                    <a:lnTo>
                      <a:pt x="9181" y="2459"/>
                    </a:lnTo>
                    <a:lnTo>
                      <a:pt x="9487" y="2267"/>
                    </a:lnTo>
                    <a:lnTo>
                      <a:pt x="9974" y="2245"/>
                    </a:lnTo>
                    <a:lnTo>
                      <a:pt x="11203" y="2832"/>
                    </a:lnTo>
                    <a:lnTo>
                      <a:pt x="16687" y="1562"/>
                    </a:lnTo>
                    <a:lnTo>
                      <a:pt x="18042" y="551"/>
                    </a:lnTo>
                    <a:lnTo>
                      <a:pt x="21201" y="0"/>
                    </a:lnTo>
                    <a:lnTo>
                      <a:pt x="22607" y="399"/>
                    </a:lnTo>
                    <a:lnTo>
                      <a:pt x="23994" y="132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70" name="Freeform 77">
                <a:extLst>
                  <a:ext uri="{FF2B5EF4-FFF2-40B4-BE49-F238E27FC236}">
                    <a16:creationId xmlns:a16="http://schemas.microsoft.com/office/drawing/2014/main" id="{E95B19E0-2806-7E98-4BB2-63C0EEFA5515}"/>
                  </a:ext>
                </a:extLst>
              </p:cNvPr>
              <p:cNvSpPr>
                <a:spLocks noChangeAspect="1"/>
              </p:cNvSpPr>
              <p:nvPr>
                <p:custDataLst>
                  <p:tags r:id="rId74"/>
                </p:custDataLst>
              </p:nvPr>
            </p:nvSpPr>
            <p:spPr>
              <a:xfrm>
                <a:off x="5310313" y="5081858"/>
                <a:ext cx="21405" cy="23667"/>
              </a:xfrm>
              <a:custGeom>
                <a:avLst/>
                <a:gdLst/>
                <a:ahLst/>
                <a:cxnLst/>
                <a:rect l="0" t="0" r="0" b="0"/>
                <a:pathLst>
                  <a:path w="21977" h="24300">
                    <a:moveTo>
                      <a:pt x="21976" y="15244"/>
                    </a:moveTo>
                    <a:lnTo>
                      <a:pt x="19299" y="16165"/>
                    </a:lnTo>
                    <a:lnTo>
                      <a:pt x="18883" y="16481"/>
                    </a:lnTo>
                    <a:lnTo>
                      <a:pt x="18702" y="16807"/>
                    </a:lnTo>
                    <a:lnTo>
                      <a:pt x="18643" y="17126"/>
                    </a:lnTo>
                    <a:lnTo>
                      <a:pt x="18668" y="19456"/>
                    </a:lnTo>
                    <a:lnTo>
                      <a:pt x="18841" y="20634"/>
                    </a:lnTo>
                    <a:lnTo>
                      <a:pt x="18863" y="21502"/>
                    </a:lnTo>
                    <a:lnTo>
                      <a:pt x="18446" y="23084"/>
                    </a:lnTo>
                    <a:lnTo>
                      <a:pt x="18320" y="23299"/>
                    </a:lnTo>
                    <a:lnTo>
                      <a:pt x="17792" y="23848"/>
                    </a:lnTo>
                    <a:lnTo>
                      <a:pt x="17222" y="24172"/>
                    </a:lnTo>
                    <a:lnTo>
                      <a:pt x="16644" y="24299"/>
                    </a:lnTo>
                    <a:lnTo>
                      <a:pt x="15035" y="24139"/>
                    </a:lnTo>
                    <a:lnTo>
                      <a:pt x="13435" y="23109"/>
                    </a:lnTo>
                    <a:lnTo>
                      <a:pt x="12106" y="21039"/>
                    </a:lnTo>
                    <a:lnTo>
                      <a:pt x="11877" y="18284"/>
                    </a:lnTo>
                    <a:lnTo>
                      <a:pt x="8502" y="17852"/>
                    </a:lnTo>
                    <a:lnTo>
                      <a:pt x="5801" y="16677"/>
                    </a:lnTo>
                    <a:lnTo>
                      <a:pt x="1372" y="14220"/>
                    </a:lnTo>
                    <a:lnTo>
                      <a:pt x="1486" y="14156"/>
                    </a:lnTo>
                    <a:lnTo>
                      <a:pt x="1622" y="14051"/>
                    </a:lnTo>
                    <a:lnTo>
                      <a:pt x="1702" y="13908"/>
                    </a:lnTo>
                    <a:lnTo>
                      <a:pt x="1756" y="13748"/>
                    </a:lnTo>
                    <a:lnTo>
                      <a:pt x="1761" y="13591"/>
                    </a:lnTo>
                    <a:lnTo>
                      <a:pt x="1702" y="13376"/>
                    </a:lnTo>
                    <a:lnTo>
                      <a:pt x="1621" y="13241"/>
                    </a:lnTo>
                    <a:lnTo>
                      <a:pt x="1465" y="13050"/>
                    </a:lnTo>
                    <a:lnTo>
                      <a:pt x="947" y="12621"/>
                    </a:lnTo>
                    <a:lnTo>
                      <a:pt x="570" y="12204"/>
                    </a:lnTo>
                    <a:lnTo>
                      <a:pt x="258" y="11695"/>
                    </a:lnTo>
                    <a:lnTo>
                      <a:pt x="0" y="11184"/>
                    </a:lnTo>
                    <a:lnTo>
                      <a:pt x="720" y="9726"/>
                    </a:lnTo>
                    <a:lnTo>
                      <a:pt x="917" y="7485"/>
                    </a:lnTo>
                    <a:lnTo>
                      <a:pt x="1085" y="7121"/>
                    </a:lnTo>
                    <a:lnTo>
                      <a:pt x="1397" y="6829"/>
                    </a:lnTo>
                    <a:lnTo>
                      <a:pt x="3110" y="5838"/>
                    </a:lnTo>
                    <a:lnTo>
                      <a:pt x="4010" y="4965"/>
                    </a:lnTo>
                    <a:lnTo>
                      <a:pt x="7999" y="4764"/>
                    </a:lnTo>
                    <a:lnTo>
                      <a:pt x="9104" y="4336"/>
                    </a:lnTo>
                    <a:lnTo>
                      <a:pt x="9999" y="3611"/>
                    </a:lnTo>
                    <a:lnTo>
                      <a:pt x="11383" y="1786"/>
                    </a:lnTo>
                    <a:lnTo>
                      <a:pt x="13998" y="0"/>
                    </a:lnTo>
                    <a:lnTo>
                      <a:pt x="14573" y="3687"/>
                    </a:lnTo>
                    <a:lnTo>
                      <a:pt x="18078" y="11186"/>
                    </a:lnTo>
                    <a:lnTo>
                      <a:pt x="18379" y="11566"/>
                    </a:lnTo>
                    <a:lnTo>
                      <a:pt x="19159" y="12181"/>
                    </a:lnTo>
                    <a:lnTo>
                      <a:pt x="20378" y="12713"/>
                    </a:lnTo>
                    <a:lnTo>
                      <a:pt x="20708" y="1305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71" name="Freeform 78">
                <a:extLst>
                  <a:ext uri="{FF2B5EF4-FFF2-40B4-BE49-F238E27FC236}">
                    <a16:creationId xmlns:a16="http://schemas.microsoft.com/office/drawing/2014/main" id="{CF696EEE-6A2D-5037-9AAB-F2B95D9AD2F0}"/>
                  </a:ext>
                </a:extLst>
              </p:cNvPr>
              <p:cNvSpPr>
                <a:spLocks noChangeAspect="1"/>
              </p:cNvSpPr>
              <p:nvPr>
                <p:custDataLst>
                  <p:tags r:id="rId75"/>
                </p:custDataLst>
              </p:nvPr>
            </p:nvSpPr>
            <p:spPr>
              <a:xfrm>
                <a:off x="5313779" y="5043431"/>
                <a:ext cx="18116" cy="35101"/>
              </a:xfrm>
              <a:custGeom>
                <a:avLst/>
                <a:gdLst/>
                <a:ahLst/>
                <a:cxnLst/>
                <a:rect l="0" t="0" r="0" b="0"/>
                <a:pathLst>
                  <a:path w="18600" h="36039">
                    <a:moveTo>
                      <a:pt x="18102" y="7341"/>
                    </a:moveTo>
                    <a:lnTo>
                      <a:pt x="16312" y="8812"/>
                    </a:lnTo>
                    <a:lnTo>
                      <a:pt x="16194" y="9025"/>
                    </a:lnTo>
                    <a:lnTo>
                      <a:pt x="15987" y="9954"/>
                    </a:lnTo>
                    <a:lnTo>
                      <a:pt x="15978" y="10409"/>
                    </a:lnTo>
                    <a:lnTo>
                      <a:pt x="16031" y="10635"/>
                    </a:lnTo>
                    <a:lnTo>
                      <a:pt x="16203" y="11011"/>
                    </a:lnTo>
                    <a:lnTo>
                      <a:pt x="17205" y="12335"/>
                    </a:lnTo>
                    <a:lnTo>
                      <a:pt x="17579" y="13079"/>
                    </a:lnTo>
                    <a:lnTo>
                      <a:pt x="17850" y="14251"/>
                    </a:lnTo>
                    <a:lnTo>
                      <a:pt x="17826" y="15044"/>
                    </a:lnTo>
                    <a:lnTo>
                      <a:pt x="17049" y="18183"/>
                    </a:lnTo>
                    <a:lnTo>
                      <a:pt x="17116" y="23181"/>
                    </a:lnTo>
                    <a:lnTo>
                      <a:pt x="18599" y="28642"/>
                    </a:lnTo>
                    <a:lnTo>
                      <a:pt x="18531" y="34931"/>
                    </a:lnTo>
                    <a:lnTo>
                      <a:pt x="10370" y="36038"/>
                    </a:lnTo>
                    <a:lnTo>
                      <a:pt x="7832" y="33581"/>
                    </a:lnTo>
                    <a:lnTo>
                      <a:pt x="7051" y="33313"/>
                    </a:lnTo>
                    <a:lnTo>
                      <a:pt x="3952" y="33818"/>
                    </a:lnTo>
                    <a:lnTo>
                      <a:pt x="3194" y="33518"/>
                    </a:lnTo>
                    <a:lnTo>
                      <a:pt x="1189" y="31519"/>
                    </a:lnTo>
                    <a:lnTo>
                      <a:pt x="0" y="28434"/>
                    </a:lnTo>
                    <a:lnTo>
                      <a:pt x="541" y="27005"/>
                    </a:lnTo>
                    <a:lnTo>
                      <a:pt x="752" y="26520"/>
                    </a:lnTo>
                    <a:lnTo>
                      <a:pt x="929" y="25841"/>
                    </a:lnTo>
                    <a:lnTo>
                      <a:pt x="1122" y="25376"/>
                    </a:lnTo>
                    <a:lnTo>
                      <a:pt x="1282" y="24717"/>
                    </a:lnTo>
                    <a:lnTo>
                      <a:pt x="1615" y="23949"/>
                    </a:lnTo>
                    <a:lnTo>
                      <a:pt x="1840" y="23504"/>
                    </a:lnTo>
                    <a:lnTo>
                      <a:pt x="1972" y="23191"/>
                    </a:lnTo>
                    <a:lnTo>
                      <a:pt x="2198" y="22756"/>
                    </a:lnTo>
                    <a:lnTo>
                      <a:pt x="2330" y="22433"/>
                    </a:lnTo>
                    <a:lnTo>
                      <a:pt x="2914" y="21260"/>
                    </a:lnTo>
                    <a:lnTo>
                      <a:pt x="3040" y="20937"/>
                    </a:lnTo>
                    <a:lnTo>
                      <a:pt x="3416" y="20188"/>
                    </a:lnTo>
                    <a:lnTo>
                      <a:pt x="3997" y="19330"/>
                    </a:lnTo>
                    <a:lnTo>
                      <a:pt x="4220" y="18864"/>
                    </a:lnTo>
                    <a:lnTo>
                      <a:pt x="4908" y="17695"/>
                    </a:lnTo>
                    <a:lnTo>
                      <a:pt x="4898" y="17349"/>
                    </a:lnTo>
                    <a:lnTo>
                      <a:pt x="4916" y="17081"/>
                    </a:lnTo>
                    <a:lnTo>
                      <a:pt x="4953" y="16813"/>
                    </a:lnTo>
                    <a:lnTo>
                      <a:pt x="5045" y="16413"/>
                    </a:lnTo>
                    <a:lnTo>
                      <a:pt x="5070" y="16165"/>
                    </a:lnTo>
                    <a:lnTo>
                      <a:pt x="5058" y="15919"/>
                    </a:lnTo>
                    <a:lnTo>
                      <a:pt x="5010" y="15694"/>
                    </a:lnTo>
                    <a:lnTo>
                      <a:pt x="4829" y="15239"/>
                    </a:lnTo>
                    <a:lnTo>
                      <a:pt x="4730" y="14828"/>
                    </a:lnTo>
                    <a:lnTo>
                      <a:pt x="4647" y="13972"/>
                    </a:lnTo>
                    <a:lnTo>
                      <a:pt x="4673" y="13744"/>
                    </a:lnTo>
                    <a:lnTo>
                      <a:pt x="4744" y="13424"/>
                    </a:lnTo>
                    <a:lnTo>
                      <a:pt x="4792" y="13264"/>
                    </a:lnTo>
                    <a:lnTo>
                      <a:pt x="4917" y="13059"/>
                    </a:lnTo>
                    <a:lnTo>
                      <a:pt x="5074" y="12865"/>
                    </a:lnTo>
                    <a:lnTo>
                      <a:pt x="5256" y="12688"/>
                    </a:lnTo>
                    <a:lnTo>
                      <a:pt x="5688" y="12351"/>
                    </a:lnTo>
                    <a:lnTo>
                      <a:pt x="5880" y="12124"/>
                    </a:lnTo>
                    <a:lnTo>
                      <a:pt x="6713" y="11312"/>
                    </a:lnTo>
                    <a:lnTo>
                      <a:pt x="7045" y="10922"/>
                    </a:lnTo>
                    <a:lnTo>
                      <a:pt x="7177" y="10718"/>
                    </a:lnTo>
                    <a:lnTo>
                      <a:pt x="7527" y="9950"/>
                    </a:lnTo>
                    <a:lnTo>
                      <a:pt x="7572" y="9730"/>
                    </a:lnTo>
                    <a:lnTo>
                      <a:pt x="7604" y="9491"/>
                    </a:lnTo>
                    <a:lnTo>
                      <a:pt x="7630" y="8759"/>
                    </a:lnTo>
                    <a:lnTo>
                      <a:pt x="7675" y="8539"/>
                    </a:lnTo>
                    <a:lnTo>
                      <a:pt x="7908" y="7106"/>
                    </a:lnTo>
                    <a:lnTo>
                      <a:pt x="7923" y="6631"/>
                    </a:lnTo>
                    <a:lnTo>
                      <a:pt x="7924" y="5879"/>
                    </a:lnTo>
                    <a:lnTo>
                      <a:pt x="7949" y="5365"/>
                    </a:lnTo>
                    <a:lnTo>
                      <a:pt x="7998" y="5104"/>
                    </a:lnTo>
                    <a:lnTo>
                      <a:pt x="8135" y="4644"/>
                    </a:lnTo>
                    <a:lnTo>
                      <a:pt x="8213" y="4462"/>
                    </a:lnTo>
                    <a:lnTo>
                      <a:pt x="8438" y="4035"/>
                    </a:lnTo>
                    <a:lnTo>
                      <a:pt x="10572" y="0"/>
                    </a:lnTo>
                    <a:lnTo>
                      <a:pt x="11207" y="305"/>
                    </a:lnTo>
                    <a:lnTo>
                      <a:pt x="16424" y="343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72" name="Freeform 79">
                <a:extLst>
                  <a:ext uri="{FF2B5EF4-FFF2-40B4-BE49-F238E27FC236}">
                    <a16:creationId xmlns:a16="http://schemas.microsoft.com/office/drawing/2014/main" id="{36D7787D-0B7D-2683-035E-28DE46865560}"/>
                  </a:ext>
                </a:extLst>
              </p:cNvPr>
              <p:cNvSpPr>
                <a:spLocks noChangeAspect="1"/>
              </p:cNvSpPr>
              <p:nvPr>
                <p:custDataLst>
                  <p:tags r:id="rId76"/>
                </p:custDataLst>
              </p:nvPr>
            </p:nvSpPr>
            <p:spPr>
              <a:xfrm>
                <a:off x="5271058" y="5102233"/>
                <a:ext cx="28293" cy="27698"/>
              </a:xfrm>
              <a:custGeom>
                <a:avLst/>
                <a:gdLst/>
                <a:ahLst/>
                <a:cxnLst/>
                <a:rect l="0" t="0" r="0" b="0"/>
                <a:pathLst>
                  <a:path w="29049" h="28438">
                    <a:moveTo>
                      <a:pt x="27832" y="28437"/>
                    </a:moveTo>
                    <a:lnTo>
                      <a:pt x="22485" y="28271"/>
                    </a:lnTo>
                    <a:lnTo>
                      <a:pt x="17403" y="25641"/>
                    </a:lnTo>
                    <a:lnTo>
                      <a:pt x="16754" y="24909"/>
                    </a:lnTo>
                    <a:lnTo>
                      <a:pt x="15623" y="22798"/>
                    </a:lnTo>
                    <a:lnTo>
                      <a:pt x="14938" y="22236"/>
                    </a:lnTo>
                    <a:lnTo>
                      <a:pt x="14173" y="21935"/>
                    </a:lnTo>
                    <a:lnTo>
                      <a:pt x="768" y="24026"/>
                    </a:lnTo>
                    <a:lnTo>
                      <a:pt x="349" y="21931"/>
                    </a:lnTo>
                    <a:lnTo>
                      <a:pt x="738" y="19285"/>
                    </a:lnTo>
                    <a:lnTo>
                      <a:pt x="719" y="18436"/>
                    </a:lnTo>
                    <a:lnTo>
                      <a:pt x="51" y="16688"/>
                    </a:lnTo>
                    <a:lnTo>
                      <a:pt x="0" y="16088"/>
                    </a:lnTo>
                    <a:lnTo>
                      <a:pt x="46" y="15187"/>
                    </a:lnTo>
                    <a:lnTo>
                      <a:pt x="449" y="13706"/>
                    </a:lnTo>
                    <a:lnTo>
                      <a:pt x="721" y="13299"/>
                    </a:lnTo>
                    <a:lnTo>
                      <a:pt x="1252" y="12919"/>
                    </a:lnTo>
                    <a:lnTo>
                      <a:pt x="5117" y="12705"/>
                    </a:lnTo>
                    <a:lnTo>
                      <a:pt x="5441" y="12512"/>
                    </a:lnTo>
                    <a:lnTo>
                      <a:pt x="5802" y="12022"/>
                    </a:lnTo>
                    <a:lnTo>
                      <a:pt x="7353" y="8672"/>
                    </a:lnTo>
                    <a:lnTo>
                      <a:pt x="7618" y="8265"/>
                    </a:lnTo>
                    <a:lnTo>
                      <a:pt x="8296" y="9104"/>
                    </a:lnTo>
                    <a:lnTo>
                      <a:pt x="11123" y="10219"/>
                    </a:lnTo>
                    <a:lnTo>
                      <a:pt x="15613" y="8986"/>
                    </a:lnTo>
                    <a:lnTo>
                      <a:pt x="17492" y="7902"/>
                    </a:lnTo>
                    <a:lnTo>
                      <a:pt x="20853" y="5958"/>
                    </a:lnTo>
                    <a:lnTo>
                      <a:pt x="24035" y="3360"/>
                    </a:lnTo>
                    <a:lnTo>
                      <a:pt x="25733" y="1977"/>
                    </a:lnTo>
                    <a:lnTo>
                      <a:pt x="27440" y="0"/>
                    </a:lnTo>
                    <a:lnTo>
                      <a:pt x="29048" y="6070"/>
                    </a:lnTo>
                    <a:lnTo>
                      <a:pt x="28610" y="7415"/>
                    </a:lnTo>
                    <a:lnTo>
                      <a:pt x="28169" y="8266"/>
                    </a:lnTo>
                    <a:lnTo>
                      <a:pt x="24729" y="12131"/>
                    </a:lnTo>
                    <a:lnTo>
                      <a:pt x="24545" y="12683"/>
                    </a:lnTo>
                    <a:lnTo>
                      <a:pt x="24505" y="13021"/>
                    </a:lnTo>
                    <a:lnTo>
                      <a:pt x="24509" y="13376"/>
                    </a:lnTo>
                    <a:lnTo>
                      <a:pt x="24562" y="13729"/>
                    </a:lnTo>
                    <a:lnTo>
                      <a:pt x="25078" y="14930"/>
                    </a:lnTo>
                    <a:lnTo>
                      <a:pt x="25595" y="16804"/>
                    </a:lnTo>
                    <a:lnTo>
                      <a:pt x="25982" y="17319"/>
                    </a:lnTo>
                    <a:lnTo>
                      <a:pt x="26847" y="17922"/>
                    </a:lnTo>
                    <a:lnTo>
                      <a:pt x="26978" y="18083"/>
                    </a:lnTo>
                    <a:lnTo>
                      <a:pt x="27090" y="18384"/>
                    </a:lnTo>
                    <a:lnTo>
                      <a:pt x="27745" y="2802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73" name="Freeform 80">
                <a:extLst>
                  <a:ext uri="{FF2B5EF4-FFF2-40B4-BE49-F238E27FC236}">
                    <a16:creationId xmlns:a16="http://schemas.microsoft.com/office/drawing/2014/main" id="{B49FD9F7-A6E0-671D-280B-728924A00B2E}"/>
                  </a:ext>
                </a:extLst>
              </p:cNvPr>
              <p:cNvSpPr>
                <a:spLocks noChangeAspect="1"/>
              </p:cNvSpPr>
              <p:nvPr>
                <p:custDataLst>
                  <p:tags r:id="rId77"/>
                </p:custDataLst>
              </p:nvPr>
            </p:nvSpPr>
            <p:spPr>
              <a:xfrm>
                <a:off x="5278030" y="5087916"/>
                <a:ext cx="23216" cy="17590"/>
              </a:xfrm>
              <a:custGeom>
                <a:avLst/>
                <a:gdLst/>
                <a:ahLst/>
                <a:cxnLst/>
                <a:rect l="0" t="0" r="0" b="0"/>
                <a:pathLst>
                  <a:path w="23837" h="18060">
                    <a:moveTo>
                      <a:pt x="23836" y="10581"/>
                    </a:moveTo>
                    <a:lnTo>
                      <a:pt x="20323" y="14647"/>
                    </a:lnTo>
                    <a:lnTo>
                      <a:pt x="20282" y="14699"/>
                    </a:lnTo>
                    <a:lnTo>
                      <a:pt x="18575" y="16676"/>
                    </a:lnTo>
                    <a:lnTo>
                      <a:pt x="16877" y="18059"/>
                    </a:lnTo>
                    <a:lnTo>
                      <a:pt x="16150" y="16551"/>
                    </a:lnTo>
                    <a:lnTo>
                      <a:pt x="15657" y="14914"/>
                    </a:lnTo>
                    <a:lnTo>
                      <a:pt x="15509" y="14635"/>
                    </a:lnTo>
                    <a:lnTo>
                      <a:pt x="15366" y="14474"/>
                    </a:lnTo>
                    <a:lnTo>
                      <a:pt x="15052" y="14329"/>
                    </a:lnTo>
                    <a:lnTo>
                      <a:pt x="12520" y="15376"/>
                    </a:lnTo>
                    <a:lnTo>
                      <a:pt x="11401" y="15279"/>
                    </a:lnTo>
                    <a:lnTo>
                      <a:pt x="11130" y="15144"/>
                    </a:lnTo>
                    <a:lnTo>
                      <a:pt x="10354" y="14310"/>
                    </a:lnTo>
                    <a:lnTo>
                      <a:pt x="9238" y="11793"/>
                    </a:lnTo>
                    <a:lnTo>
                      <a:pt x="7180" y="9288"/>
                    </a:lnTo>
                    <a:lnTo>
                      <a:pt x="5038" y="8033"/>
                    </a:lnTo>
                    <a:lnTo>
                      <a:pt x="4314" y="7117"/>
                    </a:lnTo>
                    <a:lnTo>
                      <a:pt x="4166" y="6828"/>
                    </a:lnTo>
                    <a:lnTo>
                      <a:pt x="4079" y="6526"/>
                    </a:lnTo>
                    <a:lnTo>
                      <a:pt x="3904" y="5240"/>
                    </a:lnTo>
                    <a:lnTo>
                      <a:pt x="3819" y="4996"/>
                    </a:lnTo>
                    <a:lnTo>
                      <a:pt x="3663" y="4796"/>
                    </a:lnTo>
                    <a:lnTo>
                      <a:pt x="3472" y="4647"/>
                    </a:lnTo>
                    <a:lnTo>
                      <a:pt x="0" y="4183"/>
                    </a:lnTo>
                    <a:lnTo>
                      <a:pt x="1027" y="3217"/>
                    </a:lnTo>
                    <a:lnTo>
                      <a:pt x="1394" y="2074"/>
                    </a:lnTo>
                    <a:lnTo>
                      <a:pt x="1503" y="1891"/>
                    </a:lnTo>
                    <a:lnTo>
                      <a:pt x="1665" y="1805"/>
                    </a:lnTo>
                    <a:lnTo>
                      <a:pt x="2065" y="1806"/>
                    </a:lnTo>
                    <a:lnTo>
                      <a:pt x="2906" y="2173"/>
                    </a:lnTo>
                    <a:lnTo>
                      <a:pt x="3521" y="2728"/>
                    </a:lnTo>
                    <a:lnTo>
                      <a:pt x="5363" y="3474"/>
                    </a:lnTo>
                    <a:lnTo>
                      <a:pt x="5816" y="3433"/>
                    </a:lnTo>
                    <a:lnTo>
                      <a:pt x="6171" y="3259"/>
                    </a:lnTo>
                    <a:lnTo>
                      <a:pt x="6561" y="2904"/>
                    </a:lnTo>
                    <a:lnTo>
                      <a:pt x="7517" y="1448"/>
                    </a:lnTo>
                    <a:lnTo>
                      <a:pt x="9568" y="0"/>
                    </a:lnTo>
                    <a:lnTo>
                      <a:pt x="14279" y="0"/>
                    </a:lnTo>
                    <a:lnTo>
                      <a:pt x="15048" y="281"/>
                    </a:lnTo>
                    <a:lnTo>
                      <a:pt x="15655" y="785"/>
                    </a:lnTo>
                    <a:lnTo>
                      <a:pt x="16163" y="1541"/>
                    </a:lnTo>
                    <a:lnTo>
                      <a:pt x="16972" y="3373"/>
                    </a:lnTo>
                    <a:lnTo>
                      <a:pt x="21726" y="8169"/>
                    </a:lnTo>
                    <a:lnTo>
                      <a:pt x="22264" y="8371"/>
                    </a:lnTo>
                    <a:lnTo>
                      <a:pt x="22831" y="838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74" name="Freeform 81">
                <a:extLst>
                  <a:ext uri="{FF2B5EF4-FFF2-40B4-BE49-F238E27FC236}">
                    <a16:creationId xmlns:a16="http://schemas.microsoft.com/office/drawing/2014/main" id="{DE55FBA4-E673-EE99-2B26-2ACB35222C4F}"/>
                  </a:ext>
                </a:extLst>
              </p:cNvPr>
              <p:cNvSpPr>
                <a:spLocks noChangeAspect="1"/>
              </p:cNvSpPr>
              <p:nvPr>
                <p:custDataLst>
                  <p:tags r:id="rId78"/>
                </p:custDataLst>
              </p:nvPr>
            </p:nvSpPr>
            <p:spPr>
              <a:xfrm>
                <a:off x="5115229" y="4317295"/>
                <a:ext cx="262293" cy="363196"/>
              </a:xfrm>
              <a:custGeom>
                <a:avLst/>
                <a:gdLst/>
                <a:ahLst/>
                <a:cxnLst/>
                <a:rect l="0" t="0" r="0" b="0"/>
                <a:pathLst>
                  <a:path w="269305" h="372905">
                    <a:moveTo>
                      <a:pt x="115310" y="605"/>
                    </a:moveTo>
                    <a:lnTo>
                      <a:pt x="125691" y="6502"/>
                    </a:lnTo>
                    <a:lnTo>
                      <a:pt x="132644" y="15198"/>
                    </a:lnTo>
                    <a:lnTo>
                      <a:pt x="141244" y="15346"/>
                    </a:lnTo>
                    <a:lnTo>
                      <a:pt x="141482" y="18093"/>
                    </a:lnTo>
                    <a:lnTo>
                      <a:pt x="135630" y="26764"/>
                    </a:lnTo>
                    <a:lnTo>
                      <a:pt x="139316" y="39661"/>
                    </a:lnTo>
                    <a:lnTo>
                      <a:pt x="138283" y="48852"/>
                    </a:lnTo>
                    <a:lnTo>
                      <a:pt x="144311" y="53564"/>
                    </a:lnTo>
                    <a:lnTo>
                      <a:pt x="145914" y="56673"/>
                    </a:lnTo>
                    <a:lnTo>
                      <a:pt x="149730" y="58511"/>
                    </a:lnTo>
                    <a:lnTo>
                      <a:pt x="151101" y="62183"/>
                    </a:lnTo>
                    <a:lnTo>
                      <a:pt x="156664" y="67339"/>
                    </a:lnTo>
                    <a:lnTo>
                      <a:pt x="159368" y="66993"/>
                    </a:lnTo>
                    <a:lnTo>
                      <a:pt x="165667" y="60951"/>
                    </a:lnTo>
                    <a:lnTo>
                      <a:pt x="161406" y="56478"/>
                    </a:lnTo>
                    <a:lnTo>
                      <a:pt x="160836" y="53737"/>
                    </a:lnTo>
                    <a:lnTo>
                      <a:pt x="167786" y="34920"/>
                    </a:lnTo>
                    <a:lnTo>
                      <a:pt x="170834" y="32649"/>
                    </a:lnTo>
                    <a:lnTo>
                      <a:pt x="175482" y="33482"/>
                    </a:lnTo>
                    <a:lnTo>
                      <a:pt x="180852" y="31857"/>
                    </a:lnTo>
                    <a:lnTo>
                      <a:pt x="184133" y="29719"/>
                    </a:lnTo>
                    <a:lnTo>
                      <a:pt x="184577" y="29421"/>
                    </a:lnTo>
                    <a:lnTo>
                      <a:pt x="185627" y="28529"/>
                    </a:lnTo>
                    <a:lnTo>
                      <a:pt x="185645" y="28512"/>
                    </a:lnTo>
                    <a:lnTo>
                      <a:pt x="203160" y="41554"/>
                    </a:lnTo>
                    <a:lnTo>
                      <a:pt x="207600" y="43292"/>
                    </a:lnTo>
                    <a:lnTo>
                      <a:pt x="211955" y="44069"/>
                    </a:lnTo>
                    <a:lnTo>
                      <a:pt x="216095" y="45696"/>
                    </a:lnTo>
                    <a:lnTo>
                      <a:pt x="219937" y="49828"/>
                    </a:lnTo>
                    <a:lnTo>
                      <a:pt x="220784" y="52650"/>
                    </a:lnTo>
                    <a:lnTo>
                      <a:pt x="221482" y="56537"/>
                    </a:lnTo>
                    <a:lnTo>
                      <a:pt x="222268" y="59968"/>
                    </a:lnTo>
                    <a:lnTo>
                      <a:pt x="223639" y="61408"/>
                    </a:lnTo>
                    <a:lnTo>
                      <a:pt x="225748" y="62017"/>
                    </a:lnTo>
                    <a:lnTo>
                      <a:pt x="232559" y="66397"/>
                    </a:lnTo>
                    <a:lnTo>
                      <a:pt x="230971" y="69095"/>
                    </a:lnTo>
                    <a:lnTo>
                      <a:pt x="235088" y="71903"/>
                    </a:lnTo>
                    <a:lnTo>
                      <a:pt x="238896" y="76997"/>
                    </a:lnTo>
                    <a:lnTo>
                      <a:pt x="241766" y="82919"/>
                    </a:lnTo>
                    <a:lnTo>
                      <a:pt x="243017" y="88055"/>
                    </a:lnTo>
                    <a:lnTo>
                      <a:pt x="264359" y="138650"/>
                    </a:lnTo>
                    <a:lnTo>
                      <a:pt x="268342" y="152886"/>
                    </a:lnTo>
                    <a:lnTo>
                      <a:pt x="269304" y="169216"/>
                    </a:lnTo>
                    <a:lnTo>
                      <a:pt x="265591" y="189424"/>
                    </a:lnTo>
                    <a:lnTo>
                      <a:pt x="264370" y="192152"/>
                    </a:lnTo>
                    <a:lnTo>
                      <a:pt x="261872" y="193360"/>
                    </a:lnTo>
                    <a:lnTo>
                      <a:pt x="257370" y="194549"/>
                    </a:lnTo>
                    <a:lnTo>
                      <a:pt x="253747" y="197169"/>
                    </a:lnTo>
                    <a:lnTo>
                      <a:pt x="234307" y="219139"/>
                    </a:lnTo>
                    <a:lnTo>
                      <a:pt x="230137" y="221128"/>
                    </a:lnTo>
                    <a:lnTo>
                      <a:pt x="227122" y="223758"/>
                    </a:lnTo>
                    <a:lnTo>
                      <a:pt x="210374" y="251504"/>
                    </a:lnTo>
                    <a:lnTo>
                      <a:pt x="205809" y="256962"/>
                    </a:lnTo>
                    <a:lnTo>
                      <a:pt x="200496" y="259451"/>
                    </a:lnTo>
                    <a:lnTo>
                      <a:pt x="197060" y="262142"/>
                    </a:lnTo>
                    <a:lnTo>
                      <a:pt x="194188" y="267621"/>
                    </a:lnTo>
                    <a:lnTo>
                      <a:pt x="194805" y="272246"/>
                    </a:lnTo>
                    <a:lnTo>
                      <a:pt x="201831" y="272430"/>
                    </a:lnTo>
                    <a:lnTo>
                      <a:pt x="213639" y="268994"/>
                    </a:lnTo>
                    <a:lnTo>
                      <a:pt x="216715" y="270055"/>
                    </a:lnTo>
                    <a:lnTo>
                      <a:pt x="223394" y="275136"/>
                    </a:lnTo>
                    <a:lnTo>
                      <a:pt x="226604" y="276187"/>
                    </a:lnTo>
                    <a:lnTo>
                      <a:pt x="232268" y="279682"/>
                    </a:lnTo>
                    <a:lnTo>
                      <a:pt x="245083" y="297564"/>
                    </a:lnTo>
                    <a:lnTo>
                      <a:pt x="251048" y="304119"/>
                    </a:lnTo>
                    <a:lnTo>
                      <a:pt x="254984" y="300863"/>
                    </a:lnTo>
                    <a:lnTo>
                      <a:pt x="258256" y="300206"/>
                    </a:lnTo>
                    <a:lnTo>
                      <a:pt x="258248" y="300234"/>
                    </a:lnTo>
                    <a:lnTo>
                      <a:pt x="257763" y="301950"/>
                    </a:lnTo>
                    <a:lnTo>
                      <a:pt x="255067" y="311543"/>
                    </a:lnTo>
                    <a:lnTo>
                      <a:pt x="259112" y="316423"/>
                    </a:lnTo>
                    <a:lnTo>
                      <a:pt x="258655" y="318790"/>
                    </a:lnTo>
                    <a:lnTo>
                      <a:pt x="241616" y="332954"/>
                    </a:lnTo>
                    <a:lnTo>
                      <a:pt x="235258" y="332253"/>
                    </a:lnTo>
                    <a:lnTo>
                      <a:pt x="229931" y="332188"/>
                    </a:lnTo>
                    <a:lnTo>
                      <a:pt x="218245" y="339361"/>
                    </a:lnTo>
                    <a:lnTo>
                      <a:pt x="209693" y="340736"/>
                    </a:lnTo>
                    <a:lnTo>
                      <a:pt x="208054" y="342735"/>
                    </a:lnTo>
                    <a:lnTo>
                      <a:pt x="209634" y="354143"/>
                    </a:lnTo>
                    <a:lnTo>
                      <a:pt x="207769" y="359553"/>
                    </a:lnTo>
                    <a:lnTo>
                      <a:pt x="204267" y="363006"/>
                    </a:lnTo>
                    <a:lnTo>
                      <a:pt x="196821" y="363569"/>
                    </a:lnTo>
                    <a:lnTo>
                      <a:pt x="185168" y="360158"/>
                    </a:lnTo>
                    <a:lnTo>
                      <a:pt x="184719" y="360022"/>
                    </a:lnTo>
                    <a:lnTo>
                      <a:pt x="177599" y="363563"/>
                    </a:lnTo>
                    <a:lnTo>
                      <a:pt x="173256" y="363017"/>
                    </a:lnTo>
                    <a:lnTo>
                      <a:pt x="165125" y="368499"/>
                    </a:lnTo>
                    <a:lnTo>
                      <a:pt x="159750" y="366517"/>
                    </a:lnTo>
                    <a:lnTo>
                      <a:pt x="154515" y="367707"/>
                    </a:lnTo>
                    <a:lnTo>
                      <a:pt x="150467" y="362417"/>
                    </a:lnTo>
                    <a:lnTo>
                      <a:pt x="136142" y="366428"/>
                    </a:lnTo>
                    <a:lnTo>
                      <a:pt x="123592" y="360821"/>
                    </a:lnTo>
                    <a:lnTo>
                      <a:pt x="103885" y="371877"/>
                    </a:lnTo>
                    <a:lnTo>
                      <a:pt x="96106" y="372309"/>
                    </a:lnTo>
                    <a:lnTo>
                      <a:pt x="88787" y="370088"/>
                    </a:lnTo>
                    <a:lnTo>
                      <a:pt x="83332" y="372904"/>
                    </a:lnTo>
                    <a:lnTo>
                      <a:pt x="79024" y="370811"/>
                    </a:lnTo>
                    <a:lnTo>
                      <a:pt x="77894" y="366926"/>
                    </a:lnTo>
                    <a:lnTo>
                      <a:pt x="82046" y="367603"/>
                    </a:lnTo>
                    <a:lnTo>
                      <a:pt x="92428" y="362920"/>
                    </a:lnTo>
                    <a:lnTo>
                      <a:pt x="99020" y="357324"/>
                    </a:lnTo>
                    <a:lnTo>
                      <a:pt x="99996" y="353032"/>
                    </a:lnTo>
                    <a:lnTo>
                      <a:pt x="76434" y="345209"/>
                    </a:lnTo>
                    <a:lnTo>
                      <a:pt x="73687" y="339473"/>
                    </a:lnTo>
                    <a:lnTo>
                      <a:pt x="64838" y="333887"/>
                    </a:lnTo>
                    <a:lnTo>
                      <a:pt x="59274" y="334647"/>
                    </a:lnTo>
                    <a:lnTo>
                      <a:pt x="54429" y="332391"/>
                    </a:lnTo>
                    <a:lnTo>
                      <a:pt x="44723" y="332460"/>
                    </a:lnTo>
                    <a:lnTo>
                      <a:pt x="44526" y="332012"/>
                    </a:lnTo>
                    <a:lnTo>
                      <a:pt x="41184" y="324319"/>
                    </a:lnTo>
                    <a:lnTo>
                      <a:pt x="37853" y="309570"/>
                    </a:lnTo>
                    <a:lnTo>
                      <a:pt x="34377" y="305992"/>
                    </a:lnTo>
                    <a:lnTo>
                      <a:pt x="29754" y="294057"/>
                    </a:lnTo>
                    <a:lnTo>
                      <a:pt x="26046" y="287522"/>
                    </a:lnTo>
                    <a:lnTo>
                      <a:pt x="19046" y="285873"/>
                    </a:lnTo>
                    <a:lnTo>
                      <a:pt x="19016" y="281408"/>
                    </a:lnTo>
                    <a:lnTo>
                      <a:pt x="16532" y="276839"/>
                    </a:lnTo>
                    <a:lnTo>
                      <a:pt x="20341" y="263831"/>
                    </a:lnTo>
                    <a:lnTo>
                      <a:pt x="19601" y="261094"/>
                    </a:lnTo>
                    <a:lnTo>
                      <a:pt x="15515" y="258068"/>
                    </a:lnTo>
                    <a:lnTo>
                      <a:pt x="14752" y="251478"/>
                    </a:lnTo>
                    <a:lnTo>
                      <a:pt x="9863" y="241930"/>
                    </a:lnTo>
                    <a:lnTo>
                      <a:pt x="10728" y="234459"/>
                    </a:lnTo>
                    <a:lnTo>
                      <a:pt x="16171" y="229470"/>
                    </a:lnTo>
                    <a:lnTo>
                      <a:pt x="20064" y="222535"/>
                    </a:lnTo>
                    <a:lnTo>
                      <a:pt x="31414" y="216989"/>
                    </a:lnTo>
                    <a:lnTo>
                      <a:pt x="29452" y="209221"/>
                    </a:lnTo>
                    <a:lnTo>
                      <a:pt x="25573" y="204471"/>
                    </a:lnTo>
                    <a:lnTo>
                      <a:pt x="27407" y="199203"/>
                    </a:lnTo>
                    <a:lnTo>
                      <a:pt x="24695" y="194841"/>
                    </a:lnTo>
                    <a:lnTo>
                      <a:pt x="26151" y="191189"/>
                    </a:lnTo>
                    <a:lnTo>
                      <a:pt x="24994" y="182618"/>
                    </a:lnTo>
                    <a:lnTo>
                      <a:pt x="25779" y="174941"/>
                    </a:lnTo>
                    <a:lnTo>
                      <a:pt x="18393" y="174800"/>
                    </a:lnTo>
                    <a:lnTo>
                      <a:pt x="17290" y="174319"/>
                    </a:lnTo>
                    <a:lnTo>
                      <a:pt x="16731" y="171257"/>
                    </a:lnTo>
                    <a:lnTo>
                      <a:pt x="19675" y="163161"/>
                    </a:lnTo>
                    <a:lnTo>
                      <a:pt x="25234" y="162216"/>
                    </a:lnTo>
                    <a:lnTo>
                      <a:pt x="28322" y="158163"/>
                    </a:lnTo>
                    <a:lnTo>
                      <a:pt x="34683" y="158132"/>
                    </a:lnTo>
                    <a:lnTo>
                      <a:pt x="36316" y="152654"/>
                    </a:lnTo>
                    <a:lnTo>
                      <a:pt x="40565" y="145886"/>
                    </a:lnTo>
                    <a:lnTo>
                      <a:pt x="39948" y="143262"/>
                    </a:lnTo>
                    <a:lnTo>
                      <a:pt x="38589" y="142683"/>
                    </a:lnTo>
                    <a:lnTo>
                      <a:pt x="35985" y="147352"/>
                    </a:lnTo>
                    <a:lnTo>
                      <a:pt x="30749" y="143625"/>
                    </a:lnTo>
                    <a:lnTo>
                      <a:pt x="24918" y="144069"/>
                    </a:lnTo>
                    <a:lnTo>
                      <a:pt x="20706" y="148696"/>
                    </a:lnTo>
                    <a:lnTo>
                      <a:pt x="8613" y="147310"/>
                    </a:lnTo>
                    <a:lnTo>
                      <a:pt x="9850" y="130260"/>
                    </a:lnTo>
                    <a:lnTo>
                      <a:pt x="13929" y="117479"/>
                    </a:lnTo>
                    <a:lnTo>
                      <a:pt x="14554" y="113235"/>
                    </a:lnTo>
                    <a:lnTo>
                      <a:pt x="13946" y="110244"/>
                    </a:lnTo>
                    <a:lnTo>
                      <a:pt x="9859" y="98189"/>
                    </a:lnTo>
                    <a:lnTo>
                      <a:pt x="8731" y="96571"/>
                    </a:lnTo>
                    <a:lnTo>
                      <a:pt x="7204" y="95621"/>
                    </a:lnTo>
                    <a:lnTo>
                      <a:pt x="5954" y="94344"/>
                    </a:lnTo>
                    <a:lnTo>
                      <a:pt x="5687" y="91785"/>
                    </a:lnTo>
                    <a:lnTo>
                      <a:pt x="6552" y="87642"/>
                    </a:lnTo>
                    <a:lnTo>
                      <a:pt x="6784" y="85499"/>
                    </a:lnTo>
                    <a:lnTo>
                      <a:pt x="6468" y="83496"/>
                    </a:lnTo>
                    <a:lnTo>
                      <a:pt x="3176" y="76684"/>
                    </a:lnTo>
                    <a:lnTo>
                      <a:pt x="804" y="73058"/>
                    </a:lnTo>
                    <a:lnTo>
                      <a:pt x="0" y="68998"/>
                    </a:lnTo>
                    <a:lnTo>
                      <a:pt x="817" y="64205"/>
                    </a:lnTo>
                    <a:lnTo>
                      <a:pt x="7626" y="55609"/>
                    </a:lnTo>
                    <a:lnTo>
                      <a:pt x="11674" y="50674"/>
                    </a:lnTo>
                    <a:lnTo>
                      <a:pt x="12988" y="40210"/>
                    </a:lnTo>
                    <a:lnTo>
                      <a:pt x="41236" y="42404"/>
                    </a:lnTo>
                    <a:lnTo>
                      <a:pt x="42771" y="44359"/>
                    </a:lnTo>
                    <a:lnTo>
                      <a:pt x="42952" y="48916"/>
                    </a:lnTo>
                    <a:lnTo>
                      <a:pt x="40588" y="57826"/>
                    </a:lnTo>
                    <a:lnTo>
                      <a:pt x="42485" y="61149"/>
                    </a:lnTo>
                    <a:lnTo>
                      <a:pt x="44874" y="62338"/>
                    </a:lnTo>
                    <a:lnTo>
                      <a:pt x="52730" y="62652"/>
                    </a:lnTo>
                    <a:lnTo>
                      <a:pt x="66453" y="57938"/>
                    </a:lnTo>
                    <a:lnTo>
                      <a:pt x="75564" y="53525"/>
                    </a:lnTo>
                    <a:lnTo>
                      <a:pt x="75939" y="51810"/>
                    </a:lnTo>
                    <a:lnTo>
                      <a:pt x="74333" y="48261"/>
                    </a:lnTo>
                    <a:lnTo>
                      <a:pt x="76895" y="41472"/>
                    </a:lnTo>
                    <a:lnTo>
                      <a:pt x="90360" y="38555"/>
                    </a:lnTo>
                    <a:lnTo>
                      <a:pt x="92960" y="35893"/>
                    </a:lnTo>
                    <a:lnTo>
                      <a:pt x="92583" y="32836"/>
                    </a:lnTo>
                    <a:lnTo>
                      <a:pt x="89694" y="30392"/>
                    </a:lnTo>
                    <a:lnTo>
                      <a:pt x="72444" y="29979"/>
                    </a:lnTo>
                    <a:lnTo>
                      <a:pt x="72253" y="28484"/>
                    </a:lnTo>
                    <a:lnTo>
                      <a:pt x="85478" y="17290"/>
                    </a:lnTo>
                    <a:lnTo>
                      <a:pt x="100194" y="20596"/>
                    </a:lnTo>
                    <a:lnTo>
                      <a:pt x="105829" y="19498"/>
                    </a:lnTo>
                    <a:lnTo>
                      <a:pt x="113721" y="9591"/>
                    </a:lnTo>
                    <a:lnTo>
                      <a:pt x="113090" y="2503"/>
                    </a:lnTo>
                    <a:lnTo>
                      <a:pt x="114240"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75" name="Freeform 104">
                <a:extLst>
                  <a:ext uri="{FF2B5EF4-FFF2-40B4-BE49-F238E27FC236}">
                    <a16:creationId xmlns:a16="http://schemas.microsoft.com/office/drawing/2014/main" id="{BCAE6428-D0A8-C521-F562-530E0E33003D}"/>
                  </a:ext>
                </a:extLst>
              </p:cNvPr>
              <p:cNvSpPr>
                <a:spLocks noChangeAspect="1"/>
              </p:cNvSpPr>
              <p:nvPr>
                <p:custDataLst>
                  <p:tags r:id="rId79"/>
                </p:custDataLst>
              </p:nvPr>
            </p:nvSpPr>
            <p:spPr>
              <a:xfrm>
                <a:off x="4224813" y="4884579"/>
                <a:ext cx="259227" cy="170675"/>
              </a:xfrm>
              <a:custGeom>
                <a:avLst/>
                <a:gdLst/>
                <a:ahLst/>
                <a:cxnLst/>
                <a:rect l="0" t="0" r="0" b="0"/>
                <a:pathLst>
                  <a:path w="266157" h="175237">
                    <a:moveTo>
                      <a:pt x="232752" y="7018"/>
                    </a:moveTo>
                    <a:lnTo>
                      <a:pt x="237841" y="7044"/>
                    </a:lnTo>
                    <a:lnTo>
                      <a:pt x="242975" y="1145"/>
                    </a:lnTo>
                    <a:lnTo>
                      <a:pt x="251054" y="3845"/>
                    </a:lnTo>
                    <a:lnTo>
                      <a:pt x="251699" y="6275"/>
                    </a:lnTo>
                    <a:lnTo>
                      <a:pt x="249391" y="13175"/>
                    </a:lnTo>
                    <a:lnTo>
                      <a:pt x="250101" y="14559"/>
                    </a:lnTo>
                    <a:lnTo>
                      <a:pt x="260197" y="18940"/>
                    </a:lnTo>
                    <a:lnTo>
                      <a:pt x="261756" y="21068"/>
                    </a:lnTo>
                    <a:lnTo>
                      <a:pt x="262193" y="26704"/>
                    </a:lnTo>
                    <a:lnTo>
                      <a:pt x="266156" y="31691"/>
                    </a:lnTo>
                    <a:lnTo>
                      <a:pt x="265755" y="35718"/>
                    </a:lnTo>
                    <a:lnTo>
                      <a:pt x="258682" y="42820"/>
                    </a:lnTo>
                    <a:lnTo>
                      <a:pt x="253481" y="51921"/>
                    </a:lnTo>
                    <a:lnTo>
                      <a:pt x="252932" y="58600"/>
                    </a:lnTo>
                    <a:lnTo>
                      <a:pt x="255517" y="67424"/>
                    </a:lnTo>
                    <a:lnTo>
                      <a:pt x="254592" y="70382"/>
                    </a:lnTo>
                    <a:lnTo>
                      <a:pt x="251974" y="71931"/>
                    </a:lnTo>
                    <a:lnTo>
                      <a:pt x="250025" y="73483"/>
                    </a:lnTo>
                    <a:lnTo>
                      <a:pt x="248379" y="84569"/>
                    </a:lnTo>
                    <a:lnTo>
                      <a:pt x="249620" y="92786"/>
                    </a:lnTo>
                    <a:lnTo>
                      <a:pt x="247144" y="98895"/>
                    </a:lnTo>
                    <a:lnTo>
                      <a:pt x="239890" y="105969"/>
                    </a:lnTo>
                    <a:lnTo>
                      <a:pt x="236377" y="117204"/>
                    </a:lnTo>
                    <a:lnTo>
                      <a:pt x="228498" y="129560"/>
                    </a:lnTo>
                    <a:lnTo>
                      <a:pt x="223927" y="123930"/>
                    </a:lnTo>
                    <a:lnTo>
                      <a:pt x="212628" y="123764"/>
                    </a:lnTo>
                    <a:lnTo>
                      <a:pt x="208604" y="126482"/>
                    </a:lnTo>
                    <a:lnTo>
                      <a:pt x="210003" y="133281"/>
                    </a:lnTo>
                    <a:lnTo>
                      <a:pt x="208407" y="137199"/>
                    </a:lnTo>
                    <a:lnTo>
                      <a:pt x="205708" y="137715"/>
                    </a:lnTo>
                    <a:lnTo>
                      <a:pt x="201381" y="134822"/>
                    </a:lnTo>
                    <a:lnTo>
                      <a:pt x="196951" y="138167"/>
                    </a:lnTo>
                    <a:lnTo>
                      <a:pt x="196502" y="138499"/>
                    </a:lnTo>
                    <a:lnTo>
                      <a:pt x="186327" y="136408"/>
                    </a:lnTo>
                    <a:lnTo>
                      <a:pt x="182948" y="140093"/>
                    </a:lnTo>
                    <a:lnTo>
                      <a:pt x="178803" y="140799"/>
                    </a:lnTo>
                    <a:lnTo>
                      <a:pt x="175614" y="144928"/>
                    </a:lnTo>
                    <a:lnTo>
                      <a:pt x="175576" y="149487"/>
                    </a:lnTo>
                    <a:lnTo>
                      <a:pt x="172508" y="153487"/>
                    </a:lnTo>
                    <a:lnTo>
                      <a:pt x="171000" y="160897"/>
                    </a:lnTo>
                    <a:lnTo>
                      <a:pt x="164147" y="170841"/>
                    </a:lnTo>
                    <a:lnTo>
                      <a:pt x="162996" y="170131"/>
                    </a:lnTo>
                    <a:lnTo>
                      <a:pt x="160158" y="173525"/>
                    </a:lnTo>
                    <a:lnTo>
                      <a:pt x="158205" y="174936"/>
                    </a:lnTo>
                    <a:lnTo>
                      <a:pt x="155501" y="175236"/>
                    </a:lnTo>
                    <a:lnTo>
                      <a:pt x="146144" y="174071"/>
                    </a:lnTo>
                    <a:lnTo>
                      <a:pt x="133371" y="166755"/>
                    </a:lnTo>
                    <a:lnTo>
                      <a:pt x="129931" y="169080"/>
                    </a:lnTo>
                    <a:lnTo>
                      <a:pt x="111236" y="171689"/>
                    </a:lnTo>
                    <a:lnTo>
                      <a:pt x="106138" y="169637"/>
                    </a:lnTo>
                    <a:lnTo>
                      <a:pt x="99790" y="164441"/>
                    </a:lnTo>
                    <a:lnTo>
                      <a:pt x="94170" y="157637"/>
                    </a:lnTo>
                    <a:lnTo>
                      <a:pt x="91227" y="150571"/>
                    </a:lnTo>
                    <a:lnTo>
                      <a:pt x="100969" y="152053"/>
                    </a:lnTo>
                    <a:lnTo>
                      <a:pt x="105254" y="151533"/>
                    </a:lnTo>
                    <a:lnTo>
                      <a:pt x="107550" y="148173"/>
                    </a:lnTo>
                    <a:lnTo>
                      <a:pt x="103221" y="148398"/>
                    </a:lnTo>
                    <a:lnTo>
                      <a:pt x="98871" y="147269"/>
                    </a:lnTo>
                    <a:lnTo>
                      <a:pt x="95266" y="144517"/>
                    </a:lnTo>
                    <a:lnTo>
                      <a:pt x="93130" y="139934"/>
                    </a:lnTo>
                    <a:lnTo>
                      <a:pt x="93863" y="139105"/>
                    </a:lnTo>
                    <a:lnTo>
                      <a:pt x="95283" y="136497"/>
                    </a:lnTo>
                    <a:lnTo>
                      <a:pt x="96484" y="132968"/>
                    </a:lnTo>
                    <a:lnTo>
                      <a:pt x="96481" y="129534"/>
                    </a:lnTo>
                    <a:lnTo>
                      <a:pt x="94889" y="126870"/>
                    </a:lnTo>
                    <a:lnTo>
                      <a:pt x="93363" y="128030"/>
                    </a:lnTo>
                    <a:lnTo>
                      <a:pt x="91471" y="132078"/>
                    </a:lnTo>
                    <a:lnTo>
                      <a:pt x="90117" y="133365"/>
                    </a:lnTo>
                    <a:lnTo>
                      <a:pt x="88169" y="136447"/>
                    </a:lnTo>
                    <a:lnTo>
                      <a:pt x="86695" y="137236"/>
                    </a:lnTo>
                    <a:lnTo>
                      <a:pt x="84297" y="136612"/>
                    </a:lnTo>
                    <a:lnTo>
                      <a:pt x="82300" y="134780"/>
                    </a:lnTo>
                    <a:lnTo>
                      <a:pt x="80299" y="131924"/>
                    </a:lnTo>
                    <a:lnTo>
                      <a:pt x="75726" y="132635"/>
                    </a:lnTo>
                    <a:lnTo>
                      <a:pt x="74851" y="135280"/>
                    </a:lnTo>
                    <a:lnTo>
                      <a:pt x="76677" y="138944"/>
                    </a:lnTo>
                    <a:lnTo>
                      <a:pt x="80150" y="142616"/>
                    </a:lnTo>
                    <a:lnTo>
                      <a:pt x="71979" y="146896"/>
                    </a:lnTo>
                    <a:lnTo>
                      <a:pt x="62949" y="147119"/>
                    </a:lnTo>
                    <a:lnTo>
                      <a:pt x="45159" y="144429"/>
                    </a:lnTo>
                    <a:lnTo>
                      <a:pt x="38232" y="145047"/>
                    </a:lnTo>
                    <a:lnTo>
                      <a:pt x="29719" y="147218"/>
                    </a:lnTo>
                    <a:lnTo>
                      <a:pt x="29712" y="147219"/>
                    </a:lnTo>
                    <a:lnTo>
                      <a:pt x="29783" y="146808"/>
                    </a:lnTo>
                    <a:lnTo>
                      <a:pt x="30212" y="143460"/>
                    </a:lnTo>
                    <a:lnTo>
                      <a:pt x="30321" y="137024"/>
                    </a:lnTo>
                    <a:lnTo>
                      <a:pt x="30440" y="129921"/>
                    </a:lnTo>
                    <a:lnTo>
                      <a:pt x="30537" y="124177"/>
                    </a:lnTo>
                    <a:lnTo>
                      <a:pt x="29994" y="119410"/>
                    </a:lnTo>
                    <a:lnTo>
                      <a:pt x="27761" y="114969"/>
                    </a:lnTo>
                    <a:lnTo>
                      <a:pt x="24669" y="111875"/>
                    </a:lnTo>
                    <a:lnTo>
                      <a:pt x="21538" y="111483"/>
                    </a:lnTo>
                    <a:lnTo>
                      <a:pt x="18187" y="111423"/>
                    </a:lnTo>
                    <a:lnTo>
                      <a:pt x="15459" y="111711"/>
                    </a:lnTo>
                    <a:lnTo>
                      <a:pt x="12291" y="113006"/>
                    </a:lnTo>
                    <a:lnTo>
                      <a:pt x="10185" y="113648"/>
                    </a:lnTo>
                    <a:lnTo>
                      <a:pt x="7042" y="113589"/>
                    </a:lnTo>
                    <a:lnTo>
                      <a:pt x="3904" y="113531"/>
                    </a:lnTo>
                    <a:lnTo>
                      <a:pt x="1402" y="112803"/>
                    </a:lnTo>
                    <a:lnTo>
                      <a:pt x="163" y="111762"/>
                    </a:lnTo>
                    <a:lnTo>
                      <a:pt x="0" y="109390"/>
                    </a:lnTo>
                    <a:lnTo>
                      <a:pt x="2156" y="106380"/>
                    </a:lnTo>
                    <a:lnTo>
                      <a:pt x="7830" y="105470"/>
                    </a:lnTo>
                    <a:lnTo>
                      <a:pt x="10363" y="103819"/>
                    </a:lnTo>
                    <a:lnTo>
                      <a:pt x="10631" y="100784"/>
                    </a:lnTo>
                    <a:lnTo>
                      <a:pt x="10253" y="98408"/>
                    </a:lnTo>
                    <a:lnTo>
                      <a:pt x="6760" y="94947"/>
                    </a:lnTo>
                    <a:lnTo>
                      <a:pt x="6589" y="92930"/>
                    </a:lnTo>
                    <a:lnTo>
                      <a:pt x="8742" y="89239"/>
                    </a:lnTo>
                    <a:lnTo>
                      <a:pt x="18107" y="79924"/>
                    </a:lnTo>
                    <a:lnTo>
                      <a:pt x="22943" y="78657"/>
                    </a:lnTo>
                    <a:lnTo>
                      <a:pt x="27341" y="78398"/>
                    </a:lnTo>
                    <a:lnTo>
                      <a:pt x="32752" y="79498"/>
                    </a:lnTo>
                    <a:lnTo>
                      <a:pt x="40751" y="76247"/>
                    </a:lnTo>
                    <a:lnTo>
                      <a:pt x="59729" y="65387"/>
                    </a:lnTo>
                    <a:lnTo>
                      <a:pt x="65224" y="61070"/>
                    </a:lnTo>
                    <a:lnTo>
                      <a:pt x="65274" y="57674"/>
                    </a:lnTo>
                    <a:lnTo>
                      <a:pt x="62612" y="54258"/>
                    </a:lnTo>
                    <a:lnTo>
                      <a:pt x="58520" y="48095"/>
                    </a:lnTo>
                    <a:lnTo>
                      <a:pt x="55908" y="41953"/>
                    </a:lnTo>
                    <a:lnTo>
                      <a:pt x="54538" y="36167"/>
                    </a:lnTo>
                    <a:lnTo>
                      <a:pt x="50617" y="31237"/>
                    </a:lnTo>
                    <a:lnTo>
                      <a:pt x="51179" y="30704"/>
                    </a:lnTo>
                    <a:lnTo>
                      <a:pt x="65212" y="31614"/>
                    </a:lnTo>
                    <a:lnTo>
                      <a:pt x="85619" y="35367"/>
                    </a:lnTo>
                    <a:lnTo>
                      <a:pt x="95414" y="35500"/>
                    </a:lnTo>
                    <a:lnTo>
                      <a:pt x="103085" y="34909"/>
                    </a:lnTo>
                    <a:lnTo>
                      <a:pt x="109916" y="34305"/>
                    </a:lnTo>
                    <a:lnTo>
                      <a:pt x="118016" y="34404"/>
                    </a:lnTo>
                    <a:lnTo>
                      <a:pt x="126528" y="34504"/>
                    </a:lnTo>
                    <a:lnTo>
                      <a:pt x="134233" y="31137"/>
                    </a:lnTo>
                    <a:lnTo>
                      <a:pt x="144139" y="20168"/>
                    </a:lnTo>
                    <a:lnTo>
                      <a:pt x="154017" y="12667"/>
                    </a:lnTo>
                    <a:lnTo>
                      <a:pt x="165117" y="7226"/>
                    </a:lnTo>
                    <a:lnTo>
                      <a:pt x="168089" y="6563"/>
                    </a:lnTo>
                    <a:lnTo>
                      <a:pt x="173603" y="9374"/>
                    </a:lnTo>
                    <a:lnTo>
                      <a:pt x="178281" y="10105"/>
                    </a:lnTo>
                    <a:lnTo>
                      <a:pt x="184658" y="10157"/>
                    </a:lnTo>
                    <a:lnTo>
                      <a:pt x="188948" y="5355"/>
                    </a:lnTo>
                    <a:lnTo>
                      <a:pt x="194923" y="1936"/>
                    </a:lnTo>
                    <a:lnTo>
                      <a:pt x="197486" y="583"/>
                    </a:lnTo>
                    <a:lnTo>
                      <a:pt x="202587" y="1310"/>
                    </a:lnTo>
                    <a:lnTo>
                      <a:pt x="205558" y="1330"/>
                    </a:lnTo>
                    <a:lnTo>
                      <a:pt x="209815" y="1358"/>
                    </a:lnTo>
                    <a:lnTo>
                      <a:pt x="213650" y="0"/>
                    </a:lnTo>
                    <a:lnTo>
                      <a:pt x="219590" y="1419"/>
                    </a:lnTo>
                    <a:lnTo>
                      <a:pt x="226380" y="282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192" name="Freeform 105">
                <a:extLst>
                  <a:ext uri="{FF2B5EF4-FFF2-40B4-BE49-F238E27FC236}">
                    <a16:creationId xmlns:a16="http://schemas.microsoft.com/office/drawing/2014/main" id="{DC619B79-F924-B6F6-DA5C-4D9B95094922}"/>
                  </a:ext>
                </a:extLst>
              </p:cNvPr>
              <p:cNvSpPr>
                <a:spLocks noChangeAspect="1"/>
              </p:cNvSpPr>
              <p:nvPr>
                <p:custDataLst>
                  <p:tags r:id="rId80"/>
                </p:custDataLst>
              </p:nvPr>
            </p:nvSpPr>
            <p:spPr>
              <a:xfrm>
                <a:off x="4242365" y="4723898"/>
                <a:ext cx="239751" cy="195257"/>
              </a:xfrm>
              <a:custGeom>
                <a:avLst/>
                <a:gdLst/>
                <a:ahLst/>
                <a:cxnLst/>
                <a:rect l="0" t="0" r="0" b="0"/>
                <a:pathLst>
                  <a:path w="246160" h="200477">
                    <a:moveTo>
                      <a:pt x="208810" y="28621"/>
                    </a:moveTo>
                    <a:lnTo>
                      <a:pt x="219627" y="26664"/>
                    </a:lnTo>
                    <a:lnTo>
                      <a:pt x="224625" y="21169"/>
                    </a:lnTo>
                    <a:lnTo>
                      <a:pt x="229413" y="22040"/>
                    </a:lnTo>
                    <a:lnTo>
                      <a:pt x="226511" y="34118"/>
                    </a:lnTo>
                    <a:lnTo>
                      <a:pt x="221646" y="37392"/>
                    </a:lnTo>
                    <a:lnTo>
                      <a:pt x="220898" y="45464"/>
                    </a:lnTo>
                    <a:lnTo>
                      <a:pt x="230377" y="52080"/>
                    </a:lnTo>
                    <a:lnTo>
                      <a:pt x="236286" y="66536"/>
                    </a:lnTo>
                    <a:lnTo>
                      <a:pt x="237170" y="73547"/>
                    </a:lnTo>
                    <a:lnTo>
                      <a:pt x="241897" y="73881"/>
                    </a:lnTo>
                    <a:lnTo>
                      <a:pt x="246159" y="79935"/>
                    </a:lnTo>
                    <a:lnTo>
                      <a:pt x="243748" y="83006"/>
                    </a:lnTo>
                    <a:lnTo>
                      <a:pt x="234075" y="84768"/>
                    </a:lnTo>
                    <a:lnTo>
                      <a:pt x="227622" y="90802"/>
                    </a:lnTo>
                    <a:lnTo>
                      <a:pt x="227488" y="93771"/>
                    </a:lnTo>
                    <a:lnTo>
                      <a:pt x="231165" y="98555"/>
                    </a:lnTo>
                    <a:lnTo>
                      <a:pt x="230880" y="103124"/>
                    </a:lnTo>
                    <a:lnTo>
                      <a:pt x="234571" y="108015"/>
                    </a:lnTo>
                    <a:lnTo>
                      <a:pt x="233395" y="110349"/>
                    </a:lnTo>
                    <a:lnTo>
                      <a:pt x="226683" y="114033"/>
                    </a:lnTo>
                    <a:lnTo>
                      <a:pt x="225557" y="118273"/>
                    </a:lnTo>
                    <a:lnTo>
                      <a:pt x="226886" y="120113"/>
                    </a:lnTo>
                    <a:lnTo>
                      <a:pt x="225050" y="122375"/>
                    </a:lnTo>
                    <a:lnTo>
                      <a:pt x="224636" y="135146"/>
                    </a:lnTo>
                    <a:lnTo>
                      <a:pt x="222385" y="144375"/>
                    </a:lnTo>
                    <a:lnTo>
                      <a:pt x="223694" y="157627"/>
                    </a:lnTo>
                    <a:lnTo>
                      <a:pt x="221527" y="164960"/>
                    </a:lnTo>
                    <a:lnTo>
                      <a:pt x="224954" y="166121"/>
                    </a:lnTo>
                    <a:lnTo>
                      <a:pt x="219820" y="172020"/>
                    </a:lnTo>
                    <a:lnTo>
                      <a:pt x="214731" y="171994"/>
                    </a:lnTo>
                    <a:lnTo>
                      <a:pt x="208359" y="167805"/>
                    </a:lnTo>
                    <a:lnTo>
                      <a:pt x="201569" y="166395"/>
                    </a:lnTo>
                    <a:lnTo>
                      <a:pt x="195629" y="164976"/>
                    </a:lnTo>
                    <a:lnTo>
                      <a:pt x="191794" y="166334"/>
                    </a:lnTo>
                    <a:lnTo>
                      <a:pt x="187537" y="166306"/>
                    </a:lnTo>
                    <a:lnTo>
                      <a:pt x="184566" y="166286"/>
                    </a:lnTo>
                    <a:lnTo>
                      <a:pt x="179465" y="165559"/>
                    </a:lnTo>
                    <a:lnTo>
                      <a:pt x="176902" y="166912"/>
                    </a:lnTo>
                    <a:lnTo>
                      <a:pt x="170927" y="170331"/>
                    </a:lnTo>
                    <a:lnTo>
                      <a:pt x="166637" y="175133"/>
                    </a:lnTo>
                    <a:lnTo>
                      <a:pt x="160260" y="175081"/>
                    </a:lnTo>
                    <a:lnTo>
                      <a:pt x="155582" y="174350"/>
                    </a:lnTo>
                    <a:lnTo>
                      <a:pt x="150068" y="171539"/>
                    </a:lnTo>
                    <a:lnTo>
                      <a:pt x="147096" y="172202"/>
                    </a:lnTo>
                    <a:lnTo>
                      <a:pt x="135996" y="177643"/>
                    </a:lnTo>
                    <a:lnTo>
                      <a:pt x="126118" y="185144"/>
                    </a:lnTo>
                    <a:lnTo>
                      <a:pt x="116212" y="196113"/>
                    </a:lnTo>
                    <a:lnTo>
                      <a:pt x="108507" y="199480"/>
                    </a:lnTo>
                    <a:lnTo>
                      <a:pt x="99995" y="199380"/>
                    </a:lnTo>
                    <a:lnTo>
                      <a:pt x="91895" y="199281"/>
                    </a:lnTo>
                    <a:lnTo>
                      <a:pt x="85064" y="199885"/>
                    </a:lnTo>
                    <a:lnTo>
                      <a:pt x="77393" y="200476"/>
                    </a:lnTo>
                    <a:lnTo>
                      <a:pt x="67598" y="200343"/>
                    </a:lnTo>
                    <a:lnTo>
                      <a:pt x="47191" y="196590"/>
                    </a:lnTo>
                    <a:lnTo>
                      <a:pt x="33158" y="195680"/>
                    </a:lnTo>
                    <a:lnTo>
                      <a:pt x="32596" y="196213"/>
                    </a:lnTo>
                    <a:lnTo>
                      <a:pt x="32429" y="196004"/>
                    </a:lnTo>
                    <a:lnTo>
                      <a:pt x="27044" y="193883"/>
                    </a:lnTo>
                    <a:lnTo>
                      <a:pt x="21430" y="192783"/>
                    </a:lnTo>
                    <a:lnTo>
                      <a:pt x="17711" y="191023"/>
                    </a:lnTo>
                    <a:lnTo>
                      <a:pt x="15243" y="188947"/>
                    </a:lnTo>
                    <a:lnTo>
                      <a:pt x="13218" y="185862"/>
                    </a:lnTo>
                    <a:lnTo>
                      <a:pt x="10522" y="185133"/>
                    </a:lnTo>
                    <a:lnTo>
                      <a:pt x="6564" y="185064"/>
                    </a:lnTo>
                    <a:lnTo>
                      <a:pt x="3231" y="185005"/>
                    </a:lnTo>
                    <a:lnTo>
                      <a:pt x="329" y="183946"/>
                    </a:lnTo>
                    <a:lnTo>
                      <a:pt x="0" y="179202"/>
                    </a:lnTo>
                    <a:lnTo>
                      <a:pt x="303" y="173443"/>
                    </a:lnTo>
                    <a:lnTo>
                      <a:pt x="977" y="170285"/>
                    </a:lnTo>
                    <a:lnTo>
                      <a:pt x="1024" y="170039"/>
                    </a:lnTo>
                    <a:lnTo>
                      <a:pt x="1301" y="169116"/>
                    </a:lnTo>
                    <a:lnTo>
                      <a:pt x="1308" y="169094"/>
                    </a:lnTo>
                    <a:lnTo>
                      <a:pt x="6010" y="172949"/>
                    </a:lnTo>
                    <a:lnTo>
                      <a:pt x="5681" y="161656"/>
                    </a:lnTo>
                    <a:lnTo>
                      <a:pt x="14711" y="157398"/>
                    </a:lnTo>
                    <a:lnTo>
                      <a:pt x="43710" y="158944"/>
                    </a:lnTo>
                    <a:lnTo>
                      <a:pt x="46436" y="157960"/>
                    </a:lnTo>
                    <a:lnTo>
                      <a:pt x="47992" y="156024"/>
                    </a:lnTo>
                    <a:lnTo>
                      <a:pt x="49157" y="153416"/>
                    </a:lnTo>
                    <a:lnTo>
                      <a:pt x="50756" y="151169"/>
                    </a:lnTo>
                    <a:lnTo>
                      <a:pt x="57724" y="149081"/>
                    </a:lnTo>
                    <a:lnTo>
                      <a:pt x="62433" y="145977"/>
                    </a:lnTo>
                    <a:lnTo>
                      <a:pt x="67042" y="141768"/>
                    </a:lnTo>
                    <a:lnTo>
                      <a:pt x="74143" y="133503"/>
                    </a:lnTo>
                    <a:lnTo>
                      <a:pt x="77527" y="131310"/>
                    </a:lnTo>
                    <a:lnTo>
                      <a:pt x="81410" y="130289"/>
                    </a:lnTo>
                    <a:lnTo>
                      <a:pt x="86188" y="130071"/>
                    </a:lnTo>
                    <a:lnTo>
                      <a:pt x="90540" y="128806"/>
                    </a:lnTo>
                    <a:lnTo>
                      <a:pt x="118593" y="105073"/>
                    </a:lnTo>
                    <a:lnTo>
                      <a:pt x="132365" y="85755"/>
                    </a:lnTo>
                    <a:lnTo>
                      <a:pt x="139374" y="72424"/>
                    </a:lnTo>
                    <a:lnTo>
                      <a:pt x="142569" y="63828"/>
                    </a:lnTo>
                    <a:lnTo>
                      <a:pt x="144788" y="47713"/>
                    </a:lnTo>
                    <a:lnTo>
                      <a:pt x="146830" y="38980"/>
                    </a:lnTo>
                    <a:lnTo>
                      <a:pt x="149469" y="31139"/>
                    </a:lnTo>
                    <a:lnTo>
                      <a:pt x="152170" y="25722"/>
                    </a:lnTo>
                    <a:lnTo>
                      <a:pt x="150970" y="22199"/>
                    </a:lnTo>
                    <a:lnTo>
                      <a:pt x="150500" y="17562"/>
                    </a:lnTo>
                    <a:lnTo>
                      <a:pt x="150881" y="13057"/>
                    </a:lnTo>
                    <a:lnTo>
                      <a:pt x="152310" y="9836"/>
                    </a:lnTo>
                    <a:lnTo>
                      <a:pt x="154186" y="9464"/>
                    </a:lnTo>
                    <a:lnTo>
                      <a:pt x="159253" y="12213"/>
                    </a:lnTo>
                    <a:lnTo>
                      <a:pt x="161671" y="12778"/>
                    </a:lnTo>
                    <a:lnTo>
                      <a:pt x="165733" y="11288"/>
                    </a:lnTo>
                    <a:lnTo>
                      <a:pt x="177758" y="2473"/>
                    </a:lnTo>
                    <a:lnTo>
                      <a:pt x="177762" y="1857"/>
                    </a:lnTo>
                    <a:lnTo>
                      <a:pt x="177771" y="1849"/>
                    </a:lnTo>
                    <a:lnTo>
                      <a:pt x="182389" y="1013"/>
                    </a:lnTo>
                    <a:lnTo>
                      <a:pt x="196254" y="0"/>
                    </a:lnTo>
                    <a:lnTo>
                      <a:pt x="202824" y="2902"/>
                    </a:lnTo>
                    <a:lnTo>
                      <a:pt x="205180" y="8977"/>
                    </a:lnTo>
                    <a:lnTo>
                      <a:pt x="204012" y="1988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193" name="Freeform 106">
                <a:extLst>
                  <a:ext uri="{FF2B5EF4-FFF2-40B4-BE49-F238E27FC236}">
                    <a16:creationId xmlns:a16="http://schemas.microsoft.com/office/drawing/2014/main" id="{EA46E3EC-AD68-D950-A74E-3616A9E17617}"/>
                  </a:ext>
                </a:extLst>
              </p:cNvPr>
              <p:cNvSpPr>
                <a:spLocks noChangeAspect="1"/>
              </p:cNvSpPr>
              <p:nvPr>
                <p:custDataLst>
                  <p:tags r:id="rId81"/>
                </p:custDataLst>
              </p:nvPr>
            </p:nvSpPr>
            <p:spPr>
              <a:xfrm>
                <a:off x="4100184" y="4886216"/>
                <a:ext cx="188204" cy="191240"/>
              </a:xfrm>
              <a:custGeom>
                <a:avLst/>
                <a:gdLst/>
                <a:ahLst/>
                <a:cxnLst/>
                <a:rect l="0" t="0" r="0" b="0"/>
                <a:pathLst>
                  <a:path w="193235" h="196352">
                    <a:moveTo>
                      <a:pt x="146310" y="17289"/>
                    </a:moveTo>
                    <a:lnTo>
                      <a:pt x="149212" y="18348"/>
                    </a:lnTo>
                    <a:lnTo>
                      <a:pt x="152545" y="18407"/>
                    </a:lnTo>
                    <a:lnTo>
                      <a:pt x="156503" y="18476"/>
                    </a:lnTo>
                    <a:lnTo>
                      <a:pt x="159199" y="19205"/>
                    </a:lnTo>
                    <a:lnTo>
                      <a:pt x="161224" y="22290"/>
                    </a:lnTo>
                    <a:lnTo>
                      <a:pt x="163692" y="24366"/>
                    </a:lnTo>
                    <a:lnTo>
                      <a:pt x="167411" y="26126"/>
                    </a:lnTo>
                    <a:lnTo>
                      <a:pt x="173025" y="27226"/>
                    </a:lnTo>
                    <a:lnTo>
                      <a:pt x="178410" y="29347"/>
                    </a:lnTo>
                    <a:lnTo>
                      <a:pt x="178577" y="29556"/>
                    </a:lnTo>
                    <a:lnTo>
                      <a:pt x="182498" y="34486"/>
                    </a:lnTo>
                    <a:lnTo>
                      <a:pt x="183868" y="40272"/>
                    </a:lnTo>
                    <a:lnTo>
                      <a:pt x="186480" y="46414"/>
                    </a:lnTo>
                    <a:lnTo>
                      <a:pt x="190572" y="52577"/>
                    </a:lnTo>
                    <a:lnTo>
                      <a:pt x="193234" y="55993"/>
                    </a:lnTo>
                    <a:lnTo>
                      <a:pt x="193184" y="59389"/>
                    </a:lnTo>
                    <a:lnTo>
                      <a:pt x="187689" y="63706"/>
                    </a:lnTo>
                    <a:lnTo>
                      <a:pt x="168711" y="74566"/>
                    </a:lnTo>
                    <a:lnTo>
                      <a:pt x="160712" y="77817"/>
                    </a:lnTo>
                    <a:lnTo>
                      <a:pt x="155301" y="76717"/>
                    </a:lnTo>
                    <a:lnTo>
                      <a:pt x="150903" y="76976"/>
                    </a:lnTo>
                    <a:lnTo>
                      <a:pt x="146067" y="78243"/>
                    </a:lnTo>
                    <a:lnTo>
                      <a:pt x="136702" y="87558"/>
                    </a:lnTo>
                    <a:lnTo>
                      <a:pt x="134549" y="91249"/>
                    </a:lnTo>
                    <a:lnTo>
                      <a:pt x="134720" y="93266"/>
                    </a:lnTo>
                    <a:lnTo>
                      <a:pt x="138213" y="96727"/>
                    </a:lnTo>
                    <a:lnTo>
                      <a:pt x="138591" y="99103"/>
                    </a:lnTo>
                    <a:lnTo>
                      <a:pt x="138323" y="102138"/>
                    </a:lnTo>
                    <a:lnTo>
                      <a:pt x="135790" y="103789"/>
                    </a:lnTo>
                    <a:lnTo>
                      <a:pt x="130116" y="104699"/>
                    </a:lnTo>
                    <a:lnTo>
                      <a:pt x="127960" y="107709"/>
                    </a:lnTo>
                    <a:lnTo>
                      <a:pt x="128123" y="110081"/>
                    </a:lnTo>
                    <a:lnTo>
                      <a:pt x="129362" y="111122"/>
                    </a:lnTo>
                    <a:lnTo>
                      <a:pt x="131864" y="111850"/>
                    </a:lnTo>
                    <a:lnTo>
                      <a:pt x="135002" y="111908"/>
                    </a:lnTo>
                    <a:lnTo>
                      <a:pt x="138145" y="111967"/>
                    </a:lnTo>
                    <a:lnTo>
                      <a:pt x="140251" y="111325"/>
                    </a:lnTo>
                    <a:lnTo>
                      <a:pt x="143419" y="110030"/>
                    </a:lnTo>
                    <a:lnTo>
                      <a:pt x="146147" y="109742"/>
                    </a:lnTo>
                    <a:lnTo>
                      <a:pt x="149498" y="109802"/>
                    </a:lnTo>
                    <a:lnTo>
                      <a:pt x="152629" y="110194"/>
                    </a:lnTo>
                    <a:lnTo>
                      <a:pt x="155721" y="113288"/>
                    </a:lnTo>
                    <a:lnTo>
                      <a:pt x="157954" y="117729"/>
                    </a:lnTo>
                    <a:lnTo>
                      <a:pt x="158497" y="122496"/>
                    </a:lnTo>
                    <a:lnTo>
                      <a:pt x="158400" y="128240"/>
                    </a:lnTo>
                    <a:lnTo>
                      <a:pt x="158281" y="135343"/>
                    </a:lnTo>
                    <a:lnTo>
                      <a:pt x="158172" y="141779"/>
                    </a:lnTo>
                    <a:lnTo>
                      <a:pt x="157743" y="145127"/>
                    </a:lnTo>
                    <a:lnTo>
                      <a:pt x="157672" y="145538"/>
                    </a:lnTo>
                    <a:lnTo>
                      <a:pt x="156217" y="145916"/>
                    </a:lnTo>
                    <a:lnTo>
                      <a:pt x="148347" y="151390"/>
                    </a:lnTo>
                    <a:lnTo>
                      <a:pt x="147691" y="160829"/>
                    </a:lnTo>
                    <a:lnTo>
                      <a:pt x="145514" y="161210"/>
                    </a:lnTo>
                    <a:lnTo>
                      <a:pt x="144982" y="161853"/>
                    </a:lnTo>
                    <a:lnTo>
                      <a:pt x="144956" y="163345"/>
                    </a:lnTo>
                    <a:lnTo>
                      <a:pt x="144356" y="166226"/>
                    </a:lnTo>
                    <a:lnTo>
                      <a:pt x="139813" y="176963"/>
                    </a:lnTo>
                    <a:lnTo>
                      <a:pt x="137666" y="176177"/>
                    </a:lnTo>
                    <a:lnTo>
                      <a:pt x="134512" y="173367"/>
                    </a:lnTo>
                    <a:lnTo>
                      <a:pt x="132850" y="174549"/>
                    </a:lnTo>
                    <a:lnTo>
                      <a:pt x="128661" y="178714"/>
                    </a:lnTo>
                    <a:lnTo>
                      <a:pt x="107537" y="177789"/>
                    </a:lnTo>
                    <a:lnTo>
                      <a:pt x="103911" y="178555"/>
                    </a:lnTo>
                    <a:lnTo>
                      <a:pt x="100193" y="181029"/>
                    </a:lnTo>
                    <a:lnTo>
                      <a:pt x="98040" y="183844"/>
                    </a:lnTo>
                    <a:lnTo>
                      <a:pt x="96089" y="187194"/>
                    </a:lnTo>
                    <a:lnTo>
                      <a:pt x="93888" y="189914"/>
                    </a:lnTo>
                    <a:lnTo>
                      <a:pt x="89356" y="191809"/>
                    </a:lnTo>
                    <a:lnTo>
                      <a:pt x="87310" y="195434"/>
                    </a:lnTo>
                    <a:lnTo>
                      <a:pt x="85145" y="196351"/>
                    </a:lnTo>
                    <a:lnTo>
                      <a:pt x="83966" y="195906"/>
                    </a:lnTo>
                    <a:lnTo>
                      <a:pt x="81534" y="193880"/>
                    </a:lnTo>
                    <a:lnTo>
                      <a:pt x="66183" y="188471"/>
                    </a:lnTo>
                    <a:lnTo>
                      <a:pt x="60540" y="184192"/>
                    </a:lnTo>
                    <a:lnTo>
                      <a:pt x="62802" y="180218"/>
                    </a:lnTo>
                    <a:lnTo>
                      <a:pt x="59515" y="172695"/>
                    </a:lnTo>
                    <a:lnTo>
                      <a:pt x="47892" y="169454"/>
                    </a:lnTo>
                    <a:lnTo>
                      <a:pt x="43453" y="164109"/>
                    </a:lnTo>
                    <a:lnTo>
                      <a:pt x="45008" y="161520"/>
                    </a:lnTo>
                    <a:lnTo>
                      <a:pt x="63152" y="164570"/>
                    </a:lnTo>
                    <a:lnTo>
                      <a:pt x="62680" y="163253"/>
                    </a:lnTo>
                    <a:lnTo>
                      <a:pt x="62128" y="160349"/>
                    </a:lnTo>
                    <a:lnTo>
                      <a:pt x="61654" y="159079"/>
                    </a:lnTo>
                    <a:lnTo>
                      <a:pt x="65155" y="159066"/>
                    </a:lnTo>
                    <a:lnTo>
                      <a:pt x="71298" y="161319"/>
                    </a:lnTo>
                    <a:lnTo>
                      <a:pt x="74688" y="161984"/>
                    </a:lnTo>
                    <a:lnTo>
                      <a:pt x="77925" y="161263"/>
                    </a:lnTo>
                    <a:lnTo>
                      <a:pt x="85977" y="156774"/>
                    </a:lnTo>
                    <a:lnTo>
                      <a:pt x="97485" y="154638"/>
                    </a:lnTo>
                    <a:lnTo>
                      <a:pt x="103337" y="150780"/>
                    </a:lnTo>
                    <a:lnTo>
                      <a:pt x="105767" y="150238"/>
                    </a:lnTo>
                    <a:lnTo>
                      <a:pt x="108865" y="152026"/>
                    </a:lnTo>
                    <a:lnTo>
                      <a:pt x="108911" y="149648"/>
                    </a:lnTo>
                    <a:lnTo>
                      <a:pt x="102284" y="142751"/>
                    </a:lnTo>
                    <a:lnTo>
                      <a:pt x="101142" y="133447"/>
                    </a:lnTo>
                    <a:lnTo>
                      <a:pt x="105195" y="125758"/>
                    </a:lnTo>
                    <a:lnTo>
                      <a:pt x="114273" y="123686"/>
                    </a:lnTo>
                    <a:lnTo>
                      <a:pt x="114328" y="120842"/>
                    </a:lnTo>
                    <a:lnTo>
                      <a:pt x="111530" y="122698"/>
                    </a:lnTo>
                    <a:lnTo>
                      <a:pt x="104625" y="125404"/>
                    </a:lnTo>
                    <a:lnTo>
                      <a:pt x="91285" y="126371"/>
                    </a:lnTo>
                    <a:lnTo>
                      <a:pt x="88341" y="128111"/>
                    </a:lnTo>
                    <a:lnTo>
                      <a:pt x="92209" y="128177"/>
                    </a:lnTo>
                    <a:lnTo>
                      <a:pt x="95025" y="129822"/>
                    </a:lnTo>
                    <a:lnTo>
                      <a:pt x="96051" y="133311"/>
                    </a:lnTo>
                    <a:lnTo>
                      <a:pt x="94588" y="138940"/>
                    </a:lnTo>
                    <a:lnTo>
                      <a:pt x="97877" y="142024"/>
                    </a:lnTo>
                    <a:lnTo>
                      <a:pt x="96942" y="146295"/>
                    </a:lnTo>
                    <a:lnTo>
                      <a:pt x="93338" y="150028"/>
                    </a:lnTo>
                    <a:lnTo>
                      <a:pt x="74862" y="153966"/>
                    </a:lnTo>
                    <a:lnTo>
                      <a:pt x="69712" y="154038"/>
                    </a:lnTo>
                    <a:lnTo>
                      <a:pt x="36824" y="148790"/>
                    </a:lnTo>
                    <a:lnTo>
                      <a:pt x="32604" y="150319"/>
                    </a:lnTo>
                    <a:lnTo>
                      <a:pt x="34806" y="156577"/>
                    </a:lnTo>
                    <a:lnTo>
                      <a:pt x="31969" y="159818"/>
                    </a:lnTo>
                    <a:lnTo>
                      <a:pt x="28599" y="159595"/>
                    </a:lnTo>
                    <a:lnTo>
                      <a:pt x="29220" y="155459"/>
                    </a:lnTo>
                    <a:lnTo>
                      <a:pt x="29278" y="153082"/>
                    </a:lnTo>
                    <a:lnTo>
                      <a:pt x="17788" y="143744"/>
                    </a:lnTo>
                    <a:lnTo>
                      <a:pt x="13239" y="142227"/>
                    </a:lnTo>
                    <a:lnTo>
                      <a:pt x="18297" y="142264"/>
                    </a:lnTo>
                    <a:lnTo>
                      <a:pt x="21675" y="141666"/>
                    </a:lnTo>
                    <a:lnTo>
                      <a:pt x="24341" y="139805"/>
                    </a:lnTo>
                    <a:lnTo>
                      <a:pt x="27210" y="135959"/>
                    </a:lnTo>
                    <a:lnTo>
                      <a:pt x="30679" y="132750"/>
                    </a:lnTo>
                    <a:lnTo>
                      <a:pt x="38667" y="131344"/>
                    </a:lnTo>
                    <a:lnTo>
                      <a:pt x="42789" y="129672"/>
                    </a:lnTo>
                    <a:lnTo>
                      <a:pt x="46593" y="125939"/>
                    </a:lnTo>
                    <a:lnTo>
                      <a:pt x="47428" y="122306"/>
                    </a:lnTo>
                    <a:lnTo>
                      <a:pt x="46422" y="112688"/>
                    </a:lnTo>
                    <a:lnTo>
                      <a:pt x="46302" y="106715"/>
                    </a:lnTo>
                    <a:lnTo>
                      <a:pt x="45465" y="101004"/>
                    </a:lnTo>
                    <a:lnTo>
                      <a:pt x="43598" y="96249"/>
                    </a:lnTo>
                    <a:lnTo>
                      <a:pt x="40424" y="93126"/>
                    </a:lnTo>
                    <a:lnTo>
                      <a:pt x="38748" y="95697"/>
                    </a:lnTo>
                    <a:lnTo>
                      <a:pt x="34611" y="91925"/>
                    </a:lnTo>
                    <a:lnTo>
                      <a:pt x="25350" y="90388"/>
                    </a:lnTo>
                    <a:lnTo>
                      <a:pt x="21216" y="87424"/>
                    </a:lnTo>
                    <a:lnTo>
                      <a:pt x="17793" y="89870"/>
                    </a:lnTo>
                    <a:lnTo>
                      <a:pt x="4609" y="92217"/>
                    </a:lnTo>
                    <a:lnTo>
                      <a:pt x="0" y="92095"/>
                    </a:lnTo>
                    <a:lnTo>
                      <a:pt x="1611" y="90753"/>
                    </a:lnTo>
                    <a:lnTo>
                      <a:pt x="3269" y="89817"/>
                    </a:lnTo>
                    <a:lnTo>
                      <a:pt x="3343" y="86960"/>
                    </a:lnTo>
                    <a:lnTo>
                      <a:pt x="2599" y="85275"/>
                    </a:lnTo>
                    <a:lnTo>
                      <a:pt x="2190" y="84037"/>
                    </a:lnTo>
                    <a:lnTo>
                      <a:pt x="2787" y="82870"/>
                    </a:lnTo>
                    <a:lnTo>
                      <a:pt x="5097" y="81532"/>
                    </a:lnTo>
                    <a:lnTo>
                      <a:pt x="5158" y="79186"/>
                    </a:lnTo>
                    <a:lnTo>
                      <a:pt x="3444" y="74242"/>
                    </a:lnTo>
                    <a:lnTo>
                      <a:pt x="5718" y="72017"/>
                    </a:lnTo>
                    <a:lnTo>
                      <a:pt x="14241" y="71586"/>
                    </a:lnTo>
                    <a:lnTo>
                      <a:pt x="18676" y="70021"/>
                    </a:lnTo>
                    <a:lnTo>
                      <a:pt x="25934" y="62852"/>
                    </a:lnTo>
                    <a:lnTo>
                      <a:pt x="29042" y="61282"/>
                    </a:lnTo>
                    <a:lnTo>
                      <a:pt x="36314" y="60375"/>
                    </a:lnTo>
                    <a:lnTo>
                      <a:pt x="46021" y="56987"/>
                    </a:lnTo>
                    <a:lnTo>
                      <a:pt x="53588" y="50637"/>
                    </a:lnTo>
                    <a:lnTo>
                      <a:pt x="54525" y="40786"/>
                    </a:lnTo>
                    <a:lnTo>
                      <a:pt x="57875" y="40865"/>
                    </a:lnTo>
                    <a:lnTo>
                      <a:pt x="57929" y="38503"/>
                    </a:lnTo>
                    <a:lnTo>
                      <a:pt x="55172" y="35981"/>
                    </a:lnTo>
                    <a:lnTo>
                      <a:pt x="55595" y="33426"/>
                    </a:lnTo>
                    <a:lnTo>
                      <a:pt x="58223" y="31514"/>
                    </a:lnTo>
                    <a:lnTo>
                      <a:pt x="62126" y="30779"/>
                    </a:lnTo>
                    <a:lnTo>
                      <a:pt x="68488" y="31345"/>
                    </a:lnTo>
                    <a:lnTo>
                      <a:pt x="71188" y="32199"/>
                    </a:lnTo>
                    <a:lnTo>
                      <a:pt x="83576" y="39283"/>
                    </a:lnTo>
                    <a:lnTo>
                      <a:pt x="88094" y="39397"/>
                    </a:lnTo>
                    <a:lnTo>
                      <a:pt x="94938" y="36728"/>
                    </a:lnTo>
                    <a:lnTo>
                      <a:pt x="93439" y="31473"/>
                    </a:lnTo>
                    <a:lnTo>
                      <a:pt x="97872" y="32359"/>
                    </a:lnTo>
                    <a:lnTo>
                      <a:pt x="106832" y="36151"/>
                    </a:lnTo>
                    <a:lnTo>
                      <a:pt x="111935" y="37078"/>
                    </a:lnTo>
                    <a:lnTo>
                      <a:pt x="114120" y="35536"/>
                    </a:lnTo>
                    <a:lnTo>
                      <a:pt x="113820" y="31799"/>
                    </a:lnTo>
                    <a:lnTo>
                      <a:pt x="112862" y="27442"/>
                    </a:lnTo>
                    <a:lnTo>
                      <a:pt x="112996" y="24040"/>
                    </a:lnTo>
                    <a:lnTo>
                      <a:pt x="114813" y="22584"/>
                    </a:lnTo>
                    <a:lnTo>
                      <a:pt x="122690" y="21386"/>
                    </a:lnTo>
                    <a:lnTo>
                      <a:pt x="127312" y="18257"/>
                    </a:lnTo>
                    <a:lnTo>
                      <a:pt x="130774" y="14126"/>
                    </a:lnTo>
                    <a:lnTo>
                      <a:pt x="136702" y="4708"/>
                    </a:lnTo>
                    <a:lnTo>
                      <a:pt x="141106" y="0"/>
                    </a:lnTo>
                    <a:lnTo>
                      <a:pt x="144334" y="12"/>
                    </a:lnTo>
                    <a:lnTo>
                      <a:pt x="147289" y="2437"/>
                    </a:lnTo>
                    <a:lnTo>
                      <a:pt x="147282" y="2459"/>
                    </a:lnTo>
                    <a:lnTo>
                      <a:pt x="147005" y="3382"/>
                    </a:lnTo>
                    <a:lnTo>
                      <a:pt x="146958" y="3628"/>
                    </a:lnTo>
                    <a:lnTo>
                      <a:pt x="146284" y="6786"/>
                    </a:lnTo>
                    <a:lnTo>
                      <a:pt x="145981" y="1254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194" name="Freeform 107">
                <a:extLst>
                  <a:ext uri="{FF2B5EF4-FFF2-40B4-BE49-F238E27FC236}">
                    <a16:creationId xmlns:a16="http://schemas.microsoft.com/office/drawing/2014/main" id="{8B63BA0D-E177-A2DB-C2AD-7A03F7551A0D}"/>
                  </a:ext>
                </a:extLst>
              </p:cNvPr>
              <p:cNvSpPr>
                <a:spLocks noChangeAspect="1"/>
              </p:cNvSpPr>
              <p:nvPr>
                <p:custDataLst>
                  <p:tags r:id="rId82"/>
                </p:custDataLst>
              </p:nvPr>
            </p:nvSpPr>
            <p:spPr>
              <a:xfrm>
                <a:off x="4586700" y="4397030"/>
                <a:ext cx="57925" cy="54974"/>
              </a:xfrm>
              <a:custGeom>
                <a:avLst/>
                <a:gdLst/>
                <a:ahLst/>
                <a:cxnLst/>
                <a:rect l="0" t="0" r="0" b="0"/>
                <a:pathLst>
                  <a:path w="59473" h="56444">
                    <a:moveTo>
                      <a:pt x="59472" y="49464"/>
                    </a:moveTo>
                    <a:lnTo>
                      <a:pt x="59468" y="49476"/>
                    </a:lnTo>
                    <a:lnTo>
                      <a:pt x="59044" y="50496"/>
                    </a:lnTo>
                    <a:lnTo>
                      <a:pt x="57540" y="53992"/>
                    </a:lnTo>
                    <a:lnTo>
                      <a:pt x="55259" y="55400"/>
                    </a:lnTo>
                    <a:lnTo>
                      <a:pt x="48507" y="52679"/>
                    </a:lnTo>
                    <a:lnTo>
                      <a:pt x="36917" y="53914"/>
                    </a:lnTo>
                    <a:lnTo>
                      <a:pt x="27439" y="49405"/>
                    </a:lnTo>
                    <a:lnTo>
                      <a:pt x="20789" y="56443"/>
                    </a:lnTo>
                    <a:lnTo>
                      <a:pt x="17279" y="50476"/>
                    </a:lnTo>
                    <a:lnTo>
                      <a:pt x="11701" y="38653"/>
                    </a:lnTo>
                    <a:lnTo>
                      <a:pt x="3417" y="27818"/>
                    </a:lnTo>
                    <a:lnTo>
                      <a:pt x="279" y="22092"/>
                    </a:lnTo>
                    <a:lnTo>
                      <a:pt x="0" y="16170"/>
                    </a:lnTo>
                    <a:lnTo>
                      <a:pt x="2453" y="12353"/>
                    </a:lnTo>
                    <a:lnTo>
                      <a:pt x="6598" y="10036"/>
                    </a:lnTo>
                    <a:lnTo>
                      <a:pt x="16305" y="8504"/>
                    </a:lnTo>
                    <a:lnTo>
                      <a:pt x="20950" y="6680"/>
                    </a:lnTo>
                    <a:lnTo>
                      <a:pt x="29108" y="0"/>
                    </a:lnTo>
                    <a:lnTo>
                      <a:pt x="34279" y="362"/>
                    </a:lnTo>
                    <a:lnTo>
                      <a:pt x="39634" y="6844"/>
                    </a:lnTo>
                    <a:lnTo>
                      <a:pt x="53363" y="42206"/>
                    </a:lnTo>
                    <a:lnTo>
                      <a:pt x="57469" y="4769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195" name="Freeform 108">
                <a:extLst>
                  <a:ext uri="{FF2B5EF4-FFF2-40B4-BE49-F238E27FC236}">
                    <a16:creationId xmlns:a16="http://schemas.microsoft.com/office/drawing/2014/main" id="{F933F2D9-B46A-758C-66FE-C6E41A308649}"/>
                  </a:ext>
                </a:extLst>
              </p:cNvPr>
              <p:cNvSpPr>
                <a:spLocks noChangeAspect="1"/>
              </p:cNvSpPr>
              <p:nvPr>
                <p:custDataLst>
                  <p:tags r:id="rId83"/>
                </p:custDataLst>
              </p:nvPr>
            </p:nvSpPr>
            <p:spPr>
              <a:xfrm>
                <a:off x="3986289" y="5329651"/>
                <a:ext cx="368063" cy="355262"/>
              </a:xfrm>
              <a:custGeom>
                <a:avLst/>
                <a:gdLst/>
                <a:ahLst/>
                <a:cxnLst/>
                <a:rect l="0" t="0" r="0" b="0"/>
                <a:pathLst>
                  <a:path w="377902" h="364759">
                    <a:moveTo>
                      <a:pt x="324705" y="62871"/>
                    </a:moveTo>
                    <a:lnTo>
                      <a:pt x="327566" y="58776"/>
                    </a:lnTo>
                    <a:lnTo>
                      <a:pt x="331834" y="61162"/>
                    </a:lnTo>
                    <a:lnTo>
                      <a:pt x="331451" y="69860"/>
                    </a:lnTo>
                    <a:lnTo>
                      <a:pt x="335105" y="78396"/>
                    </a:lnTo>
                    <a:lnTo>
                      <a:pt x="335373" y="88680"/>
                    </a:lnTo>
                    <a:lnTo>
                      <a:pt x="338679" y="94031"/>
                    </a:lnTo>
                    <a:lnTo>
                      <a:pt x="341401" y="107753"/>
                    </a:lnTo>
                    <a:lnTo>
                      <a:pt x="350764" y="114452"/>
                    </a:lnTo>
                    <a:lnTo>
                      <a:pt x="349293" y="128858"/>
                    </a:lnTo>
                    <a:lnTo>
                      <a:pt x="353172" y="131886"/>
                    </a:lnTo>
                    <a:lnTo>
                      <a:pt x="356073" y="137645"/>
                    </a:lnTo>
                    <a:lnTo>
                      <a:pt x="356582" y="146233"/>
                    </a:lnTo>
                    <a:lnTo>
                      <a:pt x="369574" y="149778"/>
                    </a:lnTo>
                    <a:lnTo>
                      <a:pt x="371572" y="152662"/>
                    </a:lnTo>
                    <a:lnTo>
                      <a:pt x="372727" y="157983"/>
                    </a:lnTo>
                    <a:lnTo>
                      <a:pt x="377901" y="160160"/>
                    </a:lnTo>
                    <a:lnTo>
                      <a:pt x="377807" y="163129"/>
                    </a:lnTo>
                    <a:lnTo>
                      <a:pt x="376030" y="164807"/>
                    </a:lnTo>
                    <a:lnTo>
                      <a:pt x="369211" y="164622"/>
                    </a:lnTo>
                    <a:lnTo>
                      <a:pt x="368557" y="168749"/>
                    </a:lnTo>
                    <a:lnTo>
                      <a:pt x="365897" y="173870"/>
                    </a:lnTo>
                    <a:lnTo>
                      <a:pt x="364417" y="176831"/>
                    </a:lnTo>
                    <a:lnTo>
                      <a:pt x="365997" y="179061"/>
                    </a:lnTo>
                    <a:lnTo>
                      <a:pt x="367444" y="176235"/>
                    </a:lnTo>
                    <a:lnTo>
                      <a:pt x="370063" y="175949"/>
                    </a:lnTo>
                    <a:lnTo>
                      <a:pt x="372467" y="181185"/>
                    </a:lnTo>
                    <a:lnTo>
                      <a:pt x="372200" y="182218"/>
                    </a:lnTo>
                    <a:lnTo>
                      <a:pt x="370307" y="184947"/>
                    </a:lnTo>
                    <a:lnTo>
                      <a:pt x="367825" y="186256"/>
                    </a:lnTo>
                    <a:lnTo>
                      <a:pt x="364854" y="186098"/>
                    </a:lnTo>
                    <a:lnTo>
                      <a:pt x="364828" y="188460"/>
                    </a:lnTo>
                    <a:lnTo>
                      <a:pt x="368340" y="190891"/>
                    </a:lnTo>
                    <a:lnTo>
                      <a:pt x="369289" y="194771"/>
                    </a:lnTo>
                    <a:lnTo>
                      <a:pt x="368373" y="198816"/>
                    </a:lnTo>
                    <a:lnTo>
                      <a:pt x="366198" y="201744"/>
                    </a:lnTo>
                    <a:lnTo>
                      <a:pt x="363032" y="202733"/>
                    </a:lnTo>
                    <a:lnTo>
                      <a:pt x="351231" y="201568"/>
                    </a:lnTo>
                    <a:lnTo>
                      <a:pt x="355278" y="207520"/>
                    </a:lnTo>
                    <a:lnTo>
                      <a:pt x="369164" y="205443"/>
                    </a:lnTo>
                    <a:lnTo>
                      <a:pt x="374587" y="209651"/>
                    </a:lnTo>
                    <a:lnTo>
                      <a:pt x="366086" y="211934"/>
                    </a:lnTo>
                    <a:lnTo>
                      <a:pt x="366057" y="214544"/>
                    </a:lnTo>
                    <a:lnTo>
                      <a:pt x="368108" y="214008"/>
                    </a:lnTo>
                    <a:lnTo>
                      <a:pt x="372876" y="214620"/>
                    </a:lnTo>
                    <a:lnTo>
                      <a:pt x="371029" y="217443"/>
                    </a:lnTo>
                    <a:lnTo>
                      <a:pt x="377850" y="217517"/>
                    </a:lnTo>
                    <a:lnTo>
                      <a:pt x="377825" y="219894"/>
                    </a:lnTo>
                    <a:lnTo>
                      <a:pt x="375064" y="220859"/>
                    </a:lnTo>
                    <a:lnTo>
                      <a:pt x="373415" y="222876"/>
                    </a:lnTo>
                    <a:lnTo>
                      <a:pt x="373109" y="225483"/>
                    </a:lnTo>
                    <a:lnTo>
                      <a:pt x="374392" y="228153"/>
                    </a:lnTo>
                    <a:lnTo>
                      <a:pt x="374367" y="230515"/>
                    </a:lnTo>
                    <a:lnTo>
                      <a:pt x="369185" y="230116"/>
                    </a:lnTo>
                    <a:lnTo>
                      <a:pt x="366623" y="225411"/>
                    </a:lnTo>
                    <a:lnTo>
                      <a:pt x="364389" y="219978"/>
                    </a:lnTo>
                    <a:lnTo>
                      <a:pt x="360208" y="217320"/>
                    </a:lnTo>
                    <a:lnTo>
                      <a:pt x="339449" y="211612"/>
                    </a:lnTo>
                    <a:lnTo>
                      <a:pt x="328219" y="212676"/>
                    </a:lnTo>
                    <a:lnTo>
                      <a:pt x="310375" y="223612"/>
                    </a:lnTo>
                    <a:lnTo>
                      <a:pt x="300767" y="227199"/>
                    </a:lnTo>
                    <a:lnTo>
                      <a:pt x="260578" y="228909"/>
                    </a:lnTo>
                    <a:lnTo>
                      <a:pt x="260628" y="229530"/>
                    </a:lnTo>
                    <a:lnTo>
                      <a:pt x="259844" y="230604"/>
                    </a:lnTo>
                    <a:lnTo>
                      <a:pt x="258587" y="231515"/>
                    </a:lnTo>
                    <a:lnTo>
                      <a:pt x="257206" y="231460"/>
                    </a:lnTo>
                    <a:lnTo>
                      <a:pt x="254038" y="220977"/>
                    </a:lnTo>
                    <a:lnTo>
                      <a:pt x="252295" y="220666"/>
                    </a:lnTo>
                    <a:lnTo>
                      <a:pt x="250848" y="221619"/>
                    </a:lnTo>
                    <a:lnTo>
                      <a:pt x="249515" y="222870"/>
                    </a:lnTo>
                    <a:lnTo>
                      <a:pt x="248094" y="223481"/>
                    </a:lnTo>
                    <a:lnTo>
                      <a:pt x="243150" y="223856"/>
                    </a:lnTo>
                    <a:lnTo>
                      <a:pt x="238105" y="225426"/>
                    </a:lnTo>
                    <a:lnTo>
                      <a:pt x="235316" y="228512"/>
                    </a:lnTo>
                    <a:lnTo>
                      <a:pt x="237144" y="233457"/>
                    </a:lnTo>
                    <a:lnTo>
                      <a:pt x="237092" y="236315"/>
                    </a:lnTo>
                    <a:lnTo>
                      <a:pt x="235376" y="237696"/>
                    </a:lnTo>
                    <a:lnTo>
                      <a:pt x="233065" y="240123"/>
                    </a:lnTo>
                    <a:lnTo>
                      <a:pt x="231006" y="242850"/>
                    </a:lnTo>
                    <a:lnTo>
                      <a:pt x="230105" y="245287"/>
                    </a:lnTo>
                    <a:lnTo>
                      <a:pt x="230420" y="247624"/>
                    </a:lnTo>
                    <a:lnTo>
                      <a:pt x="231685" y="250212"/>
                    </a:lnTo>
                    <a:lnTo>
                      <a:pt x="231655" y="251843"/>
                    </a:lnTo>
                    <a:lnTo>
                      <a:pt x="228608" y="258933"/>
                    </a:lnTo>
                    <a:lnTo>
                      <a:pt x="228150" y="261038"/>
                    </a:lnTo>
                    <a:lnTo>
                      <a:pt x="225652" y="263661"/>
                    </a:lnTo>
                    <a:lnTo>
                      <a:pt x="213566" y="261512"/>
                    </a:lnTo>
                    <a:lnTo>
                      <a:pt x="208880" y="263375"/>
                    </a:lnTo>
                    <a:lnTo>
                      <a:pt x="204221" y="268796"/>
                    </a:lnTo>
                    <a:lnTo>
                      <a:pt x="199900" y="271207"/>
                    </a:lnTo>
                    <a:lnTo>
                      <a:pt x="189432" y="274451"/>
                    </a:lnTo>
                    <a:lnTo>
                      <a:pt x="186074" y="277766"/>
                    </a:lnTo>
                    <a:lnTo>
                      <a:pt x="175473" y="295248"/>
                    </a:lnTo>
                    <a:lnTo>
                      <a:pt x="172605" y="290429"/>
                    </a:lnTo>
                    <a:lnTo>
                      <a:pt x="171474" y="276885"/>
                    </a:lnTo>
                    <a:lnTo>
                      <a:pt x="168399" y="273988"/>
                    </a:lnTo>
                    <a:lnTo>
                      <a:pt x="163529" y="275244"/>
                    </a:lnTo>
                    <a:lnTo>
                      <a:pt x="163294" y="278626"/>
                    </a:lnTo>
                    <a:lnTo>
                      <a:pt x="163625" y="282985"/>
                    </a:lnTo>
                    <a:lnTo>
                      <a:pt x="160424" y="287075"/>
                    </a:lnTo>
                    <a:lnTo>
                      <a:pt x="160370" y="289451"/>
                    </a:lnTo>
                    <a:lnTo>
                      <a:pt x="161831" y="290604"/>
                    </a:lnTo>
                    <a:lnTo>
                      <a:pt x="165423" y="295021"/>
                    </a:lnTo>
                    <a:lnTo>
                      <a:pt x="163363" y="294788"/>
                    </a:lnTo>
                    <a:lnTo>
                      <a:pt x="161732" y="295466"/>
                    </a:lnTo>
                    <a:lnTo>
                      <a:pt x="158664" y="297477"/>
                    </a:lnTo>
                    <a:lnTo>
                      <a:pt x="156291" y="299162"/>
                    </a:lnTo>
                    <a:lnTo>
                      <a:pt x="155909" y="301951"/>
                    </a:lnTo>
                    <a:lnTo>
                      <a:pt x="155998" y="305092"/>
                    </a:lnTo>
                    <a:lnTo>
                      <a:pt x="154937" y="307832"/>
                    </a:lnTo>
                    <a:lnTo>
                      <a:pt x="152724" y="309458"/>
                    </a:lnTo>
                    <a:lnTo>
                      <a:pt x="144779" y="312782"/>
                    </a:lnTo>
                    <a:lnTo>
                      <a:pt x="147557" y="312739"/>
                    </a:lnTo>
                    <a:lnTo>
                      <a:pt x="149649" y="313364"/>
                    </a:lnTo>
                    <a:lnTo>
                      <a:pt x="153083" y="315590"/>
                    </a:lnTo>
                    <a:lnTo>
                      <a:pt x="154297" y="315788"/>
                    </a:lnTo>
                    <a:lnTo>
                      <a:pt x="157145" y="315312"/>
                    </a:lnTo>
                    <a:lnTo>
                      <a:pt x="158254" y="315710"/>
                    </a:lnTo>
                    <a:lnTo>
                      <a:pt x="158786" y="317385"/>
                    </a:lnTo>
                    <a:lnTo>
                      <a:pt x="159541" y="322483"/>
                    </a:lnTo>
                    <a:lnTo>
                      <a:pt x="160515" y="323578"/>
                    </a:lnTo>
                    <a:lnTo>
                      <a:pt x="161512" y="326817"/>
                    </a:lnTo>
                    <a:lnTo>
                      <a:pt x="158168" y="333779"/>
                    </a:lnTo>
                    <a:lnTo>
                      <a:pt x="150911" y="344224"/>
                    </a:lnTo>
                    <a:lnTo>
                      <a:pt x="148630" y="344697"/>
                    </a:lnTo>
                    <a:lnTo>
                      <a:pt x="143703" y="343647"/>
                    </a:lnTo>
                    <a:lnTo>
                      <a:pt x="140694" y="343980"/>
                    </a:lnTo>
                    <a:lnTo>
                      <a:pt x="138980" y="345398"/>
                    </a:lnTo>
                    <a:lnTo>
                      <a:pt x="131485" y="353855"/>
                    </a:lnTo>
                    <a:lnTo>
                      <a:pt x="128419" y="362729"/>
                    </a:lnTo>
                    <a:lnTo>
                      <a:pt x="127529" y="364758"/>
                    </a:lnTo>
                    <a:lnTo>
                      <a:pt x="125348" y="363849"/>
                    </a:lnTo>
                    <a:lnTo>
                      <a:pt x="122875" y="361736"/>
                    </a:lnTo>
                    <a:lnTo>
                      <a:pt x="115694" y="353302"/>
                    </a:lnTo>
                    <a:lnTo>
                      <a:pt x="114549" y="351455"/>
                    </a:lnTo>
                    <a:lnTo>
                      <a:pt x="113565" y="348772"/>
                    </a:lnTo>
                    <a:lnTo>
                      <a:pt x="112815" y="343951"/>
                    </a:lnTo>
                    <a:lnTo>
                      <a:pt x="113081" y="340881"/>
                    </a:lnTo>
                    <a:lnTo>
                      <a:pt x="113049" y="338177"/>
                    </a:lnTo>
                    <a:lnTo>
                      <a:pt x="111404" y="334358"/>
                    </a:lnTo>
                    <a:lnTo>
                      <a:pt x="104661" y="322714"/>
                    </a:lnTo>
                    <a:lnTo>
                      <a:pt x="100870" y="317812"/>
                    </a:lnTo>
                    <a:lnTo>
                      <a:pt x="96149" y="314159"/>
                    </a:lnTo>
                    <a:lnTo>
                      <a:pt x="81567" y="306707"/>
                    </a:lnTo>
                    <a:lnTo>
                      <a:pt x="71680" y="304613"/>
                    </a:lnTo>
                    <a:lnTo>
                      <a:pt x="63629" y="299365"/>
                    </a:lnTo>
                    <a:lnTo>
                      <a:pt x="59579" y="297508"/>
                    </a:lnTo>
                    <a:lnTo>
                      <a:pt x="54465" y="297671"/>
                    </a:lnTo>
                    <a:lnTo>
                      <a:pt x="47988" y="299733"/>
                    </a:lnTo>
                    <a:lnTo>
                      <a:pt x="43198" y="303508"/>
                    </a:lnTo>
                    <a:lnTo>
                      <a:pt x="43117" y="308744"/>
                    </a:lnTo>
                    <a:lnTo>
                      <a:pt x="44392" y="315433"/>
                    </a:lnTo>
                    <a:lnTo>
                      <a:pt x="41569" y="320477"/>
                    </a:lnTo>
                    <a:lnTo>
                      <a:pt x="37072" y="323886"/>
                    </a:lnTo>
                    <a:lnTo>
                      <a:pt x="33342" y="325638"/>
                    </a:lnTo>
                    <a:lnTo>
                      <a:pt x="23177" y="328591"/>
                    </a:lnTo>
                    <a:lnTo>
                      <a:pt x="11372" y="329497"/>
                    </a:lnTo>
                    <a:lnTo>
                      <a:pt x="2214" y="325599"/>
                    </a:lnTo>
                    <a:lnTo>
                      <a:pt x="0" y="313917"/>
                    </a:lnTo>
                    <a:lnTo>
                      <a:pt x="2385" y="313699"/>
                    </a:lnTo>
                    <a:lnTo>
                      <a:pt x="4164" y="313025"/>
                    </a:lnTo>
                    <a:lnTo>
                      <a:pt x="5270" y="311491"/>
                    </a:lnTo>
                    <a:lnTo>
                      <a:pt x="5365" y="309100"/>
                    </a:lnTo>
                    <a:lnTo>
                      <a:pt x="4762" y="307262"/>
                    </a:lnTo>
                    <a:lnTo>
                      <a:pt x="4006" y="306212"/>
                    </a:lnTo>
                    <a:lnTo>
                      <a:pt x="3596" y="306215"/>
                    </a:lnTo>
                    <a:lnTo>
                      <a:pt x="2494" y="298982"/>
                    </a:lnTo>
                    <a:lnTo>
                      <a:pt x="2172" y="294915"/>
                    </a:lnTo>
                    <a:lnTo>
                      <a:pt x="3164" y="293175"/>
                    </a:lnTo>
                    <a:lnTo>
                      <a:pt x="3662" y="291917"/>
                    </a:lnTo>
                    <a:lnTo>
                      <a:pt x="8534" y="284084"/>
                    </a:lnTo>
                    <a:lnTo>
                      <a:pt x="10508" y="282810"/>
                    </a:lnTo>
                    <a:lnTo>
                      <a:pt x="17783" y="280350"/>
                    </a:lnTo>
                    <a:lnTo>
                      <a:pt x="33662" y="271747"/>
                    </a:lnTo>
                    <a:lnTo>
                      <a:pt x="42111" y="269081"/>
                    </a:lnTo>
                    <a:lnTo>
                      <a:pt x="51693" y="263273"/>
                    </a:lnTo>
                    <a:lnTo>
                      <a:pt x="57041" y="263304"/>
                    </a:lnTo>
                    <a:lnTo>
                      <a:pt x="64423" y="270791"/>
                    </a:lnTo>
                    <a:lnTo>
                      <a:pt x="69284" y="273386"/>
                    </a:lnTo>
                    <a:lnTo>
                      <a:pt x="74407" y="270421"/>
                    </a:lnTo>
                    <a:lnTo>
                      <a:pt x="78096" y="264837"/>
                    </a:lnTo>
                    <a:lnTo>
                      <a:pt x="79929" y="261111"/>
                    </a:lnTo>
                    <a:lnTo>
                      <a:pt x="80751" y="257575"/>
                    </a:lnTo>
                    <a:lnTo>
                      <a:pt x="82093" y="256182"/>
                    </a:lnTo>
                    <a:lnTo>
                      <a:pt x="90808" y="256421"/>
                    </a:lnTo>
                    <a:lnTo>
                      <a:pt x="100003" y="251586"/>
                    </a:lnTo>
                    <a:lnTo>
                      <a:pt x="128717" y="222862"/>
                    </a:lnTo>
                    <a:lnTo>
                      <a:pt x="137834" y="216794"/>
                    </a:lnTo>
                    <a:lnTo>
                      <a:pt x="141196" y="215757"/>
                    </a:lnTo>
                    <a:lnTo>
                      <a:pt x="142076" y="213821"/>
                    </a:lnTo>
                    <a:lnTo>
                      <a:pt x="142379" y="209398"/>
                    </a:lnTo>
                    <a:lnTo>
                      <a:pt x="142154" y="204623"/>
                    </a:lnTo>
                    <a:lnTo>
                      <a:pt x="140719" y="196910"/>
                    </a:lnTo>
                    <a:lnTo>
                      <a:pt x="143510" y="195066"/>
                    </a:lnTo>
                    <a:lnTo>
                      <a:pt x="147205" y="194876"/>
                    </a:lnTo>
                    <a:lnTo>
                      <a:pt x="149035" y="195092"/>
                    </a:lnTo>
                    <a:lnTo>
                      <a:pt x="166163" y="186354"/>
                    </a:lnTo>
                    <a:lnTo>
                      <a:pt x="166727" y="184191"/>
                    </a:lnTo>
                    <a:lnTo>
                      <a:pt x="169140" y="179087"/>
                    </a:lnTo>
                    <a:lnTo>
                      <a:pt x="171645" y="164302"/>
                    </a:lnTo>
                    <a:lnTo>
                      <a:pt x="172093" y="156573"/>
                    </a:lnTo>
                    <a:lnTo>
                      <a:pt x="173058" y="150021"/>
                    </a:lnTo>
                    <a:lnTo>
                      <a:pt x="175517" y="144808"/>
                    </a:lnTo>
                    <a:lnTo>
                      <a:pt x="180464" y="141048"/>
                    </a:lnTo>
                    <a:lnTo>
                      <a:pt x="185427" y="141158"/>
                    </a:lnTo>
                    <a:lnTo>
                      <a:pt x="187234" y="139891"/>
                    </a:lnTo>
                    <a:lnTo>
                      <a:pt x="190474" y="136279"/>
                    </a:lnTo>
                    <a:lnTo>
                      <a:pt x="192321" y="135852"/>
                    </a:lnTo>
                    <a:lnTo>
                      <a:pt x="193681" y="137980"/>
                    </a:lnTo>
                    <a:lnTo>
                      <a:pt x="194646" y="142445"/>
                    </a:lnTo>
                    <a:lnTo>
                      <a:pt x="195191" y="147678"/>
                    </a:lnTo>
                    <a:lnTo>
                      <a:pt x="195308" y="152033"/>
                    </a:lnTo>
                    <a:lnTo>
                      <a:pt x="196961" y="151057"/>
                    </a:lnTo>
                    <a:lnTo>
                      <a:pt x="197597" y="150464"/>
                    </a:lnTo>
                    <a:lnTo>
                      <a:pt x="198542" y="149272"/>
                    </a:lnTo>
                    <a:lnTo>
                      <a:pt x="202887" y="152067"/>
                    </a:lnTo>
                    <a:lnTo>
                      <a:pt x="212956" y="152803"/>
                    </a:lnTo>
                    <a:lnTo>
                      <a:pt x="216835" y="154839"/>
                    </a:lnTo>
                    <a:lnTo>
                      <a:pt x="214264" y="149690"/>
                    </a:lnTo>
                    <a:lnTo>
                      <a:pt x="210072" y="147056"/>
                    </a:lnTo>
                    <a:lnTo>
                      <a:pt x="202123" y="143878"/>
                    </a:lnTo>
                    <a:lnTo>
                      <a:pt x="198428" y="138873"/>
                    </a:lnTo>
                    <a:lnTo>
                      <a:pt x="198897" y="135339"/>
                    </a:lnTo>
                    <a:lnTo>
                      <a:pt x="200187" y="132182"/>
                    </a:lnTo>
                    <a:lnTo>
                      <a:pt x="198974" y="128161"/>
                    </a:lnTo>
                    <a:lnTo>
                      <a:pt x="199023" y="125785"/>
                    </a:lnTo>
                    <a:lnTo>
                      <a:pt x="205033" y="127155"/>
                    </a:lnTo>
                    <a:lnTo>
                      <a:pt x="223132" y="126276"/>
                    </a:lnTo>
                    <a:lnTo>
                      <a:pt x="230147" y="124114"/>
                    </a:lnTo>
                    <a:lnTo>
                      <a:pt x="234103" y="118596"/>
                    </a:lnTo>
                    <a:lnTo>
                      <a:pt x="237034" y="111720"/>
                    </a:lnTo>
                    <a:lnTo>
                      <a:pt x="240977" y="105516"/>
                    </a:lnTo>
                    <a:lnTo>
                      <a:pt x="239582" y="99786"/>
                    </a:lnTo>
                    <a:lnTo>
                      <a:pt x="240504" y="95717"/>
                    </a:lnTo>
                    <a:lnTo>
                      <a:pt x="242963" y="93928"/>
                    </a:lnTo>
                    <a:lnTo>
                      <a:pt x="246287" y="94969"/>
                    </a:lnTo>
                    <a:lnTo>
                      <a:pt x="263703" y="80455"/>
                    </a:lnTo>
                    <a:lnTo>
                      <a:pt x="266620" y="75766"/>
                    </a:lnTo>
                    <a:lnTo>
                      <a:pt x="268613" y="69071"/>
                    </a:lnTo>
                    <a:lnTo>
                      <a:pt x="273246" y="63945"/>
                    </a:lnTo>
                    <a:lnTo>
                      <a:pt x="283465" y="56498"/>
                    </a:lnTo>
                    <a:lnTo>
                      <a:pt x="290232" y="43306"/>
                    </a:lnTo>
                    <a:lnTo>
                      <a:pt x="289596" y="9603"/>
                    </a:lnTo>
                    <a:lnTo>
                      <a:pt x="291381" y="0"/>
                    </a:lnTo>
                    <a:lnTo>
                      <a:pt x="291392" y="1"/>
                    </a:lnTo>
                    <a:lnTo>
                      <a:pt x="313007" y="1070"/>
                    </a:lnTo>
                    <a:lnTo>
                      <a:pt x="313506" y="8508"/>
                    </a:lnTo>
                    <a:lnTo>
                      <a:pt x="316388" y="12260"/>
                    </a:lnTo>
                    <a:lnTo>
                      <a:pt x="322433" y="26458"/>
                    </a:lnTo>
                    <a:lnTo>
                      <a:pt x="321263" y="28986"/>
                    </a:lnTo>
                    <a:lnTo>
                      <a:pt x="317139" y="31691"/>
                    </a:lnTo>
                    <a:lnTo>
                      <a:pt x="316465" y="41115"/>
                    </a:lnTo>
                    <a:lnTo>
                      <a:pt x="314357" y="47558"/>
                    </a:lnTo>
                    <a:lnTo>
                      <a:pt x="307000" y="50203"/>
                    </a:lnTo>
                    <a:lnTo>
                      <a:pt x="305761" y="52523"/>
                    </a:lnTo>
                    <a:lnTo>
                      <a:pt x="308682" y="54797"/>
                    </a:lnTo>
                    <a:lnTo>
                      <a:pt x="316537" y="55128"/>
                    </a:lnTo>
                    <a:lnTo>
                      <a:pt x="323153" y="6253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196" name="Freeform 109">
                <a:extLst>
                  <a:ext uri="{FF2B5EF4-FFF2-40B4-BE49-F238E27FC236}">
                    <a16:creationId xmlns:a16="http://schemas.microsoft.com/office/drawing/2014/main" id="{095E16FF-5809-493C-98BA-1527DF18D9DA}"/>
                  </a:ext>
                </a:extLst>
              </p:cNvPr>
              <p:cNvSpPr>
                <a:spLocks noChangeAspect="1"/>
              </p:cNvSpPr>
              <p:nvPr>
                <p:custDataLst>
                  <p:tags r:id="rId84"/>
                </p:custDataLst>
              </p:nvPr>
            </p:nvSpPr>
            <p:spPr>
              <a:xfrm>
                <a:off x="4420005" y="4607321"/>
                <a:ext cx="220650" cy="416285"/>
              </a:xfrm>
              <a:custGeom>
                <a:avLst/>
                <a:gdLst/>
                <a:ahLst/>
                <a:cxnLst/>
                <a:rect l="0" t="0" r="0" b="0"/>
                <a:pathLst>
                  <a:path w="226548" h="427413">
                    <a:moveTo>
                      <a:pt x="159025" y="34754"/>
                    </a:moveTo>
                    <a:lnTo>
                      <a:pt x="170870" y="29311"/>
                    </a:lnTo>
                    <a:lnTo>
                      <a:pt x="182420" y="28102"/>
                    </a:lnTo>
                    <a:lnTo>
                      <a:pt x="182526" y="28091"/>
                    </a:lnTo>
                    <a:lnTo>
                      <a:pt x="182552" y="28171"/>
                    </a:lnTo>
                    <a:lnTo>
                      <a:pt x="184921" y="30728"/>
                    </a:lnTo>
                    <a:lnTo>
                      <a:pt x="188870" y="32556"/>
                    </a:lnTo>
                    <a:lnTo>
                      <a:pt x="196005" y="33116"/>
                    </a:lnTo>
                    <a:lnTo>
                      <a:pt x="197082" y="33585"/>
                    </a:lnTo>
                    <a:lnTo>
                      <a:pt x="197742" y="34311"/>
                    </a:lnTo>
                    <a:lnTo>
                      <a:pt x="199377" y="37453"/>
                    </a:lnTo>
                    <a:lnTo>
                      <a:pt x="200483" y="38671"/>
                    </a:lnTo>
                    <a:lnTo>
                      <a:pt x="201748" y="39513"/>
                    </a:lnTo>
                    <a:lnTo>
                      <a:pt x="208217" y="40367"/>
                    </a:lnTo>
                    <a:lnTo>
                      <a:pt x="213726" y="42180"/>
                    </a:lnTo>
                    <a:lnTo>
                      <a:pt x="215081" y="42962"/>
                    </a:lnTo>
                    <a:lnTo>
                      <a:pt x="215406" y="43297"/>
                    </a:lnTo>
                    <a:lnTo>
                      <a:pt x="217822" y="47536"/>
                    </a:lnTo>
                    <a:lnTo>
                      <a:pt x="218954" y="48842"/>
                    </a:lnTo>
                    <a:lnTo>
                      <a:pt x="220060" y="49802"/>
                    </a:lnTo>
                    <a:lnTo>
                      <a:pt x="224031" y="51790"/>
                    </a:lnTo>
                    <a:lnTo>
                      <a:pt x="224397" y="52794"/>
                    </a:lnTo>
                    <a:lnTo>
                      <a:pt x="224135" y="53961"/>
                    </a:lnTo>
                    <a:lnTo>
                      <a:pt x="222696" y="57101"/>
                    </a:lnTo>
                    <a:lnTo>
                      <a:pt x="221251" y="58432"/>
                    </a:lnTo>
                    <a:lnTo>
                      <a:pt x="219832" y="59280"/>
                    </a:lnTo>
                    <a:lnTo>
                      <a:pt x="215336" y="59673"/>
                    </a:lnTo>
                    <a:lnTo>
                      <a:pt x="213890" y="60057"/>
                    </a:lnTo>
                    <a:lnTo>
                      <a:pt x="212912" y="60626"/>
                    </a:lnTo>
                    <a:lnTo>
                      <a:pt x="212104" y="61559"/>
                    </a:lnTo>
                    <a:lnTo>
                      <a:pt x="211424" y="62884"/>
                    </a:lnTo>
                    <a:lnTo>
                      <a:pt x="210313" y="66454"/>
                    </a:lnTo>
                    <a:lnTo>
                      <a:pt x="208763" y="69771"/>
                    </a:lnTo>
                    <a:lnTo>
                      <a:pt x="208496" y="71253"/>
                    </a:lnTo>
                    <a:lnTo>
                      <a:pt x="208235" y="73772"/>
                    </a:lnTo>
                    <a:lnTo>
                      <a:pt x="208506" y="78548"/>
                    </a:lnTo>
                    <a:lnTo>
                      <a:pt x="207777" y="82115"/>
                    </a:lnTo>
                    <a:lnTo>
                      <a:pt x="207022" y="84113"/>
                    </a:lnTo>
                    <a:lnTo>
                      <a:pt x="205991" y="85146"/>
                    </a:lnTo>
                    <a:lnTo>
                      <a:pt x="201588" y="87796"/>
                    </a:lnTo>
                    <a:lnTo>
                      <a:pt x="200742" y="88688"/>
                    </a:lnTo>
                    <a:lnTo>
                      <a:pt x="200102" y="90182"/>
                    </a:lnTo>
                    <a:lnTo>
                      <a:pt x="199681" y="92248"/>
                    </a:lnTo>
                    <a:lnTo>
                      <a:pt x="199042" y="97462"/>
                    </a:lnTo>
                    <a:lnTo>
                      <a:pt x="198678" y="99212"/>
                    </a:lnTo>
                    <a:lnTo>
                      <a:pt x="198193" y="100478"/>
                    </a:lnTo>
                    <a:lnTo>
                      <a:pt x="196710" y="102636"/>
                    </a:lnTo>
                    <a:lnTo>
                      <a:pt x="194786" y="104343"/>
                    </a:lnTo>
                    <a:lnTo>
                      <a:pt x="188445" y="108301"/>
                    </a:lnTo>
                    <a:lnTo>
                      <a:pt x="187585" y="109174"/>
                    </a:lnTo>
                    <a:lnTo>
                      <a:pt x="186906" y="110351"/>
                    </a:lnTo>
                    <a:lnTo>
                      <a:pt x="186523" y="111992"/>
                    </a:lnTo>
                    <a:lnTo>
                      <a:pt x="186459" y="114143"/>
                    </a:lnTo>
                    <a:lnTo>
                      <a:pt x="186683" y="115870"/>
                    </a:lnTo>
                    <a:lnTo>
                      <a:pt x="187624" y="118492"/>
                    </a:lnTo>
                    <a:lnTo>
                      <a:pt x="189464" y="121751"/>
                    </a:lnTo>
                    <a:lnTo>
                      <a:pt x="190003" y="122913"/>
                    </a:lnTo>
                    <a:lnTo>
                      <a:pt x="190363" y="124156"/>
                    </a:lnTo>
                    <a:lnTo>
                      <a:pt x="190370" y="125636"/>
                    </a:lnTo>
                    <a:lnTo>
                      <a:pt x="190021" y="126912"/>
                    </a:lnTo>
                    <a:lnTo>
                      <a:pt x="188751" y="129139"/>
                    </a:lnTo>
                    <a:lnTo>
                      <a:pt x="188816" y="130203"/>
                    </a:lnTo>
                    <a:lnTo>
                      <a:pt x="189853" y="130978"/>
                    </a:lnTo>
                    <a:lnTo>
                      <a:pt x="192359" y="131076"/>
                    </a:lnTo>
                    <a:lnTo>
                      <a:pt x="194069" y="130752"/>
                    </a:lnTo>
                    <a:lnTo>
                      <a:pt x="195460" y="130144"/>
                    </a:lnTo>
                    <a:lnTo>
                      <a:pt x="196321" y="129232"/>
                    </a:lnTo>
                    <a:lnTo>
                      <a:pt x="197049" y="128122"/>
                    </a:lnTo>
                    <a:lnTo>
                      <a:pt x="198214" y="125639"/>
                    </a:lnTo>
                    <a:lnTo>
                      <a:pt x="199020" y="124677"/>
                    </a:lnTo>
                    <a:lnTo>
                      <a:pt x="199929" y="123864"/>
                    </a:lnTo>
                    <a:lnTo>
                      <a:pt x="206425" y="120186"/>
                    </a:lnTo>
                    <a:lnTo>
                      <a:pt x="210843" y="115700"/>
                    </a:lnTo>
                    <a:lnTo>
                      <a:pt x="211956" y="115111"/>
                    </a:lnTo>
                    <a:lnTo>
                      <a:pt x="213138" y="115055"/>
                    </a:lnTo>
                    <a:lnTo>
                      <a:pt x="214263" y="115424"/>
                    </a:lnTo>
                    <a:lnTo>
                      <a:pt x="220079" y="122080"/>
                    </a:lnTo>
                    <a:lnTo>
                      <a:pt x="220894" y="123674"/>
                    </a:lnTo>
                    <a:lnTo>
                      <a:pt x="221251" y="125123"/>
                    </a:lnTo>
                    <a:lnTo>
                      <a:pt x="221056" y="126566"/>
                    </a:lnTo>
                    <a:lnTo>
                      <a:pt x="219914" y="128409"/>
                    </a:lnTo>
                    <a:lnTo>
                      <a:pt x="218179" y="130522"/>
                    </a:lnTo>
                    <a:lnTo>
                      <a:pt x="212160" y="136096"/>
                    </a:lnTo>
                    <a:lnTo>
                      <a:pt x="210026" y="141301"/>
                    </a:lnTo>
                    <a:lnTo>
                      <a:pt x="208481" y="142366"/>
                    </a:lnTo>
                    <a:lnTo>
                      <a:pt x="190594" y="143600"/>
                    </a:lnTo>
                    <a:lnTo>
                      <a:pt x="188211" y="144588"/>
                    </a:lnTo>
                    <a:lnTo>
                      <a:pt x="182131" y="148928"/>
                    </a:lnTo>
                    <a:lnTo>
                      <a:pt x="171408" y="153250"/>
                    </a:lnTo>
                    <a:lnTo>
                      <a:pt x="170406" y="153985"/>
                    </a:lnTo>
                    <a:lnTo>
                      <a:pt x="168823" y="155826"/>
                    </a:lnTo>
                    <a:lnTo>
                      <a:pt x="166123" y="160434"/>
                    </a:lnTo>
                    <a:lnTo>
                      <a:pt x="165766" y="161934"/>
                    </a:lnTo>
                    <a:lnTo>
                      <a:pt x="165663" y="163436"/>
                    </a:lnTo>
                    <a:lnTo>
                      <a:pt x="165679" y="164896"/>
                    </a:lnTo>
                    <a:lnTo>
                      <a:pt x="166121" y="167905"/>
                    </a:lnTo>
                    <a:lnTo>
                      <a:pt x="166524" y="169573"/>
                    </a:lnTo>
                    <a:lnTo>
                      <a:pt x="167168" y="171426"/>
                    </a:lnTo>
                    <a:lnTo>
                      <a:pt x="167822" y="172708"/>
                    </a:lnTo>
                    <a:lnTo>
                      <a:pt x="168596" y="173830"/>
                    </a:lnTo>
                    <a:lnTo>
                      <a:pt x="169382" y="174775"/>
                    </a:lnTo>
                    <a:lnTo>
                      <a:pt x="177377" y="180049"/>
                    </a:lnTo>
                    <a:lnTo>
                      <a:pt x="183366" y="185731"/>
                    </a:lnTo>
                    <a:lnTo>
                      <a:pt x="191759" y="191666"/>
                    </a:lnTo>
                    <a:lnTo>
                      <a:pt x="197882" y="198419"/>
                    </a:lnTo>
                    <a:lnTo>
                      <a:pt x="199524" y="199842"/>
                    </a:lnTo>
                    <a:lnTo>
                      <a:pt x="225955" y="201747"/>
                    </a:lnTo>
                    <a:lnTo>
                      <a:pt x="226131" y="201759"/>
                    </a:lnTo>
                    <a:lnTo>
                      <a:pt x="226547" y="205408"/>
                    </a:lnTo>
                    <a:lnTo>
                      <a:pt x="226007" y="206804"/>
                    </a:lnTo>
                    <a:lnTo>
                      <a:pt x="224535" y="208858"/>
                    </a:lnTo>
                    <a:lnTo>
                      <a:pt x="219804" y="212066"/>
                    </a:lnTo>
                    <a:lnTo>
                      <a:pt x="218167" y="213843"/>
                    </a:lnTo>
                    <a:lnTo>
                      <a:pt x="216992" y="216396"/>
                    </a:lnTo>
                    <a:lnTo>
                      <a:pt x="216235" y="218987"/>
                    </a:lnTo>
                    <a:lnTo>
                      <a:pt x="216287" y="219659"/>
                    </a:lnTo>
                    <a:lnTo>
                      <a:pt x="216951" y="223671"/>
                    </a:lnTo>
                    <a:lnTo>
                      <a:pt x="217723" y="225316"/>
                    </a:lnTo>
                    <a:lnTo>
                      <a:pt x="218806" y="226581"/>
                    </a:lnTo>
                    <a:lnTo>
                      <a:pt x="224678" y="228291"/>
                    </a:lnTo>
                    <a:lnTo>
                      <a:pt x="225771" y="228936"/>
                    </a:lnTo>
                    <a:lnTo>
                      <a:pt x="226369" y="229959"/>
                    </a:lnTo>
                    <a:lnTo>
                      <a:pt x="226389" y="231192"/>
                    </a:lnTo>
                    <a:lnTo>
                      <a:pt x="225046" y="232859"/>
                    </a:lnTo>
                    <a:lnTo>
                      <a:pt x="223600" y="233598"/>
                    </a:lnTo>
                    <a:lnTo>
                      <a:pt x="215610" y="233964"/>
                    </a:lnTo>
                    <a:lnTo>
                      <a:pt x="213421" y="234807"/>
                    </a:lnTo>
                    <a:lnTo>
                      <a:pt x="212451" y="235503"/>
                    </a:lnTo>
                    <a:lnTo>
                      <a:pt x="211760" y="236189"/>
                    </a:lnTo>
                    <a:lnTo>
                      <a:pt x="210172" y="238804"/>
                    </a:lnTo>
                    <a:lnTo>
                      <a:pt x="209427" y="239726"/>
                    </a:lnTo>
                    <a:lnTo>
                      <a:pt x="208477" y="240560"/>
                    </a:lnTo>
                    <a:lnTo>
                      <a:pt x="205293" y="242414"/>
                    </a:lnTo>
                    <a:lnTo>
                      <a:pt x="204318" y="243267"/>
                    </a:lnTo>
                    <a:lnTo>
                      <a:pt x="203585" y="244288"/>
                    </a:lnTo>
                    <a:lnTo>
                      <a:pt x="202999" y="245633"/>
                    </a:lnTo>
                    <a:lnTo>
                      <a:pt x="201854" y="250052"/>
                    </a:lnTo>
                    <a:lnTo>
                      <a:pt x="200631" y="252327"/>
                    </a:lnTo>
                    <a:lnTo>
                      <a:pt x="191154" y="266301"/>
                    </a:lnTo>
                    <a:lnTo>
                      <a:pt x="190865" y="267920"/>
                    </a:lnTo>
                    <a:lnTo>
                      <a:pt x="191224" y="269657"/>
                    </a:lnTo>
                    <a:lnTo>
                      <a:pt x="193113" y="272086"/>
                    </a:lnTo>
                    <a:lnTo>
                      <a:pt x="194582" y="272641"/>
                    </a:lnTo>
                    <a:lnTo>
                      <a:pt x="195933" y="272596"/>
                    </a:lnTo>
                    <a:lnTo>
                      <a:pt x="197089" y="272303"/>
                    </a:lnTo>
                    <a:lnTo>
                      <a:pt x="198218" y="272722"/>
                    </a:lnTo>
                    <a:lnTo>
                      <a:pt x="198684" y="273875"/>
                    </a:lnTo>
                    <a:lnTo>
                      <a:pt x="198100" y="275981"/>
                    </a:lnTo>
                    <a:lnTo>
                      <a:pt x="197192" y="277396"/>
                    </a:lnTo>
                    <a:lnTo>
                      <a:pt x="196051" y="278477"/>
                    </a:lnTo>
                    <a:lnTo>
                      <a:pt x="189878" y="280628"/>
                    </a:lnTo>
                    <a:lnTo>
                      <a:pt x="187810" y="281861"/>
                    </a:lnTo>
                    <a:lnTo>
                      <a:pt x="187239" y="283028"/>
                    </a:lnTo>
                    <a:lnTo>
                      <a:pt x="187421" y="284508"/>
                    </a:lnTo>
                    <a:lnTo>
                      <a:pt x="189152" y="286662"/>
                    </a:lnTo>
                    <a:lnTo>
                      <a:pt x="192717" y="289044"/>
                    </a:lnTo>
                    <a:lnTo>
                      <a:pt x="192864" y="289498"/>
                    </a:lnTo>
                    <a:lnTo>
                      <a:pt x="192649" y="290101"/>
                    </a:lnTo>
                    <a:lnTo>
                      <a:pt x="191464" y="291043"/>
                    </a:lnTo>
                    <a:lnTo>
                      <a:pt x="190728" y="292124"/>
                    </a:lnTo>
                    <a:lnTo>
                      <a:pt x="189970" y="293479"/>
                    </a:lnTo>
                    <a:lnTo>
                      <a:pt x="188983" y="296759"/>
                    </a:lnTo>
                    <a:lnTo>
                      <a:pt x="187536" y="303378"/>
                    </a:lnTo>
                    <a:lnTo>
                      <a:pt x="187698" y="304306"/>
                    </a:lnTo>
                    <a:lnTo>
                      <a:pt x="188024" y="305243"/>
                    </a:lnTo>
                    <a:lnTo>
                      <a:pt x="189770" y="306025"/>
                    </a:lnTo>
                    <a:lnTo>
                      <a:pt x="191952" y="307920"/>
                    </a:lnTo>
                    <a:lnTo>
                      <a:pt x="196084" y="312489"/>
                    </a:lnTo>
                    <a:lnTo>
                      <a:pt x="196765" y="313937"/>
                    </a:lnTo>
                    <a:lnTo>
                      <a:pt x="197259" y="315721"/>
                    </a:lnTo>
                    <a:lnTo>
                      <a:pt x="197390" y="318860"/>
                    </a:lnTo>
                    <a:lnTo>
                      <a:pt x="197095" y="320844"/>
                    </a:lnTo>
                    <a:lnTo>
                      <a:pt x="197468" y="323725"/>
                    </a:lnTo>
                    <a:lnTo>
                      <a:pt x="197952" y="325825"/>
                    </a:lnTo>
                    <a:lnTo>
                      <a:pt x="204754" y="338510"/>
                    </a:lnTo>
                    <a:lnTo>
                      <a:pt x="204705" y="338632"/>
                    </a:lnTo>
                    <a:lnTo>
                      <a:pt x="202398" y="344338"/>
                    </a:lnTo>
                    <a:lnTo>
                      <a:pt x="202951" y="350169"/>
                    </a:lnTo>
                    <a:lnTo>
                      <a:pt x="201859" y="355800"/>
                    </a:lnTo>
                    <a:lnTo>
                      <a:pt x="208787" y="375720"/>
                    </a:lnTo>
                    <a:lnTo>
                      <a:pt x="201866" y="382864"/>
                    </a:lnTo>
                    <a:lnTo>
                      <a:pt x="201288" y="388058"/>
                    </a:lnTo>
                    <a:lnTo>
                      <a:pt x="196220" y="397529"/>
                    </a:lnTo>
                    <a:lnTo>
                      <a:pt x="189798" y="398830"/>
                    </a:lnTo>
                    <a:lnTo>
                      <a:pt x="185090" y="402996"/>
                    </a:lnTo>
                    <a:lnTo>
                      <a:pt x="180138" y="404613"/>
                    </a:lnTo>
                    <a:lnTo>
                      <a:pt x="178869" y="405033"/>
                    </a:lnTo>
                    <a:lnTo>
                      <a:pt x="168360" y="405483"/>
                    </a:lnTo>
                    <a:lnTo>
                      <a:pt x="152404" y="403196"/>
                    </a:lnTo>
                    <a:lnTo>
                      <a:pt x="148527" y="406283"/>
                    </a:lnTo>
                    <a:lnTo>
                      <a:pt x="148007" y="409265"/>
                    </a:lnTo>
                    <a:lnTo>
                      <a:pt x="148921" y="411375"/>
                    </a:lnTo>
                    <a:lnTo>
                      <a:pt x="138317" y="412676"/>
                    </a:lnTo>
                    <a:lnTo>
                      <a:pt x="135019" y="413093"/>
                    </a:lnTo>
                    <a:lnTo>
                      <a:pt x="132844" y="406739"/>
                    </a:lnTo>
                    <a:lnTo>
                      <a:pt x="126015" y="404396"/>
                    </a:lnTo>
                    <a:lnTo>
                      <a:pt x="121488" y="398249"/>
                    </a:lnTo>
                    <a:lnTo>
                      <a:pt x="119248" y="399099"/>
                    </a:lnTo>
                    <a:lnTo>
                      <a:pt x="117807" y="403017"/>
                    </a:lnTo>
                    <a:lnTo>
                      <a:pt x="116427" y="403551"/>
                    </a:lnTo>
                    <a:lnTo>
                      <a:pt x="114364" y="402484"/>
                    </a:lnTo>
                    <a:lnTo>
                      <a:pt x="110658" y="400589"/>
                    </a:lnTo>
                    <a:lnTo>
                      <a:pt x="107434" y="400784"/>
                    </a:lnTo>
                    <a:lnTo>
                      <a:pt x="105858" y="402598"/>
                    </a:lnTo>
                    <a:lnTo>
                      <a:pt x="105529" y="410455"/>
                    </a:lnTo>
                    <a:lnTo>
                      <a:pt x="104080" y="412565"/>
                    </a:lnTo>
                    <a:lnTo>
                      <a:pt x="92784" y="416264"/>
                    </a:lnTo>
                    <a:lnTo>
                      <a:pt x="93765" y="418496"/>
                    </a:lnTo>
                    <a:lnTo>
                      <a:pt x="93036" y="419975"/>
                    </a:lnTo>
                    <a:lnTo>
                      <a:pt x="87916" y="418902"/>
                    </a:lnTo>
                    <a:lnTo>
                      <a:pt x="85145" y="423357"/>
                    </a:lnTo>
                    <a:lnTo>
                      <a:pt x="79200" y="427412"/>
                    </a:lnTo>
                    <a:lnTo>
                      <a:pt x="77327" y="423134"/>
                    </a:lnTo>
                    <a:lnTo>
                      <a:pt x="63940" y="416632"/>
                    </a:lnTo>
                    <a:lnTo>
                      <a:pt x="52754" y="420936"/>
                    </a:lnTo>
                    <a:lnTo>
                      <a:pt x="46258" y="419004"/>
                    </a:lnTo>
                    <a:lnTo>
                      <a:pt x="43867" y="423662"/>
                    </a:lnTo>
                    <a:lnTo>
                      <a:pt x="36696" y="424794"/>
                    </a:lnTo>
                    <a:lnTo>
                      <a:pt x="28088" y="414230"/>
                    </a:lnTo>
                    <a:lnTo>
                      <a:pt x="35967" y="401874"/>
                    </a:lnTo>
                    <a:lnTo>
                      <a:pt x="39480" y="390639"/>
                    </a:lnTo>
                    <a:lnTo>
                      <a:pt x="46734" y="383565"/>
                    </a:lnTo>
                    <a:lnTo>
                      <a:pt x="49210" y="377456"/>
                    </a:lnTo>
                    <a:lnTo>
                      <a:pt x="47969" y="369239"/>
                    </a:lnTo>
                    <a:lnTo>
                      <a:pt x="49615" y="358153"/>
                    </a:lnTo>
                    <a:lnTo>
                      <a:pt x="51564" y="356601"/>
                    </a:lnTo>
                    <a:lnTo>
                      <a:pt x="54182" y="355052"/>
                    </a:lnTo>
                    <a:lnTo>
                      <a:pt x="55107" y="352094"/>
                    </a:lnTo>
                    <a:lnTo>
                      <a:pt x="52522" y="343270"/>
                    </a:lnTo>
                    <a:lnTo>
                      <a:pt x="53071" y="336591"/>
                    </a:lnTo>
                    <a:lnTo>
                      <a:pt x="58272" y="327490"/>
                    </a:lnTo>
                    <a:lnTo>
                      <a:pt x="65345" y="320388"/>
                    </a:lnTo>
                    <a:lnTo>
                      <a:pt x="65746" y="316361"/>
                    </a:lnTo>
                    <a:lnTo>
                      <a:pt x="61783" y="311374"/>
                    </a:lnTo>
                    <a:lnTo>
                      <a:pt x="61346" y="305738"/>
                    </a:lnTo>
                    <a:lnTo>
                      <a:pt x="59787" y="303610"/>
                    </a:lnTo>
                    <a:lnTo>
                      <a:pt x="49691" y="299229"/>
                    </a:lnTo>
                    <a:lnTo>
                      <a:pt x="48981" y="297845"/>
                    </a:lnTo>
                    <a:lnTo>
                      <a:pt x="51289" y="290945"/>
                    </a:lnTo>
                    <a:lnTo>
                      <a:pt x="50644" y="288515"/>
                    </a:lnTo>
                    <a:lnTo>
                      <a:pt x="42565" y="285815"/>
                    </a:lnTo>
                    <a:lnTo>
                      <a:pt x="39138" y="284654"/>
                    </a:lnTo>
                    <a:lnTo>
                      <a:pt x="41305" y="277321"/>
                    </a:lnTo>
                    <a:lnTo>
                      <a:pt x="39996" y="264069"/>
                    </a:lnTo>
                    <a:lnTo>
                      <a:pt x="42247" y="254840"/>
                    </a:lnTo>
                    <a:lnTo>
                      <a:pt x="42661" y="242069"/>
                    </a:lnTo>
                    <a:lnTo>
                      <a:pt x="44497" y="239807"/>
                    </a:lnTo>
                    <a:lnTo>
                      <a:pt x="43168" y="237967"/>
                    </a:lnTo>
                    <a:lnTo>
                      <a:pt x="44294" y="233727"/>
                    </a:lnTo>
                    <a:lnTo>
                      <a:pt x="51006" y="230043"/>
                    </a:lnTo>
                    <a:lnTo>
                      <a:pt x="52182" y="227709"/>
                    </a:lnTo>
                    <a:lnTo>
                      <a:pt x="48491" y="222818"/>
                    </a:lnTo>
                    <a:lnTo>
                      <a:pt x="48776" y="218249"/>
                    </a:lnTo>
                    <a:lnTo>
                      <a:pt x="45099" y="213465"/>
                    </a:lnTo>
                    <a:lnTo>
                      <a:pt x="45233" y="210496"/>
                    </a:lnTo>
                    <a:lnTo>
                      <a:pt x="51686" y="204462"/>
                    </a:lnTo>
                    <a:lnTo>
                      <a:pt x="61359" y="202700"/>
                    </a:lnTo>
                    <a:lnTo>
                      <a:pt x="63770" y="199629"/>
                    </a:lnTo>
                    <a:lnTo>
                      <a:pt x="59508" y="193575"/>
                    </a:lnTo>
                    <a:lnTo>
                      <a:pt x="54781" y="193241"/>
                    </a:lnTo>
                    <a:lnTo>
                      <a:pt x="53897" y="186230"/>
                    </a:lnTo>
                    <a:lnTo>
                      <a:pt x="47988" y="171774"/>
                    </a:lnTo>
                    <a:lnTo>
                      <a:pt x="38509" y="165158"/>
                    </a:lnTo>
                    <a:lnTo>
                      <a:pt x="39257" y="157086"/>
                    </a:lnTo>
                    <a:lnTo>
                      <a:pt x="44122" y="153812"/>
                    </a:lnTo>
                    <a:lnTo>
                      <a:pt x="47024" y="141734"/>
                    </a:lnTo>
                    <a:lnTo>
                      <a:pt x="42236" y="140863"/>
                    </a:lnTo>
                    <a:lnTo>
                      <a:pt x="37238" y="146358"/>
                    </a:lnTo>
                    <a:lnTo>
                      <a:pt x="26421" y="148315"/>
                    </a:lnTo>
                    <a:lnTo>
                      <a:pt x="21623" y="139581"/>
                    </a:lnTo>
                    <a:lnTo>
                      <a:pt x="22791" y="128671"/>
                    </a:lnTo>
                    <a:lnTo>
                      <a:pt x="20435" y="122596"/>
                    </a:lnTo>
                    <a:lnTo>
                      <a:pt x="13865" y="119694"/>
                    </a:lnTo>
                    <a:lnTo>
                      <a:pt x="0" y="120707"/>
                    </a:lnTo>
                    <a:lnTo>
                      <a:pt x="3641" y="115067"/>
                    </a:lnTo>
                    <a:lnTo>
                      <a:pt x="12112" y="112042"/>
                    </a:lnTo>
                    <a:lnTo>
                      <a:pt x="20931" y="103292"/>
                    </a:lnTo>
                    <a:lnTo>
                      <a:pt x="23311" y="92803"/>
                    </a:lnTo>
                    <a:lnTo>
                      <a:pt x="21993" y="87385"/>
                    </a:lnTo>
                    <a:lnTo>
                      <a:pt x="30564" y="74481"/>
                    </a:lnTo>
                    <a:lnTo>
                      <a:pt x="38410" y="76535"/>
                    </a:lnTo>
                    <a:lnTo>
                      <a:pt x="46849" y="73394"/>
                    </a:lnTo>
                    <a:lnTo>
                      <a:pt x="53361" y="74054"/>
                    </a:lnTo>
                    <a:lnTo>
                      <a:pt x="60527" y="69203"/>
                    </a:lnTo>
                    <a:lnTo>
                      <a:pt x="75893" y="66702"/>
                    </a:lnTo>
                    <a:lnTo>
                      <a:pt x="82815" y="53332"/>
                    </a:lnTo>
                    <a:lnTo>
                      <a:pt x="80851" y="40712"/>
                    </a:lnTo>
                    <a:lnTo>
                      <a:pt x="76956" y="32747"/>
                    </a:lnTo>
                    <a:lnTo>
                      <a:pt x="79285" y="22349"/>
                    </a:lnTo>
                    <a:lnTo>
                      <a:pt x="81536" y="19490"/>
                    </a:lnTo>
                    <a:lnTo>
                      <a:pt x="93157" y="14102"/>
                    </a:lnTo>
                    <a:lnTo>
                      <a:pt x="101563" y="13579"/>
                    </a:lnTo>
                    <a:lnTo>
                      <a:pt x="104770" y="9652"/>
                    </a:lnTo>
                    <a:lnTo>
                      <a:pt x="106378" y="3158"/>
                    </a:lnTo>
                    <a:lnTo>
                      <a:pt x="114188" y="5194"/>
                    </a:lnTo>
                    <a:lnTo>
                      <a:pt x="124668" y="1087"/>
                    </a:lnTo>
                    <a:lnTo>
                      <a:pt x="127457" y="0"/>
                    </a:lnTo>
                    <a:lnTo>
                      <a:pt x="128424" y="847"/>
                    </a:lnTo>
                    <a:lnTo>
                      <a:pt x="127723" y="5626"/>
                    </a:lnTo>
                    <a:lnTo>
                      <a:pt x="129001" y="7737"/>
                    </a:lnTo>
                    <a:lnTo>
                      <a:pt x="145691" y="16522"/>
                    </a:lnTo>
                    <a:lnTo>
                      <a:pt x="148196" y="19281"/>
                    </a:lnTo>
                    <a:lnTo>
                      <a:pt x="153669" y="27758"/>
                    </a:lnTo>
                    <a:lnTo>
                      <a:pt x="152969" y="32322"/>
                    </a:lnTo>
                    <a:lnTo>
                      <a:pt x="154514" y="3423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197" name="Freeform 110">
                <a:extLst>
                  <a:ext uri="{FF2B5EF4-FFF2-40B4-BE49-F238E27FC236}">
                    <a16:creationId xmlns:a16="http://schemas.microsoft.com/office/drawing/2014/main" id="{47134B45-6036-7BEE-D99D-C9D5DB0C65CB}"/>
                  </a:ext>
                </a:extLst>
              </p:cNvPr>
              <p:cNvSpPr>
                <a:spLocks noChangeAspect="1"/>
              </p:cNvSpPr>
              <p:nvPr>
                <p:custDataLst>
                  <p:tags r:id="rId85"/>
                </p:custDataLst>
              </p:nvPr>
            </p:nvSpPr>
            <p:spPr>
              <a:xfrm>
                <a:off x="4458011" y="5064356"/>
                <a:ext cx="67201" cy="82318"/>
              </a:xfrm>
              <a:custGeom>
                <a:avLst/>
                <a:gdLst/>
                <a:ahLst/>
                <a:cxnLst/>
                <a:rect l="0" t="0" r="0" b="0"/>
                <a:pathLst>
                  <a:path w="68997" h="84519">
                    <a:moveTo>
                      <a:pt x="65790" y="50195"/>
                    </a:moveTo>
                    <a:lnTo>
                      <a:pt x="64850" y="49721"/>
                    </a:lnTo>
                    <a:lnTo>
                      <a:pt x="54396" y="56617"/>
                    </a:lnTo>
                    <a:lnTo>
                      <a:pt x="55311" y="62244"/>
                    </a:lnTo>
                    <a:lnTo>
                      <a:pt x="54179" y="66584"/>
                    </a:lnTo>
                    <a:lnTo>
                      <a:pt x="55758" y="73277"/>
                    </a:lnTo>
                    <a:lnTo>
                      <a:pt x="51456" y="72313"/>
                    </a:lnTo>
                    <a:lnTo>
                      <a:pt x="49539" y="74008"/>
                    </a:lnTo>
                    <a:lnTo>
                      <a:pt x="53768" y="78682"/>
                    </a:lnTo>
                    <a:lnTo>
                      <a:pt x="42482" y="84267"/>
                    </a:lnTo>
                    <a:lnTo>
                      <a:pt x="42149" y="84405"/>
                    </a:lnTo>
                    <a:lnTo>
                      <a:pt x="41907" y="84518"/>
                    </a:lnTo>
                    <a:lnTo>
                      <a:pt x="34919" y="74853"/>
                    </a:lnTo>
                    <a:lnTo>
                      <a:pt x="21025" y="63156"/>
                    </a:lnTo>
                    <a:lnTo>
                      <a:pt x="17741" y="62834"/>
                    </a:lnTo>
                    <a:lnTo>
                      <a:pt x="13345" y="64930"/>
                    </a:lnTo>
                    <a:lnTo>
                      <a:pt x="7997" y="62205"/>
                    </a:lnTo>
                    <a:lnTo>
                      <a:pt x="3328" y="57492"/>
                    </a:lnTo>
                    <a:lnTo>
                      <a:pt x="866" y="53641"/>
                    </a:lnTo>
                    <a:lnTo>
                      <a:pt x="544" y="51947"/>
                    </a:lnTo>
                    <a:lnTo>
                      <a:pt x="964" y="51311"/>
                    </a:lnTo>
                    <a:lnTo>
                      <a:pt x="1710" y="51081"/>
                    </a:lnTo>
                    <a:lnTo>
                      <a:pt x="2350" y="50804"/>
                    </a:lnTo>
                    <a:lnTo>
                      <a:pt x="603" y="43275"/>
                    </a:lnTo>
                    <a:lnTo>
                      <a:pt x="2" y="41361"/>
                    </a:lnTo>
                    <a:lnTo>
                      <a:pt x="0" y="41355"/>
                    </a:lnTo>
                    <a:lnTo>
                      <a:pt x="14442" y="44198"/>
                    </a:lnTo>
                    <a:lnTo>
                      <a:pt x="26549" y="37884"/>
                    </a:lnTo>
                    <a:lnTo>
                      <a:pt x="23811" y="27375"/>
                    </a:lnTo>
                    <a:lnTo>
                      <a:pt x="16578" y="20659"/>
                    </a:lnTo>
                    <a:lnTo>
                      <a:pt x="16982" y="17483"/>
                    </a:lnTo>
                    <a:lnTo>
                      <a:pt x="20160" y="13980"/>
                    </a:lnTo>
                    <a:lnTo>
                      <a:pt x="21915" y="2538"/>
                    </a:lnTo>
                    <a:lnTo>
                      <a:pt x="23503" y="629"/>
                    </a:lnTo>
                    <a:lnTo>
                      <a:pt x="38915" y="2803"/>
                    </a:lnTo>
                    <a:lnTo>
                      <a:pt x="48281" y="0"/>
                    </a:lnTo>
                    <a:lnTo>
                      <a:pt x="53959" y="3236"/>
                    </a:lnTo>
                    <a:lnTo>
                      <a:pt x="62120" y="9473"/>
                    </a:lnTo>
                    <a:lnTo>
                      <a:pt x="68996" y="19859"/>
                    </a:lnTo>
                    <a:lnTo>
                      <a:pt x="67267" y="3783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198" name="Freeform 111">
                <a:extLst>
                  <a:ext uri="{FF2B5EF4-FFF2-40B4-BE49-F238E27FC236}">
                    <a16:creationId xmlns:a16="http://schemas.microsoft.com/office/drawing/2014/main" id="{036981D3-B095-6365-0DB1-DD6467CE4245}"/>
                  </a:ext>
                </a:extLst>
              </p:cNvPr>
              <p:cNvSpPr>
                <a:spLocks noChangeAspect="1"/>
              </p:cNvSpPr>
              <p:nvPr>
                <p:custDataLst>
                  <p:tags r:id="rId86"/>
                </p:custDataLst>
              </p:nvPr>
            </p:nvSpPr>
            <p:spPr>
              <a:xfrm>
                <a:off x="4554721" y="5007985"/>
                <a:ext cx="69917" cy="92926"/>
              </a:xfrm>
              <a:custGeom>
                <a:avLst/>
                <a:gdLst/>
                <a:ahLst/>
                <a:cxnLst/>
                <a:rect l="0" t="0" r="0" b="0"/>
                <a:pathLst>
                  <a:path w="71786" h="95410">
                    <a:moveTo>
                      <a:pt x="27464" y="23064"/>
                    </a:moveTo>
                    <a:lnTo>
                      <a:pt x="29336" y="20916"/>
                    </a:lnTo>
                    <a:lnTo>
                      <a:pt x="38784" y="25731"/>
                    </a:lnTo>
                    <a:lnTo>
                      <a:pt x="45677" y="31240"/>
                    </a:lnTo>
                    <a:lnTo>
                      <a:pt x="51699" y="35360"/>
                    </a:lnTo>
                    <a:lnTo>
                      <a:pt x="51955" y="35202"/>
                    </a:lnTo>
                    <a:lnTo>
                      <a:pt x="53428" y="38827"/>
                    </a:lnTo>
                    <a:lnTo>
                      <a:pt x="58155" y="40187"/>
                    </a:lnTo>
                    <a:lnTo>
                      <a:pt x="62461" y="42929"/>
                    </a:lnTo>
                    <a:lnTo>
                      <a:pt x="62923" y="47072"/>
                    </a:lnTo>
                    <a:lnTo>
                      <a:pt x="62509" y="52621"/>
                    </a:lnTo>
                    <a:lnTo>
                      <a:pt x="61678" y="58152"/>
                    </a:lnTo>
                    <a:lnTo>
                      <a:pt x="61275" y="62308"/>
                    </a:lnTo>
                    <a:lnTo>
                      <a:pt x="64745" y="67136"/>
                    </a:lnTo>
                    <a:lnTo>
                      <a:pt x="71785" y="71402"/>
                    </a:lnTo>
                    <a:lnTo>
                      <a:pt x="66921" y="74043"/>
                    </a:lnTo>
                    <a:lnTo>
                      <a:pt x="53467" y="78560"/>
                    </a:lnTo>
                    <a:lnTo>
                      <a:pt x="53260" y="78916"/>
                    </a:lnTo>
                    <a:lnTo>
                      <a:pt x="53536" y="81659"/>
                    </a:lnTo>
                    <a:lnTo>
                      <a:pt x="59575" y="87898"/>
                    </a:lnTo>
                    <a:lnTo>
                      <a:pt x="55150" y="95409"/>
                    </a:lnTo>
                    <a:lnTo>
                      <a:pt x="42291" y="91681"/>
                    </a:lnTo>
                    <a:lnTo>
                      <a:pt x="28954" y="92783"/>
                    </a:lnTo>
                    <a:lnTo>
                      <a:pt x="25397" y="94748"/>
                    </a:lnTo>
                    <a:lnTo>
                      <a:pt x="18327" y="81837"/>
                    </a:lnTo>
                    <a:lnTo>
                      <a:pt x="7687" y="55273"/>
                    </a:lnTo>
                    <a:lnTo>
                      <a:pt x="13532" y="51413"/>
                    </a:lnTo>
                    <a:lnTo>
                      <a:pt x="13940" y="44483"/>
                    </a:lnTo>
                    <a:lnTo>
                      <a:pt x="8779" y="32039"/>
                    </a:lnTo>
                    <a:lnTo>
                      <a:pt x="1876" y="9904"/>
                    </a:lnTo>
                    <a:lnTo>
                      <a:pt x="0" y="1301"/>
                    </a:lnTo>
                    <a:lnTo>
                      <a:pt x="10604" y="0"/>
                    </a:lnTo>
                    <a:lnTo>
                      <a:pt x="18066" y="8787"/>
                    </a:lnTo>
                    <a:lnTo>
                      <a:pt x="19587" y="13877"/>
                    </a:lnTo>
                    <a:lnTo>
                      <a:pt x="24076" y="20971"/>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199" name="Freeform 112">
                <a:extLst>
                  <a:ext uri="{FF2B5EF4-FFF2-40B4-BE49-F238E27FC236}">
                    <a16:creationId xmlns:a16="http://schemas.microsoft.com/office/drawing/2014/main" id="{4C94E27A-2F5F-C436-CB77-AC4FD35873D6}"/>
                  </a:ext>
                </a:extLst>
              </p:cNvPr>
              <p:cNvSpPr>
                <a:spLocks noChangeAspect="1"/>
              </p:cNvSpPr>
              <p:nvPr>
                <p:custDataLst>
                  <p:tags r:id="rId87"/>
                </p:custDataLst>
              </p:nvPr>
            </p:nvSpPr>
            <p:spPr>
              <a:xfrm>
                <a:off x="4530667" y="4995201"/>
                <a:ext cx="37632" cy="66619"/>
              </a:xfrm>
              <a:custGeom>
                <a:avLst/>
                <a:gdLst/>
                <a:ahLst/>
                <a:cxnLst/>
                <a:rect l="0" t="0" r="0" b="0"/>
                <a:pathLst>
                  <a:path w="38638" h="68400">
                    <a:moveTo>
                      <a:pt x="21399" y="14844"/>
                    </a:moveTo>
                    <a:lnTo>
                      <a:pt x="24697" y="14427"/>
                    </a:lnTo>
                    <a:lnTo>
                      <a:pt x="26573" y="23030"/>
                    </a:lnTo>
                    <a:lnTo>
                      <a:pt x="33476" y="45165"/>
                    </a:lnTo>
                    <a:lnTo>
                      <a:pt x="38637" y="57609"/>
                    </a:lnTo>
                    <a:lnTo>
                      <a:pt x="38229" y="64539"/>
                    </a:lnTo>
                    <a:lnTo>
                      <a:pt x="32384" y="68399"/>
                    </a:lnTo>
                    <a:lnTo>
                      <a:pt x="32224" y="68005"/>
                    </a:lnTo>
                    <a:lnTo>
                      <a:pt x="14162" y="47952"/>
                    </a:lnTo>
                    <a:lnTo>
                      <a:pt x="0" y="27902"/>
                    </a:lnTo>
                    <a:lnTo>
                      <a:pt x="6004" y="23736"/>
                    </a:lnTo>
                    <a:lnTo>
                      <a:pt x="744" y="4235"/>
                    </a:lnTo>
                    <a:lnTo>
                      <a:pt x="2807" y="5302"/>
                    </a:lnTo>
                    <a:lnTo>
                      <a:pt x="4187" y="4768"/>
                    </a:lnTo>
                    <a:lnTo>
                      <a:pt x="5628" y="850"/>
                    </a:lnTo>
                    <a:lnTo>
                      <a:pt x="7868" y="0"/>
                    </a:lnTo>
                    <a:lnTo>
                      <a:pt x="12395" y="6147"/>
                    </a:lnTo>
                    <a:lnTo>
                      <a:pt x="19224" y="849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00" name="Freeform 113">
                <a:extLst>
                  <a:ext uri="{FF2B5EF4-FFF2-40B4-BE49-F238E27FC236}">
                    <a16:creationId xmlns:a16="http://schemas.microsoft.com/office/drawing/2014/main" id="{216B8DD2-DDC2-8CC6-06C3-74B0090C0224}"/>
                  </a:ext>
                </a:extLst>
              </p:cNvPr>
              <p:cNvSpPr>
                <a:spLocks noChangeAspect="1"/>
              </p:cNvSpPr>
              <p:nvPr>
                <p:custDataLst>
                  <p:tags r:id="rId88"/>
                </p:custDataLst>
              </p:nvPr>
            </p:nvSpPr>
            <p:spPr>
              <a:xfrm>
                <a:off x="4495176" y="4997480"/>
                <a:ext cx="84282" cy="121102"/>
              </a:xfrm>
              <a:custGeom>
                <a:avLst/>
                <a:gdLst/>
                <a:ahLst/>
                <a:cxnLst/>
                <a:rect l="0" t="0" r="0" b="0"/>
                <a:pathLst>
                  <a:path w="86535" h="124339">
                    <a:moveTo>
                      <a:pt x="37184" y="1895"/>
                    </a:moveTo>
                    <a:lnTo>
                      <a:pt x="42444" y="21396"/>
                    </a:lnTo>
                    <a:lnTo>
                      <a:pt x="36440" y="25562"/>
                    </a:lnTo>
                    <a:lnTo>
                      <a:pt x="50602" y="45612"/>
                    </a:lnTo>
                    <a:lnTo>
                      <a:pt x="68664" y="65665"/>
                    </a:lnTo>
                    <a:lnTo>
                      <a:pt x="68824" y="66059"/>
                    </a:lnTo>
                    <a:lnTo>
                      <a:pt x="79464" y="92623"/>
                    </a:lnTo>
                    <a:lnTo>
                      <a:pt x="86534" y="105534"/>
                    </a:lnTo>
                    <a:lnTo>
                      <a:pt x="84687" y="106566"/>
                    </a:lnTo>
                    <a:lnTo>
                      <a:pt x="75002" y="116556"/>
                    </a:lnTo>
                    <a:lnTo>
                      <a:pt x="73026" y="121652"/>
                    </a:lnTo>
                    <a:lnTo>
                      <a:pt x="71386" y="122642"/>
                    </a:lnTo>
                    <a:lnTo>
                      <a:pt x="70913" y="122930"/>
                    </a:lnTo>
                    <a:lnTo>
                      <a:pt x="64031" y="117543"/>
                    </a:lnTo>
                    <a:lnTo>
                      <a:pt x="62906" y="117860"/>
                    </a:lnTo>
                    <a:lnTo>
                      <a:pt x="62052" y="122736"/>
                    </a:lnTo>
                    <a:lnTo>
                      <a:pt x="52137" y="120200"/>
                    </a:lnTo>
                    <a:lnTo>
                      <a:pt x="47381" y="124338"/>
                    </a:lnTo>
                    <a:lnTo>
                      <a:pt x="45068" y="121586"/>
                    </a:lnTo>
                    <a:lnTo>
                      <a:pt x="38913" y="120205"/>
                    </a:lnTo>
                    <a:lnTo>
                      <a:pt x="35415" y="116810"/>
                    </a:lnTo>
                    <a:lnTo>
                      <a:pt x="32576" y="116908"/>
                    </a:lnTo>
                    <a:lnTo>
                      <a:pt x="30324" y="120203"/>
                    </a:lnTo>
                    <a:lnTo>
                      <a:pt x="27632" y="118859"/>
                    </a:lnTo>
                    <a:lnTo>
                      <a:pt x="29109" y="106503"/>
                    </a:lnTo>
                    <a:lnTo>
                      <a:pt x="30838" y="88523"/>
                    </a:lnTo>
                    <a:lnTo>
                      <a:pt x="23962" y="78137"/>
                    </a:lnTo>
                    <a:lnTo>
                      <a:pt x="15801" y="71900"/>
                    </a:lnTo>
                    <a:lnTo>
                      <a:pt x="10123" y="68664"/>
                    </a:lnTo>
                    <a:lnTo>
                      <a:pt x="10982" y="68409"/>
                    </a:lnTo>
                    <a:lnTo>
                      <a:pt x="10327" y="64262"/>
                    </a:lnTo>
                    <a:lnTo>
                      <a:pt x="5335" y="56930"/>
                    </a:lnTo>
                    <a:lnTo>
                      <a:pt x="4694" y="49942"/>
                    </a:lnTo>
                    <a:lnTo>
                      <a:pt x="5770" y="38259"/>
                    </a:lnTo>
                    <a:lnTo>
                      <a:pt x="4855" y="34132"/>
                    </a:lnTo>
                    <a:lnTo>
                      <a:pt x="0" y="30193"/>
                    </a:lnTo>
                    <a:lnTo>
                      <a:pt x="2020" y="26823"/>
                    </a:lnTo>
                    <a:lnTo>
                      <a:pt x="7965" y="22768"/>
                    </a:lnTo>
                    <a:lnTo>
                      <a:pt x="10736" y="18313"/>
                    </a:lnTo>
                    <a:lnTo>
                      <a:pt x="15856" y="19386"/>
                    </a:lnTo>
                    <a:lnTo>
                      <a:pt x="16585" y="17907"/>
                    </a:lnTo>
                    <a:lnTo>
                      <a:pt x="15604" y="15675"/>
                    </a:lnTo>
                    <a:lnTo>
                      <a:pt x="26900" y="11976"/>
                    </a:lnTo>
                    <a:lnTo>
                      <a:pt x="28349" y="9866"/>
                    </a:lnTo>
                    <a:lnTo>
                      <a:pt x="28678" y="2009"/>
                    </a:lnTo>
                    <a:lnTo>
                      <a:pt x="30254" y="195"/>
                    </a:lnTo>
                    <a:lnTo>
                      <a:pt x="33478"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01" name="Freeform 114">
                <a:extLst>
                  <a:ext uri="{FF2B5EF4-FFF2-40B4-BE49-F238E27FC236}">
                    <a16:creationId xmlns:a16="http://schemas.microsoft.com/office/drawing/2014/main" id="{8DAB608D-CEB5-2735-5AAB-495F101B0422}"/>
                  </a:ext>
                </a:extLst>
              </p:cNvPr>
              <p:cNvSpPr>
                <a:spLocks noChangeAspect="1"/>
              </p:cNvSpPr>
              <p:nvPr>
                <p:custDataLst>
                  <p:tags r:id="rId89"/>
                </p:custDataLst>
              </p:nvPr>
            </p:nvSpPr>
            <p:spPr>
              <a:xfrm>
                <a:off x="4564703" y="5097279"/>
                <a:ext cx="52285" cy="37176"/>
              </a:xfrm>
              <a:custGeom>
                <a:avLst/>
                <a:gdLst/>
                <a:ahLst/>
                <a:cxnLst/>
                <a:rect l="0" t="0" r="0" b="0"/>
                <a:pathLst>
                  <a:path w="53683" h="38170">
                    <a:moveTo>
                      <a:pt x="44901" y="3728"/>
                    </a:moveTo>
                    <a:lnTo>
                      <a:pt x="46669" y="7470"/>
                    </a:lnTo>
                    <a:lnTo>
                      <a:pt x="53227" y="10201"/>
                    </a:lnTo>
                    <a:lnTo>
                      <a:pt x="53682" y="11482"/>
                    </a:lnTo>
                    <a:lnTo>
                      <a:pt x="51006" y="16054"/>
                    </a:lnTo>
                    <a:lnTo>
                      <a:pt x="51120" y="17200"/>
                    </a:lnTo>
                    <a:lnTo>
                      <a:pt x="48167" y="18239"/>
                    </a:lnTo>
                    <a:lnTo>
                      <a:pt x="44210" y="21257"/>
                    </a:lnTo>
                    <a:lnTo>
                      <a:pt x="38029" y="27702"/>
                    </a:lnTo>
                    <a:lnTo>
                      <a:pt x="37231" y="29276"/>
                    </a:lnTo>
                    <a:lnTo>
                      <a:pt x="35853" y="33679"/>
                    </a:lnTo>
                    <a:lnTo>
                      <a:pt x="34804" y="35533"/>
                    </a:lnTo>
                    <a:lnTo>
                      <a:pt x="33131" y="36596"/>
                    </a:lnTo>
                    <a:lnTo>
                      <a:pt x="29740" y="37059"/>
                    </a:lnTo>
                    <a:lnTo>
                      <a:pt x="28377" y="38106"/>
                    </a:lnTo>
                    <a:lnTo>
                      <a:pt x="28300" y="38169"/>
                    </a:lnTo>
                    <a:lnTo>
                      <a:pt x="26618" y="36023"/>
                    </a:lnTo>
                    <a:lnTo>
                      <a:pt x="26581" y="35953"/>
                    </a:lnTo>
                    <a:lnTo>
                      <a:pt x="24099" y="33524"/>
                    </a:lnTo>
                    <a:lnTo>
                      <a:pt x="21610" y="32614"/>
                    </a:lnTo>
                    <a:lnTo>
                      <a:pt x="19130" y="32622"/>
                    </a:lnTo>
                    <a:lnTo>
                      <a:pt x="15131" y="32929"/>
                    </a:lnTo>
                    <a:lnTo>
                      <a:pt x="12270" y="33253"/>
                    </a:lnTo>
                    <a:lnTo>
                      <a:pt x="9796" y="33259"/>
                    </a:lnTo>
                    <a:lnTo>
                      <a:pt x="7314" y="32041"/>
                    </a:lnTo>
                    <a:lnTo>
                      <a:pt x="5209" y="28988"/>
                    </a:lnTo>
                    <a:lnTo>
                      <a:pt x="1567" y="22876"/>
                    </a:lnTo>
                    <a:lnTo>
                      <a:pt x="0" y="20175"/>
                    </a:lnTo>
                    <a:lnTo>
                      <a:pt x="1640" y="19185"/>
                    </a:lnTo>
                    <a:lnTo>
                      <a:pt x="3616" y="14089"/>
                    </a:lnTo>
                    <a:lnTo>
                      <a:pt x="13301" y="4099"/>
                    </a:lnTo>
                    <a:lnTo>
                      <a:pt x="15148" y="3067"/>
                    </a:lnTo>
                    <a:lnTo>
                      <a:pt x="18705" y="1102"/>
                    </a:lnTo>
                    <a:lnTo>
                      <a:pt x="32042"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02" name="Freeform 115">
                <a:extLst>
                  <a:ext uri="{FF2B5EF4-FFF2-40B4-BE49-F238E27FC236}">
                    <a16:creationId xmlns:a16="http://schemas.microsoft.com/office/drawing/2014/main" id="{B62867B9-F0B2-9A8F-73BB-0527403622F3}"/>
                  </a:ext>
                </a:extLst>
              </p:cNvPr>
              <p:cNvSpPr>
                <a:spLocks noChangeAspect="1"/>
              </p:cNvSpPr>
              <p:nvPr>
                <p:custDataLst>
                  <p:tags r:id="rId90"/>
                </p:custDataLst>
              </p:nvPr>
            </p:nvSpPr>
            <p:spPr>
              <a:xfrm>
                <a:off x="4498827" y="5111249"/>
                <a:ext cx="96406" cy="48905"/>
              </a:xfrm>
              <a:custGeom>
                <a:avLst/>
                <a:gdLst/>
                <a:ahLst/>
                <a:cxnLst/>
                <a:rect l="0" t="0" r="0" b="0"/>
                <a:pathLst>
                  <a:path w="98983" h="50212">
                    <a:moveTo>
                      <a:pt x="43632" y="7528"/>
                    </a:moveTo>
                    <a:lnTo>
                      <a:pt x="48388" y="3390"/>
                    </a:lnTo>
                    <a:lnTo>
                      <a:pt x="58303" y="5926"/>
                    </a:lnTo>
                    <a:lnTo>
                      <a:pt x="59157" y="1050"/>
                    </a:lnTo>
                    <a:lnTo>
                      <a:pt x="60282" y="733"/>
                    </a:lnTo>
                    <a:lnTo>
                      <a:pt x="67164" y="6120"/>
                    </a:lnTo>
                    <a:lnTo>
                      <a:pt x="67637" y="5832"/>
                    </a:lnTo>
                    <a:lnTo>
                      <a:pt x="69204" y="8533"/>
                    </a:lnTo>
                    <a:lnTo>
                      <a:pt x="72846" y="14645"/>
                    </a:lnTo>
                    <a:lnTo>
                      <a:pt x="74951" y="17698"/>
                    </a:lnTo>
                    <a:lnTo>
                      <a:pt x="77433" y="18916"/>
                    </a:lnTo>
                    <a:lnTo>
                      <a:pt x="79907" y="18910"/>
                    </a:lnTo>
                    <a:lnTo>
                      <a:pt x="82768" y="18586"/>
                    </a:lnTo>
                    <a:lnTo>
                      <a:pt x="86767" y="18279"/>
                    </a:lnTo>
                    <a:lnTo>
                      <a:pt x="89247" y="18271"/>
                    </a:lnTo>
                    <a:lnTo>
                      <a:pt x="91736" y="19181"/>
                    </a:lnTo>
                    <a:lnTo>
                      <a:pt x="94218" y="21610"/>
                    </a:lnTo>
                    <a:lnTo>
                      <a:pt x="94255" y="21680"/>
                    </a:lnTo>
                    <a:lnTo>
                      <a:pt x="95937" y="23826"/>
                    </a:lnTo>
                    <a:lnTo>
                      <a:pt x="98982" y="31941"/>
                    </a:lnTo>
                    <a:lnTo>
                      <a:pt x="97323" y="40106"/>
                    </a:lnTo>
                    <a:lnTo>
                      <a:pt x="93128" y="45033"/>
                    </a:lnTo>
                    <a:lnTo>
                      <a:pt x="88543" y="43525"/>
                    </a:lnTo>
                    <a:lnTo>
                      <a:pt x="84999" y="43084"/>
                    </a:lnTo>
                    <a:lnTo>
                      <a:pt x="68185" y="50211"/>
                    </a:lnTo>
                    <a:lnTo>
                      <a:pt x="8602" y="44765"/>
                    </a:lnTo>
                    <a:lnTo>
                      <a:pt x="4249" y="42240"/>
                    </a:lnTo>
                    <a:lnTo>
                      <a:pt x="1" y="36373"/>
                    </a:lnTo>
                    <a:lnTo>
                      <a:pt x="0" y="36372"/>
                    </a:lnTo>
                    <a:lnTo>
                      <a:pt x="242" y="36259"/>
                    </a:lnTo>
                    <a:lnTo>
                      <a:pt x="575" y="36121"/>
                    </a:lnTo>
                    <a:lnTo>
                      <a:pt x="11861" y="30536"/>
                    </a:lnTo>
                    <a:lnTo>
                      <a:pt x="7632" y="25862"/>
                    </a:lnTo>
                    <a:lnTo>
                      <a:pt x="9549" y="24167"/>
                    </a:lnTo>
                    <a:lnTo>
                      <a:pt x="13851" y="25131"/>
                    </a:lnTo>
                    <a:lnTo>
                      <a:pt x="12272" y="18438"/>
                    </a:lnTo>
                    <a:lnTo>
                      <a:pt x="13404" y="14098"/>
                    </a:lnTo>
                    <a:lnTo>
                      <a:pt x="12489" y="8471"/>
                    </a:lnTo>
                    <a:lnTo>
                      <a:pt x="22943" y="1575"/>
                    </a:lnTo>
                    <a:lnTo>
                      <a:pt x="23883" y="2049"/>
                    </a:lnTo>
                    <a:lnTo>
                      <a:pt x="26575" y="3393"/>
                    </a:lnTo>
                    <a:lnTo>
                      <a:pt x="28827" y="98"/>
                    </a:lnTo>
                    <a:lnTo>
                      <a:pt x="31666" y="0"/>
                    </a:lnTo>
                    <a:lnTo>
                      <a:pt x="35164" y="3395"/>
                    </a:lnTo>
                    <a:lnTo>
                      <a:pt x="41319" y="477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03" name="Freeform 116">
                <a:extLst>
                  <a:ext uri="{FF2B5EF4-FFF2-40B4-BE49-F238E27FC236}">
                    <a16:creationId xmlns:a16="http://schemas.microsoft.com/office/drawing/2014/main" id="{442FF8FB-2AA8-936F-354A-1F81FC12CCD1}"/>
                  </a:ext>
                </a:extLst>
              </p:cNvPr>
              <p:cNvSpPr>
                <a:spLocks noChangeAspect="1"/>
              </p:cNvSpPr>
              <p:nvPr>
                <p:custDataLst>
                  <p:tags r:id="rId91"/>
                </p:custDataLst>
              </p:nvPr>
            </p:nvSpPr>
            <p:spPr>
              <a:xfrm>
                <a:off x="4416636" y="5005121"/>
                <a:ext cx="89237" cy="102284"/>
              </a:xfrm>
              <a:custGeom>
                <a:avLst/>
                <a:gdLst/>
                <a:ahLst/>
                <a:cxnLst/>
                <a:rect l="0" t="0" r="0" b="0"/>
                <a:pathLst>
                  <a:path w="91622" h="105018">
                    <a:moveTo>
                      <a:pt x="31547" y="5796"/>
                    </a:moveTo>
                    <a:lnTo>
                      <a:pt x="40155" y="16360"/>
                    </a:lnTo>
                    <a:lnTo>
                      <a:pt x="47326" y="15228"/>
                    </a:lnTo>
                    <a:lnTo>
                      <a:pt x="49717" y="10570"/>
                    </a:lnTo>
                    <a:lnTo>
                      <a:pt x="56213" y="12502"/>
                    </a:lnTo>
                    <a:lnTo>
                      <a:pt x="67399" y="8198"/>
                    </a:lnTo>
                    <a:lnTo>
                      <a:pt x="80786" y="14700"/>
                    </a:lnTo>
                    <a:lnTo>
                      <a:pt x="82659" y="18978"/>
                    </a:lnTo>
                    <a:lnTo>
                      <a:pt x="80639" y="22348"/>
                    </a:lnTo>
                    <a:lnTo>
                      <a:pt x="85494" y="26287"/>
                    </a:lnTo>
                    <a:lnTo>
                      <a:pt x="86409" y="30414"/>
                    </a:lnTo>
                    <a:lnTo>
                      <a:pt x="85333" y="42097"/>
                    </a:lnTo>
                    <a:lnTo>
                      <a:pt x="85974" y="49085"/>
                    </a:lnTo>
                    <a:lnTo>
                      <a:pt x="90966" y="56417"/>
                    </a:lnTo>
                    <a:lnTo>
                      <a:pt x="91621" y="60564"/>
                    </a:lnTo>
                    <a:lnTo>
                      <a:pt x="90762" y="60819"/>
                    </a:lnTo>
                    <a:lnTo>
                      <a:pt x="81396" y="63622"/>
                    </a:lnTo>
                    <a:lnTo>
                      <a:pt x="65984" y="61448"/>
                    </a:lnTo>
                    <a:lnTo>
                      <a:pt x="64396" y="63357"/>
                    </a:lnTo>
                    <a:lnTo>
                      <a:pt x="62641" y="74799"/>
                    </a:lnTo>
                    <a:lnTo>
                      <a:pt x="59463" y="78302"/>
                    </a:lnTo>
                    <a:lnTo>
                      <a:pt x="59059" y="81478"/>
                    </a:lnTo>
                    <a:lnTo>
                      <a:pt x="66292" y="88194"/>
                    </a:lnTo>
                    <a:lnTo>
                      <a:pt x="69030" y="98703"/>
                    </a:lnTo>
                    <a:lnTo>
                      <a:pt x="56923" y="105017"/>
                    </a:lnTo>
                    <a:lnTo>
                      <a:pt x="42481" y="102174"/>
                    </a:lnTo>
                    <a:lnTo>
                      <a:pt x="40833" y="96934"/>
                    </a:lnTo>
                    <a:lnTo>
                      <a:pt x="38203" y="90611"/>
                    </a:lnTo>
                    <a:lnTo>
                      <a:pt x="35356" y="85500"/>
                    </a:lnTo>
                    <a:lnTo>
                      <a:pt x="33452" y="83453"/>
                    </a:lnTo>
                    <a:lnTo>
                      <a:pt x="29320" y="80681"/>
                    </a:lnTo>
                    <a:lnTo>
                      <a:pt x="27141" y="77871"/>
                    </a:lnTo>
                    <a:lnTo>
                      <a:pt x="23453" y="70577"/>
                    </a:lnTo>
                    <a:lnTo>
                      <a:pt x="21341" y="68280"/>
                    </a:lnTo>
                    <a:lnTo>
                      <a:pt x="18198" y="67375"/>
                    </a:lnTo>
                    <a:lnTo>
                      <a:pt x="10633" y="68259"/>
                    </a:lnTo>
                    <a:lnTo>
                      <a:pt x="13407" y="62340"/>
                    </a:lnTo>
                    <a:lnTo>
                      <a:pt x="24262" y="43043"/>
                    </a:lnTo>
                    <a:lnTo>
                      <a:pt x="15740" y="32609"/>
                    </a:lnTo>
                    <a:lnTo>
                      <a:pt x="3822" y="18693"/>
                    </a:lnTo>
                    <a:lnTo>
                      <a:pt x="0" y="14403"/>
                    </a:lnTo>
                    <a:lnTo>
                      <a:pt x="4430" y="11058"/>
                    </a:lnTo>
                    <a:lnTo>
                      <a:pt x="8757" y="13951"/>
                    </a:lnTo>
                    <a:lnTo>
                      <a:pt x="11456" y="13435"/>
                    </a:lnTo>
                    <a:lnTo>
                      <a:pt x="13052" y="9517"/>
                    </a:lnTo>
                    <a:lnTo>
                      <a:pt x="11653" y="2718"/>
                    </a:lnTo>
                    <a:lnTo>
                      <a:pt x="15677" y="0"/>
                    </a:lnTo>
                    <a:lnTo>
                      <a:pt x="26976" y="16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04" name="Freeform 117">
                <a:extLst>
                  <a:ext uri="{FF2B5EF4-FFF2-40B4-BE49-F238E27FC236}">
                    <a16:creationId xmlns:a16="http://schemas.microsoft.com/office/drawing/2014/main" id="{6D5C7D3E-EC30-2D48-41DE-767A36E6AF55}"/>
                  </a:ext>
                </a:extLst>
              </p:cNvPr>
              <p:cNvSpPr>
                <a:spLocks noChangeAspect="1"/>
              </p:cNvSpPr>
              <p:nvPr>
                <p:custDataLst>
                  <p:tags r:id="rId92"/>
                </p:custDataLst>
              </p:nvPr>
            </p:nvSpPr>
            <p:spPr>
              <a:xfrm>
                <a:off x="4331844" y="5017436"/>
                <a:ext cx="108424" cy="84275"/>
              </a:xfrm>
              <a:custGeom>
                <a:avLst/>
                <a:gdLst/>
                <a:ahLst/>
                <a:cxnLst/>
                <a:rect l="0" t="0" r="0" b="0"/>
                <a:pathLst>
                  <a:path w="111322" h="86528">
                    <a:moveTo>
                      <a:pt x="86610" y="2091"/>
                    </a:moveTo>
                    <a:lnTo>
                      <a:pt x="87059" y="1759"/>
                    </a:lnTo>
                    <a:lnTo>
                      <a:pt x="90881" y="6049"/>
                    </a:lnTo>
                    <a:lnTo>
                      <a:pt x="102799" y="19965"/>
                    </a:lnTo>
                    <a:lnTo>
                      <a:pt x="111321" y="30399"/>
                    </a:lnTo>
                    <a:lnTo>
                      <a:pt x="100466" y="49696"/>
                    </a:lnTo>
                    <a:lnTo>
                      <a:pt x="97692" y="55615"/>
                    </a:lnTo>
                    <a:lnTo>
                      <a:pt x="97680" y="55616"/>
                    </a:lnTo>
                    <a:lnTo>
                      <a:pt x="79721" y="57696"/>
                    </a:lnTo>
                    <a:lnTo>
                      <a:pt x="76329" y="59100"/>
                    </a:lnTo>
                    <a:lnTo>
                      <a:pt x="73145" y="61126"/>
                    </a:lnTo>
                    <a:lnTo>
                      <a:pt x="71040" y="63487"/>
                    </a:lnTo>
                    <a:lnTo>
                      <a:pt x="70740" y="67075"/>
                    </a:lnTo>
                    <a:lnTo>
                      <a:pt x="72528" y="70819"/>
                    </a:lnTo>
                    <a:lnTo>
                      <a:pt x="74984" y="74476"/>
                    </a:lnTo>
                    <a:lnTo>
                      <a:pt x="76670" y="77785"/>
                    </a:lnTo>
                    <a:lnTo>
                      <a:pt x="66787" y="77705"/>
                    </a:lnTo>
                    <a:lnTo>
                      <a:pt x="66799" y="78699"/>
                    </a:lnTo>
                    <a:lnTo>
                      <a:pt x="65663" y="80414"/>
                    </a:lnTo>
                    <a:lnTo>
                      <a:pt x="64303" y="81102"/>
                    </a:lnTo>
                    <a:lnTo>
                      <a:pt x="63681" y="79092"/>
                    </a:lnTo>
                    <a:lnTo>
                      <a:pt x="63036" y="77611"/>
                    </a:lnTo>
                    <a:lnTo>
                      <a:pt x="61480" y="76415"/>
                    </a:lnTo>
                    <a:lnTo>
                      <a:pt x="59611" y="75560"/>
                    </a:lnTo>
                    <a:lnTo>
                      <a:pt x="58028" y="75235"/>
                    </a:lnTo>
                    <a:lnTo>
                      <a:pt x="57267" y="76068"/>
                    </a:lnTo>
                    <a:lnTo>
                      <a:pt x="55030" y="79669"/>
                    </a:lnTo>
                    <a:lnTo>
                      <a:pt x="53921" y="80420"/>
                    </a:lnTo>
                    <a:lnTo>
                      <a:pt x="52359" y="79877"/>
                    </a:lnTo>
                    <a:lnTo>
                      <a:pt x="49891" y="77959"/>
                    </a:lnTo>
                    <a:lnTo>
                      <a:pt x="43996" y="76488"/>
                    </a:lnTo>
                    <a:lnTo>
                      <a:pt x="41735" y="76326"/>
                    </a:lnTo>
                    <a:lnTo>
                      <a:pt x="39219" y="77452"/>
                    </a:lnTo>
                    <a:lnTo>
                      <a:pt x="36692" y="79726"/>
                    </a:lnTo>
                    <a:lnTo>
                      <a:pt x="33305" y="83763"/>
                    </a:lnTo>
                    <a:lnTo>
                      <a:pt x="31007" y="85169"/>
                    </a:lnTo>
                    <a:lnTo>
                      <a:pt x="28615" y="84491"/>
                    </a:lnTo>
                    <a:lnTo>
                      <a:pt x="25963" y="82737"/>
                    </a:lnTo>
                    <a:lnTo>
                      <a:pt x="23818" y="82481"/>
                    </a:lnTo>
                    <a:lnTo>
                      <a:pt x="22875" y="86527"/>
                    </a:lnTo>
                    <a:lnTo>
                      <a:pt x="19829" y="86353"/>
                    </a:lnTo>
                    <a:lnTo>
                      <a:pt x="5852" y="80223"/>
                    </a:lnTo>
                    <a:lnTo>
                      <a:pt x="1707" y="79863"/>
                    </a:lnTo>
                    <a:lnTo>
                      <a:pt x="911" y="78485"/>
                    </a:lnTo>
                    <a:lnTo>
                      <a:pt x="488" y="77407"/>
                    </a:lnTo>
                    <a:lnTo>
                      <a:pt x="0" y="74619"/>
                    </a:lnTo>
                    <a:lnTo>
                      <a:pt x="4565" y="71255"/>
                    </a:lnTo>
                    <a:lnTo>
                      <a:pt x="4014" y="67192"/>
                    </a:lnTo>
                    <a:lnTo>
                      <a:pt x="1965" y="62303"/>
                    </a:lnTo>
                    <a:lnTo>
                      <a:pt x="1988" y="56396"/>
                    </a:lnTo>
                    <a:lnTo>
                      <a:pt x="10121" y="53883"/>
                    </a:lnTo>
                    <a:lnTo>
                      <a:pt x="11023" y="52650"/>
                    </a:lnTo>
                    <a:lnTo>
                      <a:pt x="13625" y="48001"/>
                    </a:lnTo>
                    <a:lnTo>
                      <a:pt x="15203" y="45874"/>
                    </a:lnTo>
                    <a:lnTo>
                      <a:pt x="16648" y="48768"/>
                    </a:lnTo>
                    <a:lnTo>
                      <a:pt x="15171" y="48751"/>
                    </a:lnTo>
                    <a:lnTo>
                      <a:pt x="15145" y="51096"/>
                    </a:lnTo>
                    <a:lnTo>
                      <a:pt x="16763" y="52327"/>
                    </a:lnTo>
                    <a:lnTo>
                      <a:pt x="18367" y="53977"/>
                    </a:lnTo>
                    <a:lnTo>
                      <a:pt x="25732" y="51604"/>
                    </a:lnTo>
                    <a:lnTo>
                      <a:pt x="37857" y="50954"/>
                    </a:lnTo>
                    <a:lnTo>
                      <a:pt x="49208" y="48174"/>
                    </a:lnTo>
                    <a:lnTo>
                      <a:pt x="54285" y="39656"/>
                    </a:lnTo>
                    <a:lnTo>
                      <a:pt x="54405" y="37125"/>
                    </a:lnTo>
                    <a:lnTo>
                      <a:pt x="54288" y="35072"/>
                    </a:lnTo>
                    <a:lnTo>
                      <a:pt x="54255" y="34433"/>
                    </a:lnTo>
                    <a:lnTo>
                      <a:pt x="61108" y="24489"/>
                    </a:lnTo>
                    <a:lnTo>
                      <a:pt x="62616" y="17079"/>
                    </a:lnTo>
                    <a:lnTo>
                      <a:pt x="65684" y="13079"/>
                    </a:lnTo>
                    <a:lnTo>
                      <a:pt x="65722" y="8520"/>
                    </a:lnTo>
                    <a:lnTo>
                      <a:pt x="68911" y="4391"/>
                    </a:lnTo>
                    <a:lnTo>
                      <a:pt x="73056" y="3685"/>
                    </a:lnTo>
                    <a:lnTo>
                      <a:pt x="76435"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05" name="Freeform 118">
                <a:extLst>
                  <a:ext uri="{FF2B5EF4-FFF2-40B4-BE49-F238E27FC236}">
                    <a16:creationId xmlns:a16="http://schemas.microsoft.com/office/drawing/2014/main" id="{3512A1CD-D12C-D5B7-4DB3-DC20DD39666A}"/>
                  </a:ext>
                </a:extLst>
              </p:cNvPr>
              <p:cNvSpPr>
                <a:spLocks noChangeAspect="1"/>
              </p:cNvSpPr>
              <p:nvPr>
                <p:custDataLst>
                  <p:tags r:id="rId93"/>
                </p:custDataLst>
              </p:nvPr>
            </p:nvSpPr>
            <p:spPr>
              <a:xfrm>
                <a:off x="5013405" y="4163083"/>
                <a:ext cx="68751" cy="68332"/>
              </a:xfrm>
              <a:custGeom>
                <a:avLst/>
                <a:gdLst/>
                <a:ahLst/>
                <a:cxnLst/>
                <a:rect l="0" t="0" r="0" b="0"/>
                <a:pathLst>
                  <a:path w="70589" h="70159">
                    <a:moveTo>
                      <a:pt x="62774" y="25423"/>
                    </a:moveTo>
                    <a:lnTo>
                      <a:pt x="68613" y="25216"/>
                    </a:lnTo>
                    <a:lnTo>
                      <a:pt x="68249" y="26276"/>
                    </a:lnTo>
                    <a:lnTo>
                      <a:pt x="70588" y="35855"/>
                    </a:lnTo>
                    <a:lnTo>
                      <a:pt x="66977" y="55842"/>
                    </a:lnTo>
                    <a:lnTo>
                      <a:pt x="67194" y="64983"/>
                    </a:lnTo>
                    <a:lnTo>
                      <a:pt x="60657" y="63957"/>
                    </a:lnTo>
                    <a:lnTo>
                      <a:pt x="48261" y="69732"/>
                    </a:lnTo>
                    <a:lnTo>
                      <a:pt x="35667" y="70158"/>
                    </a:lnTo>
                    <a:lnTo>
                      <a:pt x="22101" y="69538"/>
                    </a:lnTo>
                    <a:lnTo>
                      <a:pt x="13714" y="63388"/>
                    </a:lnTo>
                    <a:lnTo>
                      <a:pt x="4142" y="49270"/>
                    </a:lnTo>
                    <a:lnTo>
                      <a:pt x="0" y="37644"/>
                    </a:lnTo>
                    <a:lnTo>
                      <a:pt x="352" y="28564"/>
                    </a:lnTo>
                    <a:lnTo>
                      <a:pt x="4035" y="25773"/>
                    </a:lnTo>
                    <a:lnTo>
                      <a:pt x="8394" y="24558"/>
                    </a:lnTo>
                    <a:lnTo>
                      <a:pt x="12457" y="23895"/>
                    </a:lnTo>
                    <a:lnTo>
                      <a:pt x="15392" y="17399"/>
                    </a:lnTo>
                    <a:lnTo>
                      <a:pt x="16421" y="10411"/>
                    </a:lnTo>
                    <a:lnTo>
                      <a:pt x="18777" y="5533"/>
                    </a:lnTo>
                    <a:lnTo>
                      <a:pt x="24034" y="3227"/>
                    </a:lnTo>
                    <a:lnTo>
                      <a:pt x="30842" y="326"/>
                    </a:lnTo>
                    <a:lnTo>
                      <a:pt x="40554" y="0"/>
                    </a:lnTo>
                    <a:lnTo>
                      <a:pt x="45590" y="371"/>
                    </a:lnTo>
                    <a:lnTo>
                      <a:pt x="50122" y="4483"/>
                    </a:lnTo>
                    <a:lnTo>
                      <a:pt x="51005" y="11933"/>
                    </a:lnTo>
                    <a:lnTo>
                      <a:pt x="51243" y="18869"/>
                    </a:lnTo>
                    <a:lnTo>
                      <a:pt x="55210" y="24611"/>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06" name="Freeform 119">
                <a:extLst>
                  <a:ext uri="{FF2B5EF4-FFF2-40B4-BE49-F238E27FC236}">
                    <a16:creationId xmlns:a16="http://schemas.microsoft.com/office/drawing/2014/main" id="{F91DCA93-0879-4DFA-CBC6-4EC8F402BC93}"/>
                  </a:ext>
                </a:extLst>
              </p:cNvPr>
              <p:cNvSpPr>
                <a:spLocks noChangeAspect="1"/>
              </p:cNvSpPr>
              <p:nvPr>
                <p:custDataLst>
                  <p:tags r:id="rId94"/>
                </p:custDataLst>
              </p:nvPr>
            </p:nvSpPr>
            <p:spPr>
              <a:xfrm>
                <a:off x="4705409" y="4623728"/>
                <a:ext cx="76405" cy="79961"/>
              </a:xfrm>
              <a:custGeom>
                <a:avLst/>
                <a:gdLst/>
                <a:ahLst/>
                <a:cxnLst/>
                <a:rect l="0" t="0" r="0" b="0"/>
                <a:pathLst>
                  <a:path w="78447" h="82099">
                    <a:moveTo>
                      <a:pt x="78446" y="27956"/>
                    </a:moveTo>
                    <a:lnTo>
                      <a:pt x="74891" y="35119"/>
                    </a:lnTo>
                    <a:lnTo>
                      <a:pt x="66096" y="59441"/>
                    </a:lnTo>
                    <a:lnTo>
                      <a:pt x="62292" y="68994"/>
                    </a:lnTo>
                    <a:lnTo>
                      <a:pt x="58472" y="76828"/>
                    </a:lnTo>
                    <a:lnTo>
                      <a:pt x="55925" y="82058"/>
                    </a:lnTo>
                    <a:lnTo>
                      <a:pt x="53041" y="82098"/>
                    </a:lnTo>
                    <a:lnTo>
                      <a:pt x="47472" y="78285"/>
                    </a:lnTo>
                    <a:lnTo>
                      <a:pt x="36314" y="67634"/>
                    </a:lnTo>
                    <a:lnTo>
                      <a:pt x="20139" y="52278"/>
                    </a:lnTo>
                    <a:lnTo>
                      <a:pt x="5321" y="39065"/>
                    </a:lnTo>
                    <a:lnTo>
                      <a:pt x="0" y="30908"/>
                    </a:lnTo>
                    <a:lnTo>
                      <a:pt x="3861" y="24825"/>
                    </a:lnTo>
                    <a:lnTo>
                      <a:pt x="17153" y="21217"/>
                    </a:lnTo>
                    <a:lnTo>
                      <a:pt x="29092" y="14576"/>
                    </a:lnTo>
                    <a:lnTo>
                      <a:pt x="43667" y="9211"/>
                    </a:lnTo>
                    <a:lnTo>
                      <a:pt x="56369" y="1690"/>
                    </a:lnTo>
                    <a:lnTo>
                      <a:pt x="61239" y="0"/>
                    </a:lnTo>
                    <a:lnTo>
                      <a:pt x="67838" y="5510"/>
                    </a:lnTo>
                    <a:lnTo>
                      <a:pt x="69781" y="10477"/>
                    </a:lnTo>
                    <a:lnTo>
                      <a:pt x="67447" y="13809"/>
                    </a:lnTo>
                    <a:lnTo>
                      <a:pt x="67848" y="1506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59" name="Freeform 120">
                <a:extLst>
                  <a:ext uri="{FF2B5EF4-FFF2-40B4-BE49-F238E27FC236}">
                    <a16:creationId xmlns:a16="http://schemas.microsoft.com/office/drawing/2014/main" id="{16FC4C4B-F01F-82B7-01F0-D7E5872168BA}"/>
                  </a:ext>
                </a:extLst>
              </p:cNvPr>
              <p:cNvSpPr>
                <a:spLocks noChangeAspect="1"/>
              </p:cNvSpPr>
              <p:nvPr>
                <p:custDataLst>
                  <p:tags r:id="rId95"/>
                </p:custDataLst>
              </p:nvPr>
            </p:nvSpPr>
            <p:spPr>
              <a:xfrm>
                <a:off x="4731131" y="4270025"/>
                <a:ext cx="38200" cy="55299"/>
              </a:xfrm>
              <a:custGeom>
                <a:avLst/>
                <a:gdLst/>
                <a:ahLst/>
                <a:cxnLst/>
                <a:rect l="0" t="0" r="0" b="0"/>
                <a:pathLst>
                  <a:path w="39221" h="56777">
                    <a:moveTo>
                      <a:pt x="39220" y="40967"/>
                    </a:moveTo>
                    <a:lnTo>
                      <a:pt x="38279" y="42226"/>
                    </a:lnTo>
                    <a:lnTo>
                      <a:pt x="38476" y="46784"/>
                    </a:lnTo>
                    <a:lnTo>
                      <a:pt x="37442" y="49663"/>
                    </a:lnTo>
                    <a:lnTo>
                      <a:pt x="34901" y="52367"/>
                    </a:lnTo>
                    <a:lnTo>
                      <a:pt x="21704" y="49044"/>
                    </a:lnTo>
                    <a:lnTo>
                      <a:pt x="15200" y="56776"/>
                    </a:lnTo>
                    <a:lnTo>
                      <a:pt x="5997" y="55734"/>
                    </a:lnTo>
                    <a:lnTo>
                      <a:pt x="5940" y="55795"/>
                    </a:lnTo>
                    <a:lnTo>
                      <a:pt x="3912" y="52474"/>
                    </a:lnTo>
                    <a:lnTo>
                      <a:pt x="811" y="45730"/>
                    </a:lnTo>
                    <a:lnTo>
                      <a:pt x="294" y="37246"/>
                    </a:lnTo>
                    <a:lnTo>
                      <a:pt x="0" y="29776"/>
                    </a:lnTo>
                    <a:lnTo>
                      <a:pt x="83" y="20602"/>
                    </a:lnTo>
                    <a:lnTo>
                      <a:pt x="606" y="13467"/>
                    </a:lnTo>
                    <a:lnTo>
                      <a:pt x="3537" y="7999"/>
                    </a:lnTo>
                    <a:lnTo>
                      <a:pt x="7102" y="4219"/>
                    </a:lnTo>
                    <a:lnTo>
                      <a:pt x="13287" y="1432"/>
                    </a:lnTo>
                    <a:lnTo>
                      <a:pt x="18286" y="0"/>
                    </a:lnTo>
                    <a:lnTo>
                      <a:pt x="24743" y="2614"/>
                    </a:lnTo>
                    <a:lnTo>
                      <a:pt x="29109" y="13076"/>
                    </a:lnTo>
                    <a:lnTo>
                      <a:pt x="33700" y="24561"/>
                    </a:lnTo>
                    <a:lnTo>
                      <a:pt x="37909" y="3705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60" name="Freeform 121">
                <a:extLst>
                  <a:ext uri="{FF2B5EF4-FFF2-40B4-BE49-F238E27FC236}">
                    <a16:creationId xmlns:a16="http://schemas.microsoft.com/office/drawing/2014/main" id="{A99282EC-C51B-31EF-141B-39F6EA584FDA}"/>
                  </a:ext>
                </a:extLst>
              </p:cNvPr>
              <p:cNvSpPr>
                <a:spLocks noChangeAspect="1"/>
              </p:cNvSpPr>
              <p:nvPr>
                <p:custDataLst>
                  <p:tags r:id="rId96"/>
                </p:custDataLst>
              </p:nvPr>
            </p:nvSpPr>
            <p:spPr>
              <a:xfrm>
                <a:off x="4620719" y="4096758"/>
                <a:ext cx="218724" cy="278953"/>
              </a:xfrm>
              <a:custGeom>
                <a:avLst/>
                <a:gdLst/>
                <a:ahLst/>
                <a:cxnLst/>
                <a:rect l="0" t="0" r="0" b="0"/>
                <a:pathLst>
                  <a:path w="224571" h="286410">
                    <a:moveTo>
                      <a:pt x="129013" y="3049"/>
                    </a:moveTo>
                    <a:lnTo>
                      <a:pt x="127778" y="8062"/>
                    </a:lnTo>
                    <a:lnTo>
                      <a:pt x="114974" y="25631"/>
                    </a:lnTo>
                    <a:lnTo>
                      <a:pt x="113413" y="30016"/>
                    </a:lnTo>
                    <a:lnTo>
                      <a:pt x="107045" y="33592"/>
                    </a:lnTo>
                    <a:lnTo>
                      <a:pt x="106286" y="42311"/>
                    </a:lnTo>
                    <a:lnTo>
                      <a:pt x="107791" y="47920"/>
                    </a:lnTo>
                    <a:lnTo>
                      <a:pt x="113659" y="54105"/>
                    </a:lnTo>
                    <a:lnTo>
                      <a:pt x="125258" y="60636"/>
                    </a:lnTo>
                    <a:lnTo>
                      <a:pt x="127177" y="63701"/>
                    </a:lnTo>
                    <a:lnTo>
                      <a:pt x="127554" y="73026"/>
                    </a:lnTo>
                    <a:lnTo>
                      <a:pt x="129772" y="75770"/>
                    </a:lnTo>
                    <a:lnTo>
                      <a:pt x="134641" y="76432"/>
                    </a:lnTo>
                    <a:lnTo>
                      <a:pt x="145011" y="73418"/>
                    </a:lnTo>
                    <a:lnTo>
                      <a:pt x="150825" y="74495"/>
                    </a:lnTo>
                    <a:lnTo>
                      <a:pt x="152161" y="76588"/>
                    </a:lnTo>
                    <a:lnTo>
                      <a:pt x="152939" y="82323"/>
                    </a:lnTo>
                    <a:lnTo>
                      <a:pt x="154957" y="83773"/>
                    </a:lnTo>
                    <a:lnTo>
                      <a:pt x="152677" y="89851"/>
                    </a:lnTo>
                    <a:lnTo>
                      <a:pt x="155539" y="94062"/>
                    </a:lnTo>
                    <a:lnTo>
                      <a:pt x="163427" y="94678"/>
                    </a:lnTo>
                    <a:lnTo>
                      <a:pt x="166406" y="101522"/>
                    </a:lnTo>
                    <a:lnTo>
                      <a:pt x="169339" y="101909"/>
                    </a:lnTo>
                    <a:lnTo>
                      <a:pt x="179755" y="96857"/>
                    </a:lnTo>
                    <a:lnTo>
                      <a:pt x="179629" y="100671"/>
                    </a:lnTo>
                    <a:lnTo>
                      <a:pt x="181036" y="102463"/>
                    </a:lnTo>
                    <a:lnTo>
                      <a:pt x="188164" y="103188"/>
                    </a:lnTo>
                    <a:lnTo>
                      <a:pt x="190928" y="107386"/>
                    </a:lnTo>
                    <a:lnTo>
                      <a:pt x="192053" y="114476"/>
                    </a:lnTo>
                    <a:lnTo>
                      <a:pt x="207757" y="122364"/>
                    </a:lnTo>
                    <a:lnTo>
                      <a:pt x="209630" y="132302"/>
                    </a:lnTo>
                    <a:lnTo>
                      <a:pt x="216895" y="142029"/>
                    </a:lnTo>
                    <a:lnTo>
                      <a:pt x="224570" y="147654"/>
                    </a:lnTo>
                    <a:lnTo>
                      <a:pt x="223624" y="153153"/>
                    </a:lnTo>
                    <a:lnTo>
                      <a:pt x="221430" y="156593"/>
                    </a:lnTo>
                    <a:lnTo>
                      <a:pt x="210633" y="162106"/>
                    </a:lnTo>
                    <a:lnTo>
                      <a:pt x="205120" y="169535"/>
                    </a:lnTo>
                    <a:lnTo>
                      <a:pt x="205194" y="183338"/>
                    </a:lnTo>
                    <a:lnTo>
                      <a:pt x="196735" y="194849"/>
                    </a:lnTo>
                    <a:lnTo>
                      <a:pt x="199264" y="202565"/>
                    </a:lnTo>
                    <a:lnTo>
                      <a:pt x="198827" y="205891"/>
                    </a:lnTo>
                    <a:lnTo>
                      <a:pt x="182192" y="215485"/>
                    </a:lnTo>
                    <a:lnTo>
                      <a:pt x="177676" y="219709"/>
                    </a:lnTo>
                    <a:lnTo>
                      <a:pt x="175694" y="225154"/>
                    </a:lnTo>
                    <a:lnTo>
                      <a:pt x="176742" y="235424"/>
                    </a:lnTo>
                    <a:lnTo>
                      <a:pt x="175206" y="237790"/>
                    </a:lnTo>
                    <a:lnTo>
                      <a:pt x="171287" y="233085"/>
                    </a:lnTo>
                    <a:lnTo>
                      <a:pt x="169924" y="218346"/>
                    </a:lnTo>
                    <a:lnTo>
                      <a:pt x="167143" y="217868"/>
                    </a:lnTo>
                    <a:lnTo>
                      <a:pt x="158825" y="221386"/>
                    </a:lnTo>
                    <a:lnTo>
                      <a:pt x="153249" y="217968"/>
                    </a:lnTo>
                    <a:lnTo>
                      <a:pt x="152584" y="218866"/>
                    </a:lnTo>
                    <a:lnTo>
                      <a:pt x="151273" y="214957"/>
                    </a:lnTo>
                    <a:lnTo>
                      <a:pt x="147064" y="202460"/>
                    </a:lnTo>
                    <a:lnTo>
                      <a:pt x="142473" y="190975"/>
                    </a:lnTo>
                    <a:lnTo>
                      <a:pt x="138107" y="180513"/>
                    </a:lnTo>
                    <a:lnTo>
                      <a:pt x="131650" y="177899"/>
                    </a:lnTo>
                    <a:lnTo>
                      <a:pt x="126651" y="179331"/>
                    </a:lnTo>
                    <a:lnTo>
                      <a:pt x="120466" y="182118"/>
                    </a:lnTo>
                    <a:lnTo>
                      <a:pt x="116901" y="185898"/>
                    </a:lnTo>
                    <a:lnTo>
                      <a:pt x="113970" y="191366"/>
                    </a:lnTo>
                    <a:lnTo>
                      <a:pt x="113447" y="198501"/>
                    </a:lnTo>
                    <a:lnTo>
                      <a:pt x="113364" y="207675"/>
                    </a:lnTo>
                    <a:lnTo>
                      <a:pt x="113658" y="215145"/>
                    </a:lnTo>
                    <a:lnTo>
                      <a:pt x="114175" y="223629"/>
                    </a:lnTo>
                    <a:lnTo>
                      <a:pt x="117276" y="230373"/>
                    </a:lnTo>
                    <a:lnTo>
                      <a:pt x="119304" y="233694"/>
                    </a:lnTo>
                    <a:lnTo>
                      <a:pt x="107092" y="244512"/>
                    </a:lnTo>
                    <a:lnTo>
                      <a:pt x="102812" y="240004"/>
                    </a:lnTo>
                    <a:lnTo>
                      <a:pt x="99975" y="239286"/>
                    </a:lnTo>
                    <a:lnTo>
                      <a:pt x="94129" y="246048"/>
                    </a:lnTo>
                    <a:lnTo>
                      <a:pt x="92494" y="246067"/>
                    </a:lnTo>
                    <a:lnTo>
                      <a:pt x="89798" y="241754"/>
                    </a:lnTo>
                    <a:lnTo>
                      <a:pt x="80119" y="243440"/>
                    </a:lnTo>
                    <a:lnTo>
                      <a:pt x="78110" y="244626"/>
                    </a:lnTo>
                    <a:lnTo>
                      <a:pt x="76001" y="253780"/>
                    </a:lnTo>
                    <a:lnTo>
                      <a:pt x="76940" y="259508"/>
                    </a:lnTo>
                    <a:lnTo>
                      <a:pt x="74341" y="264095"/>
                    </a:lnTo>
                    <a:lnTo>
                      <a:pt x="72407" y="271322"/>
                    </a:lnTo>
                    <a:lnTo>
                      <a:pt x="63619" y="278616"/>
                    </a:lnTo>
                    <a:lnTo>
                      <a:pt x="60480" y="272505"/>
                    </a:lnTo>
                    <a:lnTo>
                      <a:pt x="58079" y="271895"/>
                    </a:lnTo>
                    <a:lnTo>
                      <a:pt x="52315" y="276509"/>
                    </a:lnTo>
                    <a:lnTo>
                      <a:pt x="51329" y="279282"/>
                    </a:lnTo>
                    <a:lnTo>
                      <a:pt x="51629" y="285440"/>
                    </a:lnTo>
                    <a:lnTo>
                      <a:pt x="49241" y="286409"/>
                    </a:lnTo>
                    <a:lnTo>
                      <a:pt x="43879" y="279445"/>
                    </a:lnTo>
                    <a:lnTo>
                      <a:pt x="38228" y="276202"/>
                    </a:lnTo>
                    <a:lnTo>
                      <a:pt x="30841" y="274563"/>
                    </a:lnTo>
                    <a:lnTo>
                      <a:pt x="27613" y="273845"/>
                    </a:lnTo>
                    <a:lnTo>
                      <a:pt x="17528" y="265742"/>
                    </a:lnTo>
                    <a:lnTo>
                      <a:pt x="15072" y="266193"/>
                    </a:lnTo>
                    <a:lnTo>
                      <a:pt x="14702" y="267874"/>
                    </a:lnTo>
                    <a:lnTo>
                      <a:pt x="16658" y="277210"/>
                    </a:lnTo>
                    <a:lnTo>
                      <a:pt x="0" y="267331"/>
                    </a:lnTo>
                    <a:lnTo>
                      <a:pt x="225" y="260330"/>
                    </a:lnTo>
                    <a:lnTo>
                      <a:pt x="3221" y="258071"/>
                    </a:lnTo>
                    <a:lnTo>
                      <a:pt x="4462" y="253720"/>
                    </a:lnTo>
                    <a:lnTo>
                      <a:pt x="2785" y="247569"/>
                    </a:lnTo>
                    <a:lnTo>
                      <a:pt x="7843" y="239898"/>
                    </a:lnTo>
                    <a:lnTo>
                      <a:pt x="8070" y="234803"/>
                    </a:lnTo>
                    <a:lnTo>
                      <a:pt x="10328" y="233525"/>
                    </a:lnTo>
                    <a:lnTo>
                      <a:pt x="15245" y="235082"/>
                    </a:lnTo>
                    <a:lnTo>
                      <a:pt x="22145" y="221876"/>
                    </a:lnTo>
                    <a:lnTo>
                      <a:pt x="18859" y="204877"/>
                    </a:lnTo>
                    <a:lnTo>
                      <a:pt x="18623" y="203695"/>
                    </a:lnTo>
                    <a:lnTo>
                      <a:pt x="18468" y="203202"/>
                    </a:lnTo>
                    <a:lnTo>
                      <a:pt x="18467" y="203197"/>
                    </a:lnTo>
                    <a:lnTo>
                      <a:pt x="26798" y="197178"/>
                    </a:lnTo>
                    <a:lnTo>
                      <a:pt x="29575" y="193193"/>
                    </a:lnTo>
                    <a:lnTo>
                      <a:pt x="10176" y="193079"/>
                    </a:lnTo>
                    <a:lnTo>
                      <a:pt x="1877" y="189412"/>
                    </a:lnTo>
                    <a:lnTo>
                      <a:pt x="16940" y="165614"/>
                    </a:lnTo>
                    <a:lnTo>
                      <a:pt x="18831" y="150403"/>
                    </a:lnTo>
                    <a:lnTo>
                      <a:pt x="13729" y="131859"/>
                    </a:lnTo>
                    <a:lnTo>
                      <a:pt x="2350" y="118277"/>
                    </a:lnTo>
                    <a:lnTo>
                      <a:pt x="22965" y="110215"/>
                    </a:lnTo>
                    <a:lnTo>
                      <a:pt x="26658" y="109753"/>
                    </a:lnTo>
                    <a:lnTo>
                      <a:pt x="29630" y="112064"/>
                    </a:lnTo>
                    <a:lnTo>
                      <a:pt x="31337" y="112704"/>
                    </a:lnTo>
                    <a:lnTo>
                      <a:pt x="32038" y="110987"/>
                    </a:lnTo>
                    <a:lnTo>
                      <a:pt x="32780" y="108681"/>
                    </a:lnTo>
                    <a:lnTo>
                      <a:pt x="34521" y="106709"/>
                    </a:lnTo>
                    <a:lnTo>
                      <a:pt x="36540" y="105230"/>
                    </a:lnTo>
                    <a:lnTo>
                      <a:pt x="38143" y="104409"/>
                    </a:lnTo>
                    <a:lnTo>
                      <a:pt x="35577" y="100138"/>
                    </a:lnTo>
                    <a:lnTo>
                      <a:pt x="43327" y="92052"/>
                    </a:lnTo>
                    <a:lnTo>
                      <a:pt x="44262" y="85856"/>
                    </a:lnTo>
                    <a:lnTo>
                      <a:pt x="40367" y="88811"/>
                    </a:lnTo>
                    <a:lnTo>
                      <a:pt x="36487" y="90398"/>
                    </a:lnTo>
                    <a:lnTo>
                      <a:pt x="29611" y="91197"/>
                    </a:lnTo>
                    <a:lnTo>
                      <a:pt x="28525" y="90210"/>
                    </a:lnTo>
                    <a:lnTo>
                      <a:pt x="24920" y="81981"/>
                    </a:lnTo>
                    <a:lnTo>
                      <a:pt x="24424" y="79015"/>
                    </a:lnTo>
                    <a:lnTo>
                      <a:pt x="25961" y="76842"/>
                    </a:lnTo>
                    <a:lnTo>
                      <a:pt x="28302" y="74944"/>
                    </a:lnTo>
                    <a:lnTo>
                      <a:pt x="30241" y="72939"/>
                    </a:lnTo>
                    <a:lnTo>
                      <a:pt x="34531" y="64696"/>
                    </a:lnTo>
                    <a:lnTo>
                      <a:pt x="37595" y="61080"/>
                    </a:lnTo>
                    <a:lnTo>
                      <a:pt x="44766" y="58035"/>
                    </a:lnTo>
                    <a:lnTo>
                      <a:pt x="47332" y="54204"/>
                    </a:lnTo>
                    <a:lnTo>
                      <a:pt x="51546" y="44075"/>
                    </a:lnTo>
                    <a:lnTo>
                      <a:pt x="47725" y="38497"/>
                    </a:lnTo>
                    <a:lnTo>
                      <a:pt x="42354" y="27954"/>
                    </a:lnTo>
                    <a:lnTo>
                      <a:pt x="42351" y="27948"/>
                    </a:lnTo>
                    <a:lnTo>
                      <a:pt x="42723" y="27769"/>
                    </a:lnTo>
                    <a:lnTo>
                      <a:pt x="47930" y="25631"/>
                    </a:lnTo>
                    <a:lnTo>
                      <a:pt x="52147" y="19007"/>
                    </a:lnTo>
                    <a:lnTo>
                      <a:pt x="65410" y="21854"/>
                    </a:lnTo>
                    <a:lnTo>
                      <a:pt x="70827" y="28909"/>
                    </a:lnTo>
                    <a:lnTo>
                      <a:pt x="79365" y="31052"/>
                    </a:lnTo>
                    <a:lnTo>
                      <a:pt x="81326" y="29549"/>
                    </a:lnTo>
                    <a:lnTo>
                      <a:pt x="82457" y="25074"/>
                    </a:lnTo>
                    <a:lnTo>
                      <a:pt x="88821" y="15446"/>
                    </a:lnTo>
                    <a:lnTo>
                      <a:pt x="100316" y="16475"/>
                    </a:lnTo>
                    <a:lnTo>
                      <a:pt x="110323" y="11572"/>
                    </a:lnTo>
                    <a:lnTo>
                      <a:pt x="126674"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61" name="Freeform 122">
                <a:extLst>
                  <a:ext uri="{FF2B5EF4-FFF2-40B4-BE49-F238E27FC236}">
                    <a16:creationId xmlns:a16="http://schemas.microsoft.com/office/drawing/2014/main" id="{0E019949-B9D5-0E70-0597-D7125BD108C5}"/>
                  </a:ext>
                </a:extLst>
              </p:cNvPr>
              <p:cNvSpPr>
                <a:spLocks noChangeAspect="1"/>
              </p:cNvSpPr>
              <p:nvPr>
                <p:custDataLst>
                  <p:tags r:id="rId97"/>
                </p:custDataLst>
              </p:nvPr>
            </p:nvSpPr>
            <p:spPr>
              <a:xfrm>
                <a:off x="5044076" y="4109419"/>
                <a:ext cx="278537" cy="220487"/>
              </a:xfrm>
              <a:custGeom>
                <a:avLst/>
                <a:gdLst/>
                <a:ahLst/>
                <a:cxnLst/>
                <a:rect l="0" t="0" r="0" b="0"/>
                <a:pathLst>
                  <a:path w="285983" h="226381">
                    <a:moveTo>
                      <a:pt x="192668" y="12357"/>
                    </a:moveTo>
                    <a:lnTo>
                      <a:pt x="195481" y="9677"/>
                    </a:lnTo>
                    <a:lnTo>
                      <a:pt x="197328" y="5005"/>
                    </a:lnTo>
                    <a:lnTo>
                      <a:pt x="197460" y="4713"/>
                    </a:lnTo>
                    <a:lnTo>
                      <a:pt x="197466" y="4698"/>
                    </a:lnTo>
                    <a:lnTo>
                      <a:pt x="217607" y="11741"/>
                    </a:lnTo>
                    <a:lnTo>
                      <a:pt x="225994" y="18783"/>
                    </a:lnTo>
                    <a:lnTo>
                      <a:pt x="206720" y="30683"/>
                    </a:lnTo>
                    <a:lnTo>
                      <a:pt x="200201" y="39048"/>
                    </a:lnTo>
                    <a:lnTo>
                      <a:pt x="195337" y="54402"/>
                    </a:lnTo>
                    <a:lnTo>
                      <a:pt x="200770" y="64846"/>
                    </a:lnTo>
                    <a:lnTo>
                      <a:pt x="208369" y="89542"/>
                    </a:lnTo>
                    <a:lnTo>
                      <a:pt x="212851" y="100821"/>
                    </a:lnTo>
                    <a:lnTo>
                      <a:pt x="238469" y="137138"/>
                    </a:lnTo>
                    <a:lnTo>
                      <a:pt x="281774" y="195667"/>
                    </a:lnTo>
                    <a:lnTo>
                      <a:pt x="285982" y="208097"/>
                    </a:lnTo>
                    <a:lnTo>
                      <a:pt x="283805" y="220632"/>
                    </a:lnTo>
                    <a:lnTo>
                      <a:pt x="282586" y="222110"/>
                    </a:lnTo>
                    <a:lnTo>
                      <a:pt x="277899" y="226380"/>
                    </a:lnTo>
                    <a:lnTo>
                      <a:pt x="282234" y="214374"/>
                    </a:lnTo>
                    <a:lnTo>
                      <a:pt x="282959" y="207845"/>
                    </a:lnTo>
                    <a:lnTo>
                      <a:pt x="279242" y="205184"/>
                    </a:lnTo>
                    <a:lnTo>
                      <a:pt x="274465" y="203822"/>
                    </a:lnTo>
                    <a:lnTo>
                      <a:pt x="264310" y="197073"/>
                    </a:lnTo>
                    <a:lnTo>
                      <a:pt x="259323" y="195483"/>
                    </a:lnTo>
                    <a:lnTo>
                      <a:pt x="254920" y="196773"/>
                    </a:lnTo>
                    <a:lnTo>
                      <a:pt x="246420" y="202699"/>
                    </a:lnTo>
                    <a:lnTo>
                      <a:pt x="241701" y="204187"/>
                    </a:lnTo>
                    <a:lnTo>
                      <a:pt x="236159" y="203925"/>
                    </a:lnTo>
                    <a:lnTo>
                      <a:pt x="230909" y="202602"/>
                    </a:lnTo>
                    <a:lnTo>
                      <a:pt x="226189" y="200351"/>
                    </a:lnTo>
                    <a:lnTo>
                      <a:pt x="222097" y="197274"/>
                    </a:lnTo>
                    <a:lnTo>
                      <a:pt x="199260" y="170079"/>
                    </a:lnTo>
                    <a:lnTo>
                      <a:pt x="191083" y="164520"/>
                    </a:lnTo>
                    <a:lnTo>
                      <a:pt x="183065" y="163589"/>
                    </a:lnTo>
                    <a:lnTo>
                      <a:pt x="182834" y="162257"/>
                    </a:lnTo>
                    <a:lnTo>
                      <a:pt x="182075" y="158852"/>
                    </a:lnTo>
                    <a:lnTo>
                      <a:pt x="179542" y="153755"/>
                    </a:lnTo>
                    <a:lnTo>
                      <a:pt x="176267" y="149127"/>
                    </a:lnTo>
                    <a:lnTo>
                      <a:pt x="172000" y="145421"/>
                    </a:lnTo>
                    <a:lnTo>
                      <a:pt x="167610" y="144744"/>
                    </a:lnTo>
                    <a:lnTo>
                      <a:pt x="161743" y="145424"/>
                    </a:lnTo>
                    <a:lnTo>
                      <a:pt x="156994" y="148228"/>
                    </a:lnTo>
                    <a:lnTo>
                      <a:pt x="153031" y="151442"/>
                    </a:lnTo>
                    <a:lnTo>
                      <a:pt x="149347" y="161146"/>
                    </a:lnTo>
                    <a:lnTo>
                      <a:pt x="148936" y="169840"/>
                    </a:lnTo>
                    <a:lnTo>
                      <a:pt x="148676" y="174453"/>
                    </a:lnTo>
                    <a:lnTo>
                      <a:pt x="148670" y="174453"/>
                    </a:lnTo>
                    <a:lnTo>
                      <a:pt x="134936" y="175030"/>
                    </a:lnTo>
                    <a:lnTo>
                      <a:pt x="127344" y="177196"/>
                    </a:lnTo>
                    <a:lnTo>
                      <a:pt x="125717" y="176609"/>
                    </a:lnTo>
                    <a:lnTo>
                      <a:pt x="119904" y="171305"/>
                    </a:lnTo>
                    <a:lnTo>
                      <a:pt x="119207" y="170446"/>
                    </a:lnTo>
                    <a:lnTo>
                      <a:pt x="106077" y="169433"/>
                    </a:lnTo>
                    <a:lnTo>
                      <a:pt x="101321" y="171162"/>
                    </a:lnTo>
                    <a:lnTo>
                      <a:pt x="86332" y="182202"/>
                    </a:lnTo>
                    <a:lnTo>
                      <a:pt x="88421" y="182869"/>
                    </a:lnTo>
                    <a:lnTo>
                      <a:pt x="90451" y="183911"/>
                    </a:lnTo>
                    <a:lnTo>
                      <a:pt x="92403" y="185329"/>
                    </a:lnTo>
                    <a:lnTo>
                      <a:pt x="92630" y="185551"/>
                    </a:lnTo>
                    <a:lnTo>
                      <a:pt x="92629" y="185558"/>
                    </a:lnTo>
                    <a:lnTo>
                      <a:pt x="92429" y="186741"/>
                    </a:lnTo>
                    <a:lnTo>
                      <a:pt x="91816" y="186469"/>
                    </a:lnTo>
                    <a:lnTo>
                      <a:pt x="87204" y="191340"/>
                    </a:lnTo>
                    <a:lnTo>
                      <a:pt x="77781" y="198794"/>
                    </a:lnTo>
                    <a:lnTo>
                      <a:pt x="68742" y="207858"/>
                    </a:lnTo>
                    <a:lnTo>
                      <a:pt x="60962" y="216347"/>
                    </a:lnTo>
                    <a:lnTo>
                      <a:pt x="57206" y="217018"/>
                    </a:lnTo>
                    <a:lnTo>
                      <a:pt x="56513" y="214386"/>
                    </a:lnTo>
                    <a:lnTo>
                      <a:pt x="57087" y="209375"/>
                    </a:lnTo>
                    <a:lnTo>
                      <a:pt x="38330" y="200704"/>
                    </a:lnTo>
                    <a:lnTo>
                      <a:pt x="25841" y="199966"/>
                    </a:lnTo>
                    <a:lnTo>
                      <a:pt x="8454" y="205249"/>
                    </a:lnTo>
                    <a:lnTo>
                      <a:pt x="0" y="194901"/>
                    </a:lnTo>
                    <a:lnTo>
                      <a:pt x="3099" y="187893"/>
                    </a:lnTo>
                    <a:lnTo>
                      <a:pt x="3110" y="180237"/>
                    </a:lnTo>
                    <a:lnTo>
                      <a:pt x="19917" y="186901"/>
                    </a:lnTo>
                    <a:lnTo>
                      <a:pt x="28362" y="183627"/>
                    </a:lnTo>
                    <a:lnTo>
                      <a:pt x="37240" y="176636"/>
                    </a:lnTo>
                    <a:lnTo>
                      <a:pt x="41027" y="175435"/>
                    </a:lnTo>
                    <a:lnTo>
                      <a:pt x="33219" y="170298"/>
                    </a:lnTo>
                    <a:lnTo>
                      <a:pt x="32146" y="168003"/>
                    </a:lnTo>
                    <a:lnTo>
                      <a:pt x="38464" y="158098"/>
                    </a:lnTo>
                    <a:lnTo>
                      <a:pt x="38864" y="149914"/>
                    </a:lnTo>
                    <a:lnTo>
                      <a:pt x="41068" y="142929"/>
                    </a:lnTo>
                    <a:lnTo>
                      <a:pt x="35999" y="132489"/>
                    </a:lnTo>
                    <a:lnTo>
                      <a:pt x="35703" y="120081"/>
                    </a:lnTo>
                    <a:lnTo>
                      <a:pt x="35486" y="110940"/>
                    </a:lnTo>
                    <a:lnTo>
                      <a:pt x="39097" y="90953"/>
                    </a:lnTo>
                    <a:lnTo>
                      <a:pt x="36758" y="81374"/>
                    </a:lnTo>
                    <a:lnTo>
                      <a:pt x="37122" y="80314"/>
                    </a:lnTo>
                    <a:lnTo>
                      <a:pt x="39140" y="74491"/>
                    </a:lnTo>
                    <a:lnTo>
                      <a:pt x="45313" y="66523"/>
                    </a:lnTo>
                    <a:lnTo>
                      <a:pt x="79975" y="59480"/>
                    </a:lnTo>
                    <a:lnTo>
                      <a:pt x="87344" y="64512"/>
                    </a:lnTo>
                    <a:lnTo>
                      <a:pt x="94897" y="64651"/>
                    </a:lnTo>
                    <a:lnTo>
                      <a:pt x="95258" y="57839"/>
                    </a:lnTo>
                    <a:lnTo>
                      <a:pt x="100695" y="54858"/>
                    </a:lnTo>
                    <a:lnTo>
                      <a:pt x="101154" y="48989"/>
                    </a:lnTo>
                    <a:lnTo>
                      <a:pt x="99403" y="45778"/>
                    </a:lnTo>
                    <a:lnTo>
                      <a:pt x="100223" y="44679"/>
                    </a:lnTo>
                    <a:lnTo>
                      <a:pt x="108373" y="40954"/>
                    </a:lnTo>
                    <a:lnTo>
                      <a:pt x="115579" y="34178"/>
                    </a:lnTo>
                    <a:lnTo>
                      <a:pt x="120691" y="32903"/>
                    </a:lnTo>
                    <a:lnTo>
                      <a:pt x="128481" y="34182"/>
                    </a:lnTo>
                    <a:lnTo>
                      <a:pt x="143019" y="24430"/>
                    </a:lnTo>
                    <a:lnTo>
                      <a:pt x="144028" y="21728"/>
                    </a:lnTo>
                    <a:lnTo>
                      <a:pt x="142326" y="18194"/>
                    </a:lnTo>
                    <a:lnTo>
                      <a:pt x="148417" y="12191"/>
                    </a:lnTo>
                    <a:lnTo>
                      <a:pt x="149017" y="2924"/>
                    </a:lnTo>
                    <a:lnTo>
                      <a:pt x="152872" y="0"/>
                    </a:lnTo>
                    <a:lnTo>
                      <a:pt x="158344" y="1465"/>
                    </a:lnTo>
                    <a:lnTo>
                      <a:pt x="162832" y="7416"/>
                    </a:lnTo>
                    <a:lnTo>
                      <a:pt x="172547" y="8806"/>
                    </a:lnTo>
                    <a:lnTo>
                      <a:pt x="176599" y="1192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62" name="Freeform 123">
                <a:extLst>
                  <a:ext uri="{FF2B5EF4-FFF2-40B4-BE49-F238E27FC236}">
                    <a16:creationId xmlns:a16="http://schemas.microsoft.com/office/drawing/2014/main" id="{CB5E9DE5-7FF2-5360-8F79-5084894E1592}"/>
                  </a:ext>
                </a:extLst>
              </p:cNvPr>
              <p:cNvSpPr>
                <a:spLocks noChangeAspect="1"/>
              </p:cNvSpPr>
              <p:nvPr>
                <p:custDataLst>
                  <p:tags r:id="rId98"/>
                </p:custDataLst>
              </p:nvPr>
            </p:nvSpPr>
            <p:spPr>
              <a:xfrm>
                <a:off x="4497812" y="4428351"/>
                <a:ext cx="109946" cy="184030"/>
              </a:xfrm>
              <a:custGeom>
                <a:avLst/>
                <a:gdLst/>
                <a:ahLst/>
                <a:cxnLst/>
                <a:rect l="0" t="0" r="0" b="0"/>
                <a:pathLst>
                  <a:path w="112885" h="188949">
                    <a:moveTo>
                      <a:pt x="50482" y="2424"/>
                    </a:moveTo>
                    <a:lnTo>
                      <a:pt x="50506" y="2424"/>
                    </a:lnTo>
                    <a:lnTo>
                      <a:pt x="48134" y="7244"/>
                    </a:lnTo>
                    <a:lnTo>
                      <a:pt x="46673" y="20532"/>
                    </a:lnTo>
                    <a:lnTo>
                      <a:pt x="48440" y="22999"/>
                    </a:lnTo>
                    <a:lnTo>
                      <a:pt x="54032" y="25443"/>
                    </a:lnTo>
                    <a:lnTo>
                      <a:pt x="56103" y="29884"/>
                    </a:lnTo>
                    <a:lnTo>
                      <a:pt x="56108" y="34305"/>
                    </a:lnTo>
                    <a:lnTo>
                      <a:pt x="54638" y="40210"/>
                    </a:lnTo>
                    <a:lnTo>
                      <a:pt x="54645" y="46114"/>
                    </a:lnTo>
                    <a:lnTo>
                      <a:pt x="56128" y="50555"/>
                    </a:lnTo>
                    <a:lnTo>
                      <a:pt x="59375" y="55961"/>
                    </a:lnTo>
                    <a:lnTo>
                      <a:pt x="65883" y="66780"/>
                    </a:lnTo>
                    <a:lnTo>
                      <a:pt x="72095" y="74142"/>
                    </a:lnTo>
                    <a:lnTo>
                      <a:pt x="76529" y="76105"/>
                    </a:lnTo>
                    <a:lnTo>
                      <a:pt x="81254" y="76093"/>
                    </a:lnTo>
                    <a:lnTo>
                      <a:pt x="85678" y="76080"/>
                    </a:lnTo>
                    <a:lnTo>
                      <a:pt x="90408" y="77546"/>
                    </a:lnTo>
                    <a:lnTo>
                      <a:pt x="92487" y="80995"/>
                    </a:lnTo>
                    <a:lnTo>
                      <a:pt x="95769" y="89334"/>
                    </a:lnTo>
                    <a:lnTo>
                      <a:pt x="101122" y="100153"/>
                    </a:lnTo>
                    <a:lnTo>
                      <a:pt x="106288" y="108662"/>
                    </a:lnTo>
                    <a:lnTo>
                      <a:pt x="104133" y="111455"/>
                    </a:lnTo>
                    <a:lnTo>
                      <a:pt x="102119" y="125738"/>
                    </a:lnTo>
                    <a:lnTo>
                      <a:pt x="102156" y="135096"/>
                    </a:lnTo>
                    <a:lnTo>
                      <a:pt x="105129" y="139506"/>
                    </a:lnTo>
                    <a:lnTo>
                      <a:pt x="109293" y="142943"/>
                    </a:lnTo>
                    <a:lnTo>
                      <a:pt x="112884" y="147843"/>
                    </a:lnTo>
                    <a:lnTo>
                      <a:pt x="100448" y="152812"/>
                    </a:lnTo>
                    <a:lnTo>
                      <a:pt x="88594" y="157781"/>
                    </a:lnTo>
                    <a:lnTo>
                      <a:pt x="80586" y="158792"/>
                    </a:lnTo>
                    <a:lnTo>
                      <a:pt x="69606" y="159300"/>
                    </a:lnTo>
                    <a:lnTo>
                      <a:pt x="63078" y="159807"/>
                    </a:lnTo>
                    <a:lnTo>
                      <a:pt x="55968" y="167201"/>
                    </a:lnTo>
                    <a:lnTo>
                      <a:pt x="48847" y="176566"/>
                    </a:lnTo>
                    <a:lnTo>
                      <a:pt x="44781" y="184841"/>
                    </a:lnTo>
                    <a:lnTo>
                      <a:pt x="34301" y="188948"/>
                    </a:lnTo>
                    <a:lnTo>
                      <a:pt x="26491" y="186912"/>
                    </a:lnTo>
                    <a:lnTo>
                      <a:pt x="26880" y="174830"/>
                    </a:lnTo>
                    <a:lnTo>
                      <a:pt x="30468" y="171238"/>
                    </a:lnTo>
                    <a:lnTo>
                      <a:pt x="31041" y="168573"/>
                    </a:lnTo>
                    <a:lnTo>
                      <a:pt x="29958" y="166243"/>
                    </a:lnTo>
                    <a:lnTo>
                      <a:pt x="27016" y="165708"/>
                    </a:lnTo>
                    <a:lnTo>
                      <a:pt x="24973" y="159645"/>
                    </a:lnTo>
                    <a:lnTo>
                      <a:pt x="34700" y="149996"/>
                    </a:lnTo>
                    <a:lnTo>
                      <a:pt x="37251" y="145337"/>
                    </a:lnTo>
                    <a:lnTo>
                      <a:pt x="36550" y="144270"/>
                    </a:lnTo>
                    <a:lnTo>
                      <a:pt x="29647" y="142472"/>
                    </a:lnTo>
                    <a:lnTo>
                      <a:pt x="28469" y="143182"/>
                    </a:lnTo>
                    <a:lnTo>
                      <a:pt x="27483" y="130803"/>
                    </a:lnTo>
                    <a:lnTo>
                      <a:pt x="26895" y="121443"/>
                    </a:lnTo>
                    <a:lnTo>
                      <a:pt x="24829" y="112577"/>
                    </a:lnTo>
                    <a:lnTo>
                      <a:pt x="18616" y="106175"/>
                    </a:lnTo>
                    <a:lnTo>
                      <a:pt x="15665" y="103703"/>
                    </a:lnTo>
                    <a:lnTo>
                      <a:pt x="8571" y="103199"/>
                    </a:lnTo>
                    <a:lnTo>
                      <a:pt x="0" y="100733"/>
                    </a:lnTo>
                    <a:lnTo>
                      <a:pt x="20127" y="79107"/>
                    </a:lnTo>
                    <a:lnTo>
                      <a:pt x="25447" y="69261"/>
                    </a:lnTo>
                    <a:lnTo>
                      <a:pt x="25453" y="60394"/>
                    </a:lnTo>
                    <a:lnTo>
                      <a:pt x="24873" y="53010"/>
                    </a:lnTo>
                    <a:lnTo>
                      <a:pt x="21633" y="45633"/>
                    </a:lnTo>
                    <a:lnTo>
                      <a:pt x="18392" y="42184"/>
                    </a:lnTo>
                    <a:lnTo>
                      <a:pt x="15454" y="38724"/>
                    </a:lnTo>
                    <a:lnTo>
                      <a:pt x="15755" y="34797"/>
                    </a:lnTo>
                    <a:lnTo>
                      <a:pt x="16053" y="31836"/>
                    </a:lnTo>
                    <a:lnTo>
                      <a:pt x="16360" y="22991"/>
                    </a:lnTo>
                    <a:lnTo>
                      <a:pt x="16633" y="16909"/>
                    </a:lnTo>
                    <a:lnTo>
                      <a:pt x="16681" y="16139"/>
                    </a:lnTo>
                    <a:lnTo>
                      <a:pt x="16682" y="16125"/>
                    </a:lnTo>
                    <a:lnTo>
                      <a:pt x="48955" y="97"/>
                    </a:lnTo>
                    <a:lnTo>
                      <a:pt x="51609" y="0"/>
                    </a:lnTo>
                    <a:lnTo>
                      <a:pt x="51600" y="14"/>
                    </a:lnTo>
                    <a:lnTo>
                      <a:pt x="51418" y="301"/>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63" name="Freeform 124">
                <a:extLst>
                  <a:ext uri="{FF2B5EF4-FFF2-40B4-BE49-F238E27FC236}">
                    <a16:creationId xmlns:a16="http://schemas.microsoft.com/office/drawing/2014/main" id="{8F5B3207-9281-F29A-E624-BCDD5C3B116E}"/>
                  </a:ext>
                </a:extLst>
              </p:cNvPr>
              <p:cNvSpPr>
                <a:spLocks noChangeAspect="1"/>
              </p:cNvSpPr>
              <p:nvPr>
                <p:custDataLst>
                  <p:tags r:id="rId99"/>
                </p:custDataLst>
              </p:nvPr>
            </p:nvSpPr>
            <p:spPr>
              <a:xfrm>
                <a:off x="4543270" y="4428103"/>
                <a:ext cx="105033" cy="106081"/>
              </a:xfrm>
              <a:custGeom>
                <a:avLst/>
                <a:gdLst/>
                <a:ahLst/>
                <a:cxnLst/>
                <a:rect l="0" t="0" r="0" b="0"/>
                <a:pathLst>
                  <a:path w="107841" h="108917">
                    <a:moveTo>
                      <a:pt x="68037" y="35442"/>
                    </a:moveTo>
                    <a:lnTo>
                      <a:pt x="72131" y="37462"/>
                    </a:lnTo>
                    <a:lnTo>
                      <a:pt x="80759" y="39015"/>
                    </a:lnTo>
                    <a:lnTo>
                      <a:pt x="82873" y="39901"/>
                    </a:lnTo>
                    <a:lnTo>
                      <a:pt x="97634" y="51726"/>
                    </a:lnTo>
                    <a:lnTo>
                      <a:pt x="105274" y="60093"/>
                    </a:lnTo>
                    <a:lnTo>
                      <a:pt x="106303" y="61694"/>
                    </a:lnTo>
                    <a:lnTo>
                      <a:pt x="107331" y="63919"/>
                    </a:lnTo>
                    <a:lnTo>
                      <a:pt x="107840" y="67243"/>
                    </a:lnTo>
                    <a:lnTo>
                      <a:pt x="107598" y="68992"/>
                    </a:lnTo>
                    <a:lnTo>
                      <a:pt x="106979" y="70140"/>
                    </a:lnTo>
                    <a:lnTo>
                      <a:pt x="98514" y="75649"/>
                    </a:lnTo>
                    <a:lnTo>
                      <a:pt x="97739" y="76544"/>
                    </a:lnTo>
                    <a:lnTo>
                      <a:pt x="97421" y="77849"/>
                    </a:lnTo>
                    <a:lnTo>
                      <a:pt x="97527" y="78819"/>
                    </a:lnTo>
                    <a:lnTo>
                      <a:pt x="97393" y="78856"/>
                    </a:lnTo>
                    <a:lnTo>
                      <a:pt x="89529" y="81039"/>
                    </a:lnTo>
                    <a:lnTo>
                      <a:pt x="75412" y="93420"/>
                    </a:lnTo>
                    <a:lnTo>
                      <a:pt x="63933" y="103309"/>
                    </a:lnTo>
                    <a:lnTo>
                      <a:pt x="59615" y="108916"/>
                    </a:lnTo>
                    <a:lnTo>
                      <a:pt x="54449" y="100407"/>
                    </a:lnTo>
                    <a:lnTo>
                      <a:pt x="49096" y="89588"/>
                    </a:lnTo>
                    <a:lnTo>
                      <a:pt x="45814" y="81249"/>
                    </a:lnTo>
                    <a:lnTo>
                      <a:pt x="43735" y="77800"/>
                    </a:lnTo>
                    <a:lnTo>
                      <a:pt x="39005" y="76334"/>
                    </a:lnTo>
                    <a:lnTo>
                      <a:pt x="34581" y="76347"/>
                    </a:lnTo>
                    <a:lnTo>
                      <a:pt x="29856" y="76359"/>
                    </a:lnTo>
                    <a:lnTo>
                      <a:pt x="25422" y="74396"/>
                    </a:lnTo>
                    <a:lnTo>
                      <a:pt x="19210" y="67034"/>
                    </a:lnTo>
                    <a:lnTo>
                      <a:pt x="12702" y="56215"/>
                    </a:lnTo>
                    <a:lnTo>
                      <a:pt x="9455" y="50809"/>
                    </a:lnTo>
                    <a:lnTo>
                      <a:pt x="7972" y="46368"/>
                    </a:lnTo>
                    <a:lnTo>
                      <a:pt x="7965" y="40464"/>
                    </a:lnTo>
                    <a:lnTo>
                      <a:pt x="9435" y="34559"/>
                    </a:lnTo>
                    <a:lnTo>
                      <a:pt x="9430" y="30138"/>
                    </a:lnTo>
                    <a:lnTo>
                      <a:pt x="7359" y="25697"/>
                    </a:lnTo>
                    <a:lnTo>
                      <a:pt x="1767" y="23253"/>
                    </a:lnTo>
                    <a:lnTo>
                      <a:pt x="0" y="20786"/>
                    </a:lnTo>
                    <a:lnTo>
                      <a:pt x="1461" y="7498"/>
                    </a:lnTo>
                    <a:lnTo>
                      <a:pt x="3833" y="2678"/>
                    </a:lnTo>
                    <a:lnTo>
                      <a:pt x="3809" y="2678"/>
                    </a:lnTo>
                    <a:lnTo>
                      <a:pt x="4745" y="555"/>
                    </a:lnTo>
                    <a:lnTo>
                      <a:pt x="4927" y="268"/>
                    </a:lnTo>
                    <a:lnTo>
                      <a:pt x="4936" y="254"/>
                    </a:lnTo>
                    <a:lnTo>
                      <a:pt x="11805" y="0"/>
                    </a:lnTo>
                    <a:lnTo>
                      <a:pt x="20463" y="4292"/>
                    </a:lnTo>
                    <a:lnTo>
                      <a:pt x="25281" y="8092"/>
                    </a:lnTo>
                    <a:lnTo>
                      <a:pt x="27397" y="11926"/>
                    </a:lnTo>
                    <a:lnTo>
                      <a:pt x="29978" y="14952"/>
                    </a:lnTo>
                    <a:lnTo>
                      <a:pt x="59417" y="34068"/>
                    </a:lnTo>
                    <a:lnTo>
                      <a:pt x="62793" y="38017"/>
                    </a:lnTo>
                    <a:lnTo>
                      <a:pt x="65652" y="42808"/>
                    </a:lnTo>
                    <a:lnTo>
                      <a:pt x="67345" y="44572"/>
                    </a:lnTo>
                    <a:lnTo>
                      <a:pt x="68074" y="43076"/>
                    </a:lnTo>
                    <a:lnTo>
                      <a:pt x="68037" y="3544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64" name="Freeform 125">
                <a:extLst>
                  <a:ext uri="{FF2B5EF4-FFF2-40B4-BE49-F238E27FC236}">
                    <a16:creationId xmlns:a16="http://schemas.microsoft.com/office/drawing/2014/main" id="{EA63FE30-93F3-6FC2-D40D-BAD07421E71B}"/>
                  </a:ext>
                </a:extLst>
              </p:cNvPr>
              <p:cNvSpPr>
                <a:spLocks noChangeAspect="1"/>
              </p:cNvSpPr>
              <p:nvPr>
                <p:custDataLst>
                  <p:tags r:id="rId100"/>
                </p:custDataLst>
              </p:nvPr>
            </p:nvSpPr>
            <p:spPr>
              <a:xfrm>
                <a:off x="4541427" y="4504870"/>
                <a:ext cx="151287" cy="136300"/>
              </a:xfrm>
              <a:custGeom>
                <a:avLst/>
                <a:gdLst/>
                <a:ahLst/>
                <a:cxnLst/>
                <a:rect l="0" t="0" r="0" b="0"/>
                <a:pathLst>
                  <a:path w="155331" h="139944">
                    <a:moveTo>
                      <a:pt x="152591" y="67593"/>
                    </a:moveTo>
                    <a:lnTo>
                      <a:pt x="152692" y="67653"/>
                    </a:lnTo>
                    <a:lnTo>
                      <a:pt x="153245" y="70719"/>
                    </a:lnTo>
                    <a:lnTo>
                      <a:pt x="154708" y="74307"/>
                    </a:lnTo>
                    <a:lnTo>
                      <a:pt x="155114" y="75585"/>
                    </a:lnTo>
                    <a:lnTo>
                      <a:pt x="155330" y="77025"/>
                    </a:lnTo>
                    <a:lnTo>
                      <a:pt x="155273" y="83205"/>
                    </a:lnTo>
                    <a:lnTo>
                      <a:pt x="155074" y="84737"/>
                    </a:lnTo>
                    <a:lnTo>
                      <a:pt x="154205" y="86060"/>
                    </a:lnTo>
                    <a:lnTo>
                      <a:pt x="152760" y="86845"/>
                    </a:lnTo>
                    <a:lnTo>
                      <a:pt x="149682" y="87566"/>
                    </a:lnTo>
                    <a:lnTo>
                      <a:pt x="147395" y="88674"/>
                    </a:lnTo>
                    <a:lnTo>
                      <a:pt x="142735" y="92271"/>
                    </a:lnTo>
                    <a:lnTo>
                      <a:pt x="140906" y="92910"/>
                    </a:lnTo>
                    <a:lnTo>
                      <a:pt x="138709" y="92347"/>
                    </a:lnTo>
                    <a:lnTo>
                      <a:pt x="137309" y="91659"/>
                    </a:lnTo>
                    <a:lnTo>
                      <a:pt x="125008" y="79020"/>
                    </a:lnTo>
                    <a:lnTo>
                      <a:pt x="123807" y="78339"/>
                    </a:lnTo>
                    <a:lnTo>
                      <a:pt x="121057" y="77581"/>
                    </a:lnTo>
                    <a:lnTo>
                      <a:pt x="118081" y="77495"/>
                    </a:lnTo>
                    <a:lnTo>
                      <a:pt x="109079" y="80357"/>
                    </a:lnTo>
                    <a:lnTo>
                      <a:pt x="107057" y="80589"/>
                    </a:lnTo>
                    <a:lnTo>
                      <a:pt x="105436" y="80323"/>
                    </a:lnTo>
                    <a:lnTo>
                      <a:pt x="104379" y="79718"/>
                    </a:lnTo>
                    <a:lnTo>
                      <a:pt x="103438" y="78847"/>
                    </a:lnTo>
                    <a:lnTo>
                      <a:pt x="99545" y="74164"/>
                    </a:lnTo>
                    <a:lnTo>
                      <a:pt x="98483" y="73609"/>
                    </a:lnTo>
                    <a:lnTo>
                      <a:pt x="95760" y="73023"/>
                    </a:lnTo>
                    <a:lnTo>
                      <a:pt x="91609" y="73268"/>
                    </a:lnTo>
                    <a:lnTo>
                      <a:pt x="89058" y="74477"/>
                    </a:lnTo>
                    <a:lnTo>
                      <a:pt x="77407" y="83496"/>
                    </a:lnTo>
                    <a:lnTo>
                      <a:pt x="76516" y="83936"/>
                    </a:lnTo>
                    <a:lnTo>
                      <a:pt x="75363" y="84168"/>
                    </a:lnTo>
                    <a:lnTo>
                      <a:pt x="74448" y="84617"/>
                    </a:lnTo>
                    <a:lnTo>
                      <a:pt x="71518" y="86882"/>
                    </a:lnTo>
                    <a:lnTo>
                      <a:pt x="70180" y="88439"/>
                    </a:lnTo>
                    <a:lnTo>
                      <a:pt x="68975" y="90527"/>
                    </a:lnTo>
                    <a:lnTo>
                      <a:pt x="67094" y="94604"/>
                    </a:lnTo>
                    <a:lnTo>
                      <a:pt x="65570" y="96278"/>
                    </a:lnTo>
                    <a:lnTo>
                      <a:pt x="64061" y="97313"/>
                    </a:lnTo>
                    <a:lnTo>
                      <a:pt x="61629" y="98291"/>
                    </a:lnTo>
                    <a:lnTo>
                      <a:pt x="60853" y="99548"/>
                    </a:lnTo>
                    <a:lnTo>
                      <a:pt x="60515" y="101305"/>
                    </a:lnTo>
                    <a:lnTo>
                      <a:pt x="61011" y="104453"/>
                    </a:lnTo>
                    <a:lnTo>
                      <a:pt x="61490" y="106297"/>
                    </a:lnTo>
                    <a:lnTo>
                      <a:pt x="62081" y="107953"/>
                    </a:lnTo>
                    <a:lnTo>
                      <a:pt x="62277" y="109295"/>
                    </a:lnTo>
                    <a:lnTo>
                      <a:pt x="62046" y="110884"/>
                    </a:lnTo>
                    <a:lnTo>
                      <a:pt x="60862" y="112864"/>
                    </a:lnTo>
                    <a:lnTo>
                      <a:pt x="57731" y="115888"/>
                    </a:lnTo>
                    <a:lnTo>
                      <a:pt x="56900" y="116917"/>
                    </a:lnTo>
                    <a:lnTo>
                      <a:pt x="55530" y="119164"/>
                    </a:lnTo>
                    <a:lnTo>
                      <a:pt x="55082" y="120498"/>
                    </a:lnTo>
                    <a:lnTo>
                      <a:pt x="55001" y="122769"/>
                    </a:lnTo>
                    <a:lnTo>
                      <a:pt x="55074" y="124645"/>
                    </a:lnTo>
                    <a:lnTo>
                      <a:pt x="57858" y="133280"/>
                    </a:lnTo>
                    <a:lnTo>
                      <a:pt x="57752" y="133291"/>
                    </a:lnTo>
                    <a:lnTo>
                      <a:pt x="46202" y="134500"/>
                    </a:lnTo>
                    <a:lnTo>
                      <a:pt x="34357" y="139943"/>
                    </a:lnTo>
                    <a:lnTo>
                      <a:pt x="29846" y="139422"/>
                    </a:lnTo>
                    <a:lnTo>
                      <a:pt x="28301" y="137511"/>
                    </a:lnTo>
                    <a:lnTo>
                      <a:pt x="29001" y="132947"/>
                    </a:lnTo>
                    <a:lnTo>
                      <a:pt x="23528" y="124470"/>
                    </a:lnTo>
                    <a:lnTo>
                      <a:pt x="21023" y="121711"/>
                    </a:lnTo>
                    <a:lnTo>
                      <a:pt x="4333" y="112926"/>
                    </a:lnTo>
                    <a:lnTo>
                      <a:pt x="3055" y="110815"/>
                    </a:lnTo>
                    <a:lnTo>
                      <a:pt x="3756" y="106036"/>
                    </a:lnTo>
                    <a:lnTo>
                      <a:pt x="2789" y="105189"/>
                    </a:lnTo>
                    <a:lnTo>
                      <a:pt x="0" y="106276"/>
                    </a:lnTo>
                    <a:lnTo>
                      <a:pt x="4066" y="98001"/>
                    </a:lnTo>
                    <a:lnTo>
                      <a:pt x="11187" y="88636"/>
                    </a:lnTo>
                    <a:lnTo>
                      <a:pt x="18297" y="81242"/>
                    </a:lnTo>
                    <a:lnTo>
                      <a:pt x="24825" y="80735"/>
                    </a:lnTo>
                    <a:lnTo>
                      <a:pt x="35805" y="80227"/>
                    </a:lnTo>
                    <a:lnTo>
                      <a:pt x="43813" y="79216"/>
                    </a:lnTo>
                    <a:lnTo>
                      <a:pt x="55667" y="74247"/>
                    </a:lnTo>
                    <a:lnTo>
                      <a:pt x="68103" y="69278"/>
                    </a:lnTo>
                    <a:lnTo>
                      <a:pt x="64512" y="64378"/>
                    </a:lnTo>
                    <a:lnTo>
                      <a:pt x="60348" y="60941"/>
                    </a:lnTo>
                    <a:lnTo>
                      <a:pt x="57375" y="56531"/>
                    </a:lnTo>
                    <a:lnTo>
                      <a:pt x="57338" y="47173"/>
                    </a:lnTo>
                    <a:lnTo>
                      <a:pt x="59352" y="32890"/>
                    </a:lnTo>
                    <a:lnTo>
                      <a:pt x="61507" y="30097"/>
                    </a:lnTo>
                    <a:lnTo>
                      <a:pt x="65825" y="24490"/>
                    </a:lnTo>
                    <a:lnTo>
                      <a:pt x="77304" y="14601"/>
                    </a:lnTo>
                    <a:lnTo>
                      <a:pt x="91421" y="2220"/>
                    </a:lnTo>
                    <a:lnTo>
                      <a:pt x="99285" y="37"/>
                    </a:lnTo>
                    <a:lnTo>
                      <a:pt x="99419" y="0"/>
                    </a:lnTo>
                    <a:lnTo>
                      <a:pt x="99452" y="303"/>
                    </a:lnTo>
                    <a:lnTo>
                      <a:pt x="100656" y="2357"/>
                    </a:lnTo>
                    <a:lnTo>
                      <a:pt x="111941" y="14390"/>
                    </a:lnTo>
                    <a:lnTo>
                      <a:pt x="113163" y="16089"/>
                    </a:lnTo>
                    <a:lnTo>
                      <a:pt x="119329" y="29783"/>
                    </a:lnTo>
                    <a:lnTo>
                      <a:pt x="120952" y="34777"/>
                    </a:lnTo>
                    <a:lnTo>
                      <a:pt x="122513" y="41497"/>
                    </a:lnTo>
                    <a:lnTo>
                      <a:pt x="122637" y="42898"/>
                    </a:lnTo>
                    <a:lnTo>
                      <a:pt x="122572" y="44419"/>
                    </a:lnTo>
                    <a:lnTo>
                      <a:pt x="123098" y="46340"/>
                    </a:lnTo>
                    <a:lnTo>
                      <a:pt x="124167" y="48502"/>
                    </a:lnTo>
                    <a:lnTo>
                      <a:pt x="129919" y="55030"/>
                    </a:lnTo>
                    <a:lnTo>
                      <a:pt x="131659" y="59023"/>
                    </a:lnTo>
                    <a:lnTo>
                      <a:pt x="132797" y="60020"/>
                    </a:lnTo>
                    <a:lnTo>
                      <a:pt x="134473" y="60725"/>
                    </a:lnTo>
                    <a:lnTo>
                      <a:pt x="143123" y="6195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65" name="Freeform 126">
                <a:extLst>
                  <a:ext uri="{FF2B5EF4-FFF2-40B4-BE49-F238E27FC236}">
                    <a16:creationId xmlns:a16="http://schemas.microsoft.com/office/drawing/2014/main" id="{78EB9E5E-88B1-DB2F-D0CE-0F952EC6EBA6}"/>
                  </a:ext>
                </a:extLst>
              </p:cNvPr>
              <p:cNvSpPr>
                <a:spLocks noChangeAspect="1"/>
              </p:cNvSpPr>
              <p:nvPr>
                <p:custDataLst>
                  <p:tags r:id="rId101"/>
                </p:custDataLst>
              </p:nvPr>
            </p:nvSpPr>
            <p:spPr>
              <a:xfrm>
                <a:off x="4251495" y="4398610"/>
                <a:ext cx="144803" cy="110689"/>
              </a:xfrm>
              <a:custGeom>
                <a:avLst/>
                <a:gdLst/>
                <a:ahLst/>
                <a:cxnLst/>
                <a:rect l="l" t="t" r="r" b="b"/>
                <a:pathLst>
                  <a:path w="148674" h="113648">
                    <a:moveTo>
                      <a:pt x="6226" y="38439"/>
                    </a:moveTo>
                    <a:lnTo>
                      <a:pt x="8855" y="40072"/>
                    </a:lnTo>
                    <a:lnTo>
                      <a:pt x="11472" y="40211"/>
                    </a:lnTo>
                    <a:lnTo>
                      <a:pt x="15567" y="39768"/>
                    </a:lnTo>
                    <a:lnTo>
                      <a:pt x="17233" y="41243"/>
                    </a:lnTo>
                    <a:lnTo>
                      <a:pt x="20613" y="44705"/>
                    </a:lnTo>
                    <a:lnTo>
                      <a:pt x="23603" y="48813"/>
                    </a:lnTo>
                    <a:lnTo>
                      <a:pt x="25702" y="53466"/>
                    </a:lnTo>
                    <a:lnTo>
                      <a:pt x="26456" y="58610"/>
                    </a:lnTo>
                    <a:lnTo>
                      <a:pt x="27454" y="60741"/>
                    </a:lnTo>
                    <a:lnTo>
                      <a:pt x="29425" y="63089"/>
                    </a:lnTo>
                    <a:lnTo>
                      <a:pt x="30634" y="66047"/>
                    </a:lnTo>
                    <a:lnTo>
                      <a:pt x="29386" y="70164"/>
                    </a:lnTo>
                    <a:lnTo>
                      <a:pt x="27482" y="71066"/>
                    </a:lnTo>
                    <a:lnTo>
                      <a:pt x="25209" y="70064"/>
                    </a:lnTo>
                    <a:lnTo>
                      <a:pt x="20589" y="65759"/>
                    </a:lnTo>
                    <a:lnTo>
                      <a:pt x="16076" y="56943"/>
                    </a:lnTo>
                    <a:lnTo>
                      <a:pt x="13891" y="54232"/>
                    </a:lnTo>
                    <a:lnTo>
                      <a:pt x="11892" y="53652"/>
                    </a:lnTo>
                    <a:lnTo>
                      <a:pt x="5246" y="54082"/>
                    </a:lnTo>
                    <a:lnTo>
                      <a:pt x="3829" y="53231"/>
                    </a:lnTo>
                    <a:lnTo>
                      <a:pt x="0" y="46399"/>
                    </a:lnTo>
                    <a:lnTo>
                      <a:pt x="46" y="43787"/>
                    </a:lnTo>
                    <a:close/>
                    <a:moveTo>
                      <a:pt x="64853" y="0"/>
                    </a:moveTo>
                    <a:lnTo>
                      <a:pt x="80605" y="2842"/>
                    </a:lnTo>
                    <a:lnTo>
                      <a:pt x="84883" y="3114"/>
                    </a:lnTo>
                    <a:lnTo>
                      <a:pt x="93514" y="8213"/>
                    </a:lnTo>
                    <a:lnTo>
                      <a:pt x="95723" y="10309"/>
                    </a:lnTo>
                    <a:lnTo>
                      <a:pt x="96772" y="14892"/>
                    </a:lnTo>
                    <a:lnTo>
                      <a:pt x="97292" y="19470"/>
                    </a:lnTo>
                    <a:lnTo>
                      <a:pt x="98028" y="21562"/>
                    </a:lnTo>
                    <a:lnTo>
                      <a:pt x="97812" y="22585"/>
                    </a:lnTo>
                    <a:lnTo>
                      <a:pt x="100616" y="24811"/>
                    </a:lnTo>
                    <a:lnTo>
                      <a:pt x="103889" y="26715"/>
                    </a:lnTo>
                    <a:lnTo>
                      <a:pt x="105103" y="26838"/>
                    </a:lnTo>
                    <a:lnTo>
                      <a:pt x="105313" y="28784"/>
                    </a:lnTo>
                    <a:lnTo>
                      <a:pt x="105023" y="31392"/>
                    </a:lnTo>
                    <a:lnTo>
                      <a:pt x="104923" y="33709"/>
                    </a:lnTo>
                    <a:lnTo>
                      <a:pt x="105738" y="34666"/>
                    </a:lnTo>
                    <a:lnTo>
                      <a:pt x="105942" y="35554"/>
                    </a:lnTo>
                    <a:lnTo>
                      <a:pt x="109496" y="39932"/>
                    </a:lnTo>
                    <a:lnTo>
                      <a:pt x="110701" y="44346"/>
                    </a:lnTo>
                    <a:lnTo>
                      <a:pt x="111102" y="47600"/>
                    </a:lnTo>
                    <a:lnTo>
                      <a:pt x="112036" y="49679"/>
                    </a:lnTo>
                    <a:lnTo>
                      <a:pt x="114919" y="50441"/>
                    </a:lnTo>
                    <a:lnTo>
                      <a:pt x="117840" y="50099"/>
                    </a:lnTo>
                    <a:lnTo>
                      <a:pt x="123089" y="48522"/>
                    </a:lnTo>
                    <a:lnTo>
                      <a:pt x="125927" y="48178"/>
                    </a:lnTo>
                    <a:lnTo>
                      <a:pt x="127274" y="47321"/>
                    </a:lnTo>
                    <a:lnTo>
                      <a:pt x="129327" y="43610"/>
                    </a:lnTo>
                    <a:lnTo>
                      <a:pt x="130664" y="42768"/>
                    </a:lnTo>
                    <a:lnTo>
                      <a:pt x="132220" y="43236"/>
                    </a:lnTo>
                    <a:lnTo>
                      <a:pt x="135081" y="45222"/>
                    </a:lnTo>
                    <a:lnTo>
                      <a:pt x="136080" y="45666"/>
                    </a:lnTo>
                    <a:lnTo>
                      <a:pt x="142754" y="45449"/>
                    </a:lnTo>
                    <a:lnTo>
                      <a:pt x="145915" y="46177"/>
                    </a:lnTo>
                    <a:lnTo>
                      <a:pt x="148674" y="48394"/>
                    </a:lnTo>
                    <a:lnTo>
                      <a:pt x="143945" y="53515"/>
                    </a:lnTo>
                    <a:lnTo>
                      <a:pt x="135884" y="68395"/>
                    </a:lnTo>
                    <a:lnTo>
                      <a:pt x="130382" y="71483"/>
                    </a:lnTo>
                    <a:lnTo>
                      <a:pt x="124714" y="72513"/>
                    </a:lnTo>
                    <a:lnTo>
                      <a:pt x="118904" y="75391"/>
                    </a:lnTo>
                    <a:lnTo>
                      <a:pt x="113469" y="79576"/>
                    </a:lnTo>
                    <a:lnTo>
                      <a:pt x="109000" y="84518"/>
                    </a:lnTo>
                    <a:lnTo>
                      <a:pt x="108148" y="85721"/>
                    </a:lnTo>
                    <a:lnTo>
                      <a:pt x="107709" y="86695"/>
                    </a:lnTo>
                    <a:lnTo>
                      <a:pt x="107543" y="88233"/>
                    </a:lnTo>
                    <a:lnTo>
                      <a:pt x="107512" y="91031"/>
                    </a:lnTo>
                    <a:lnTo>
                      <a:pt x="107244" y="94092"/>
                    </a:lnTo>
                    <a:lnTo>
                      <a:pt x="106560" y="94425"/>
                    </a:lnTo>
                    <a:lnTo>
                      <a:pt x="105568" y="94041"/>
                    </a:lnTo>
                    <a:lnTo>
                      <a:pt x="97438" y="99776"/>
                    </a:lnTo>
                    <a:lnTo>
                      <a:pt x="93813" y="104303"/>
                    </a:lnTo>
                    <a:lnTo>
                      <a:pt x="79099" y="112872"/>
                    </a:lnTo>
                    <a:lnTo>
                      <a:pt x="76681" y="113648"/>
                    </a:lnTo>
                    <a:lnTo>
                      <a:pt x="73862" y="113051"/>
                    </a:lnTo>
                    <a:lnTo>
                      <a:pt x="68002" y="110328"/>
                    </a:lnTo>
                    <a:lnTo>
                      <a:pt x="67925" y="111197"/>
                    </a:lnTo>
                    <a:lnTo>
                      <a:pt x="66536" y="112438"/>
                    </a:lnTo>
                    <a:lnTo>
                      <a:pt x="64706" y="113237"/>
                    </a:lnTo>
                    <a:lnTo>
                      <a:pt x="63286" y="112658"/>
                    </a:lnTo>
                    <a:lnTo>
                      <a:pt x="62981" y="110445"/>
                    </a:lnTo>
                    <a:lnTo>
                      <a:pt x="63170" y="106903"/>
                    </a:lnTo>
                    <a:lnTo>
                      <a:pt x="63607" y="103675"/>
                    </a:lnTo>
                    <a:lnTo>
                      <a:pt x="64140" y="102221"/>
                    </a:lnTo>
                    <a:lnTo>
                      <a:pt x="65953" y="100598"/>
                    </a:lnTo>
                    <a:lnTo>
                      <a:pt x="68648" y="97060"/>
                    </a:lnTo>
                    <a:lnTo>
                      <a:pt x="69899" y="93500"/>
                    </a:lnTo>
                    <a:lnTo>
                      <a:pt x="67489" y="91834"/>
                    </a:lnTo>
                    <a:lnTo>
                      <a:pt x="64000" y="93511"/>
                    </a:lnTo>
                    <a:lnTo>
                      <a:pt x="58863" y="100809"/>
                    </a:lnTo>
                    <a:lnTo>
                      <a:pt x="55469" y="102098"/>
                    </a:lnTo>
                    <a:lnTo>
                      <a:pt x="55263" y="100896"/>
                    </a:lnTo>
                    <a:lnTo>
                      <a:pt x="47773" y="94162"/>
                    </a:lnTo>
                    <a:lnTo>
                      <a:pt x="47134" y="93873"/>
                    </a:lnTo>
                    <a:lnTo>
                      <a:pt x="45292" y="94327"/>
                    </a:lnTo>
                    <a:lnTo>
                      <a:pt x="44642" y="94115"/>
                    </a:lnTo>
                    <a:lnTo>
                      <a:pt x="44509" y="93087"/>
                    </a:lnTo>
                    <a:lnTo>
                      <a:pt x="44855" y="89920"/>
                    </a:lnTo>
                    <a:lnTo>
                      <a:pt x="44721" y="88892"/>
                    </a:lnTo>
                    <a:lnTo>
                      <a:pt x="44794" y="87773"/>
                    </a:lnTo>
                    <a:lnTo>
                      <a:pt x="44557" y="84971"/>
                    </a:lnTo>
                    <a:lnTo>
                      <a:pt x="43845" y="82115"/>
                    </a:lnTo>
                    <a:lnTo>
                      <a:pt x="39276" y="77613"/>
                    </a:lnTo>
                    <a:lnTo>
                      <a:pt x="31917" y="62555"/>
                    </a:lnTo>
                    <a:lnTo>
                      <a:pt x="27899" y="57327"/>
                    </a:lnTo>
                    <a:lnTo>
                      <a:pt x="27946" y="54468"/>
                    </a:lnTo>
                    <a:lnTo>
                      <a:pt x="29327" y="50633"/>
                    </a:lnTo>
                    <a:lnTo>
                      <a:pt x="29885" y="44827"/>
                    </a:lnTo>
                    <a:lnTo>
                      <a:pt x="29926" y="36494"/>
                    </a:lnTo>
                    <a:lnTo>
                      <a:pt x="31262" y="23795"/>
                    </a:lnTo>
                    <a:lnTo>
                      <a:pt x="30849" y="18254"/>
                    </a:lnTo>
                    <a:lnTo>
                      <a:pt x="28623" y="12511"/>
                    </a:lnTo>
                    <a:lnTo>
                      <a:pt x="32675" y="9591"/>
                    </a:lnTo>
                    <a:lnTo>
                      <a:pt x="61998" y="5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66" name="Freeform 128">
                <a:extLst>
                  <a:ext uri="{FF2B5EF4-FFF2-40B4-BE49-F238E27FC236}">
                    <a16:creationId xmlns:a16="http://schemas.microsoft.com/office/drawing/2014/main" id="{C2E68710-50F9-989B-9805-31E6F0600F7F}"/>
                  </a:ext>
                </a:extLst>
              </p:cNvPr>
              <p:cNvSpPr>
                <a:spLocks noChangeAspect="1"/>
              </p:cNvSpPr>
              <p:nvPr>
                <p:custDataLst>
                  <p:tags r:id="rId102"/>
                </p:custDataLst>
              </p:nvPr>
            </p:nvSpPr>
            <p:spPr>
              <a:xfrm>
                <a:off x="4403382" y="4433076"/>
                <a:ext cx="122159" cy="149300"/>
              </a:xfrm>
              <a:custGeom>
                <a:avLst/>
                <a:gdLst/>
                <a:ahLst/>
                <a:cxnLst/>
                <a:rect l="0" t="0" r="0" b="0"/>
                <a:pathLst>
                  <a:path w="125424" h="153291">
                    <a:moveTo>
                      <a:pt x="113636" y="11273"/>
                    </a:moveTo>
                    <a:lnTo>
                      <a:pt x="113635" y="11287"/>
                    </a:lnTo>
                    <a:lnTo>
                      <a:pt x="113587" y="12057"/>
                    </a:lnTo>
                    <a:lnTo>
                      <a:pt x="113314" y="18139"/>
                    </a:lnTo>
                    <a:lnTo>
                      <a:pt x="113007" y="26984"/>
                    </a:lnTo>
                    <a:lnTo>
                      <a:pt x="112709" y="29945"/>
                    </a:lnTo>
                    <a:lnTo>
                      <a:pt x="112408" y="33872"/>
                    </a:lnTo>
                    <a:lnTo>
                      <a:pt x="115346" y="37332"/>
                    </a:lnTo>
                    <a:lnTo>
                      <a:pt x="118587" y="40781"/>
                    </a:lnTo>
                    <a:lnTo>
                      <a:pt x="121827" y="48158"/>
                    </a:lnTo>
                    <a:lnTo>
                      <a:pt x="122407" y="55542"/>
                    </a:lnTo>
                    <a:lnTo>
                      <a:pt x="122401" y="64409"/>
                    </a:lnTo>
                    <a:lnTo>
                      <a:pt x="117081" y="74255"/>
                    </a:lnTo>
                    <a:lnTo>
                      <a:pt x="96954" y="95881"/>
                    </a:lnTo>
                    <a:lnTo>
                      <a:pt x="105525" y="98347"/>
                    </a:lnTo>
                    <a:lnTo>
                      <a:pt x="112619" y="98851"/>
                    </a:lnTo>
                    <a:lnTo>
                      <a:pt x="115570" y="101323"/>
                    </a:lnTo>
                    <a:lnTo>
                      <a:pt x="121783" y="107725"/>
                    </a:lnTo>
                    <a:lnTo>
                      <a:pt x="123849" y="116591"/>
                    </a:lnTo>
                    <a:lnTo>
                      <a:pt x="124437" y="125951"/>
                    </a:lnTo>
                    <a:lnTo>
                      <a:pt x="125423" y="138330"/>
                    </a:lnTo>
                    <a:lnTo>
                      <a:pt x="117968" y="142806"/>
                    </a:lnTo>
                    <a:lnTo>
                      <a:pt x="112344" y="141003"/>
                    </a:lnTo>
                    <a:lnTo>
                      <a:pt x="101089" y="142584"/>
                    </a:lnTo>
                    <a:lnTo>
                      <a:pt x="95091" y="136292"/>
                    </a:lnTo>
                    <a:lnTo>
                      <a:pt x="96829" y="130354"/>
                    </a:lnTo>
                    <a:lnTo>
                      <a:pt x="95883" y="127922"/>
                    </a:lnTo>
                    <a:lnTo>
                      <a:pt x="93331" y="126633"/>
                    </a:lnTo>
                    <a:lnTo>
                      <a:pt x="77609" y="133486"/>
                    </a:lnTo>
                    <a:lnTo>
                      <a:pt x="74628" y="136170"/>
                    </a:lnTo>
                    <a:lnTo>
                      <a:pt x="65996" y="143027"/>
                    </a:lnTo>
                    <a:lnTo>
                      <a:pt x="54997" y="148387"/>
                    </a:lnTo>
                    <a:lnTo>
                      <a:pt x="50230" y="153290"/>
                    </a:lnTo>
                    <a:lnTo>
                      <a:pt x="42533" y="150297"/>
                    </a:lnTo>
                    <a:lnTo>
                      <a:pt x="33676" y="142859"/>
                    </a:lnTo>
                    <a:lnTo>
                      <a:pt x="28398" y="133961"/>
                    </a:lnTo>
                    <a:lnTo>
                      <a:pt x="27545" y="128052"/>
                    </a:lnTo>
                    <a:lnTo>
                      <a:pt x="25796" y="125593"/>
                    </a:lnTo>
                    <a:lnTo>
                      <a:pt x="23107" y="127035"/>
                    </a:lnTo>
                    <a:lnTo>
                      <a:pt x="18655" y="127991"/>
                    </a:lnTo>
                    <a:lnTo>
                      <a:pt x="14192" y="130427"/>
                    </a:lnTo>
                    <a:lnTo>
                      <a:pt x="8849" y="130387"/>
                    </a:lnTo>
                    <a:lnTo>
                      <a:pt x="6187" y="130366"/>
                    </a:lnTo>
                    <a:lnTo>
                      <a:pt x="5330" y="125917"/>
                    </a:lnTo>
                    <a:lnTo>
                      <a:pt x="6553" y="122984"/>
                    </a:lnTo>
                    <a:lnTo>
                      <a:pt x="8951" y="117090"/>
                    </a:lnTo>
                    <a:lnTo>
                      <a:pt x="9000" y="110693"/>
                    </a:lnTo>
                    <a:lnTo>
                      <a:pt x="7275" y="105753"/>
                    </a:lnTo>
                    <a:lnTo>
                      <a:pt x="3473" y="100313"/>
                    </a:lnTo>
                    <a:lnTo>
                      <a:pt x="260" y="94876"/>
                    </a:lnTo>
                    <a:lnTo>
                      <a:pt x="0" y="90431"/>
                    </a:lnTo>
                    <a:lnTo>
                      <a:pt x="915" y="86511"/>
                    </a:lnTo>
                    <a:lnTo>
                      <a:pt x="7184" y="79176"/>
                    </a:lnTo>
                    <a:lnTo>
                      <a:pt x="13464" y="68879"/>
                    </a:lnTo>
                    <a:lnTo>
                      <a:pt x="18893" y="52195"/>
                    </a:lnTo>
                    <a:lnTo>
                      <a:pt x="3522" y="34959"/>
                    </a:lnTo>
                    <a:lnTo>
                      <a:pt x="2261" y="33753"/>
                    </a:lnTo>
                    <a:lnTo>
                      <a:pt x="2253" y="33746"/>
                    </a:lnTo>
                    <a:lnTo>
                      <a:pt x="8198" y="28806"/>
                    </a:lnTo>
                    <a:lnTo>
                      <a:pt x="33246" y="18535"/>
                    </a:lnTo>
                    <a:lnTo>
                      <a:pt x="41017" y="18582"/>
                    </a:lnTo>
                    <a:lnTo>
                      <a:pt x="38744" y="11572"/>
                    </a:lnTo>
                    <a:lnTo>
                      <a:pt x="32088" y="4582"/>
                    </a:lnTo>
                    <a:lnTo>
                      <a:pt x="30371" y="0"/>
                    </a:lnTo>
                    <a:lnTo>
                      <a:pt x="34574" y="509"/>
                    </a:lnTo>
                    <a:lnTo>
                      <a:pt x="38996" y="1872"/>
                    </a:lnTo>
                    <a:lnTo>
                      <a:pt x="42994" y="4290"/>
                    </a:lnTo>
                    <a:lnTo>
                      <a:pt x="45909" y="7928"/>
                    </a:lnTo>
                    <a:lnTo>
                      <a:pt x="50398" y="5527"/>
                    </a:lnTo>
                    <a:lnTo>
                      <a:pt x="55332" y="7184"/>
                    </a:lnTo>
                    <a:lnTo>
                      <a:pt x="60031" y="11544"/>
                    </a:lnTo>
                    <a:lnTo>
                      <a:pt x="63723" y="17267"/>
                    </a:lnTo>
                    <a:lnTo>
                      <a:pt x="67283" y="19552"/>
                    </a:lnTo>
                    <a:lnTo>
                      <a:pt x="93351" y="18892"/>
                    </a:lnTo>
                    <a:lnTo>
                      <a:pt x="102464" y="1679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67" name="Freeform 129">
                <a:extLst>
                  <a:ext uri="{FF2B5EF4-FFF2-40B4-BE49-F238E27FC236}">
                    <a16:creationId xmlns:a16="http://schemas.microsoft.com/office/drawing/2014/main" id="{AC15E30E-D499-A02A-D654-0F96024DC95F}"/>
                  </a:ext>
                </a:extLst>
              </p:cNvPr>
              <p:cNvSpPr>
                <a:spLocks noChangeAspect="1"/>
              </p:cNvSpPr>
              <p:nvPr>
                <p:custDataLst>
                  <p:tags r:id="rId103"/>
                </p:custDataLst>
              </p:nvPr>
            </p:nvSpPr>
            <p:spPr>
              <a:xfrm>
                <a:off x="4232587" y="4465944"/>
                <a:ext cx="301507" cy="262712"/>
              </a:xfrm>
              <a:custGeom>
                <a:avLst/>
                <a:gdLst/>
                <a:ahLst/>
                <a:cxnLst/>
                <a:rect l="0" t="0" r="0" b="0"/>
                <a:pathLst>
                  <a:path w="309567" h="269735">
                    <a:moveTo>
                      <a:pt x="178883" y="1213"/>
                    </a:moveTo>
                    <a:lnTo>
                      <a:pt x="194254" y="18449"/>
                    </a:lnTo>
                    <a:lnTo>
                      <a:pt x="188825" y="35133"/>
                    </a:lnTo>
                    <a:lnTo>
                      <a:pt x="182545" y="45430"/>
                    </a:lnTo>
                    <a:lnTo>
                      <a:pt x="176276" y="52765"/>
                    </a:lnTo>
                    <a:lnTo>
                      <a:pt x="175361" y="56685"/>
                    </a:lnTo>
                    <a:lnTo>
                      <a:pt x="175621" y="61130"/>
                    </a:lnTo>
                    <a:lnTo>
                      <a:pt x="178834" y="66567"/>
                    </a:lnTo>
                    <a:lnTo>
                      <a:pt x="182636" y="72007"/>
                    </a:lnTo>
                    <a:lnTo>
                      <a:pt x="184361" y="76947"/>
                    </a:lnTo>
                    <a:lnTo>
                      <a:pt x="184312" y="83344"/>
                    </a:lnTo>
                    <a:lnTo>
                      <a:pt x="181914" y="89238"/>
                    </a:lnTo>
                    <a:lnTo>
                      <a:pt x="180691" y="92171"/>
                    </a:lnTo>
                    <a:lnTo>
                      <a:pt x="181548" y="96620"/>
                    </a:lnTo>
                    <a:lnTo>
                      <a:pt x="184210" y="96641"/>
                    </a:lnTo>
                    <a:lnTo>
                      <a:pt x="189553" y="96681"/>
                    </a:lnTo>
                    <a:lnTo>
                      <a:pt x="194016" y="94245"/>
                    </a:lnTo>
                    <a:lnTo>
                      <a:pt x="198468" y="93289"/>
                    </a:lnTo>
                    <a:lnTo>
                      <a:pt x="201157" y="91847"/>
                    </a:lnTo>
                    <a:lnTo>
                      <a:pt x="202906" y="94306"/>
                    </a:lnTo>
                    <a:lnTo>
                      <a:pt x="203759" y="100215"/>
                    </a:lnTo>
                    <a:lnTo>
                      <a:pt x="209037" y="109113"/>
                    </a:lnTo>
                    <a:lnTo>
                      <a:pt x="217894" y="116551"/>
                    </a:lnTo>
                    <a:lnTo>
                      <a:pt x="225591" y="119544"/>
                    </a:lnTo>
                    <a:lnTo>
                      <a:pt x="230358" y="114641"/>
                    </a:lnTo>
                    <a:lnTo>
                      <a:pt x="241357" y="109281"/>
                    </a:lnTo>
                    <a:lnTo>
                      <a:pt x="249989" y="102424"/>
                    </a:lnTo>
                    <a:lnTo>
                      <a:pt x="252970" y="99740"/>
                    </a:lnTo>
                    <a:lnTo>
                      <a:pt x="268692" y="92887"/>
                    </a:lnTo>
                    <a:lnTo>
                      <a:pt x="271244" y="94176"/>
                    </a:lnTo>
                    <a:lnTo>
                      <a:pt x="272190" y="96608"/>
                    </a:lnTo>
                    <a:lnTo>
                      <a:pt x="270452" y="102546"/>
                    </a:lnTo>
                    <a:lnTo>
                      <a:pt x="276450" y="108838"/>
                    </a:lnTo>
                    <a:lnTo>
                      <a:pt x="287705" y="107257"/>
                    </a:lnTo>
                    <a:lnTo>
                      <a:pt x="293329" y="109060"/>
                    </a:lnTo>
                    <a:lnTo>
                      <a:pt x="300784" y="104584"/>
                    </a:lnTo>
                    <a:lnTo>
                      <a:pt x="301962" y="103874"/>
                    </a:lnTo>
                    <a:lnTo>
                      <a:pt x="308865" y="105672"/>
                    </a:lnTo>
                    <a:lnTo>
                      <a:pt x="309566" y="106739"/>
                    </a:lnTo>
                    <a:lnTo>
                      <a:pt x="307015" y="111398"/>
                    </a:lnTo>
                    <a:lnTo>
                      <a:pt x="297288" y="121047"/>
                    </a:lnTo>
                    <a:lnTo>
                      <a:pt x="299331" y="127110"/>
                    </a:lnTo>
                    <a:lnTo>
                      <a:pt x="302273" y="127645"/>
                    </a:lnTo>
                    <a:lnTo>
                      <a:pt x="303356" y="129975"/>
                    </a:lnTo>
                    <a:lnTo>
                      <a:pt x="302783" y="132640"/>
                    </a:lnTo>
                    <a:lnTo>
                      <a:pt x="299195" y="136232"/>
                    </a:lnTo>
                    <a:lnTo>
                      <a:pt x="298806" y="148314"/>
                    </a:lnTo>
                    <a:lnTo>
                      <a:pt x="297198" y="154808"/>
                    </a:lnTo>
                    <a:lnTo>
                      <a:pt x="293991" y="158735"/>
                    </a:lnTo>
                    <a:lnTo>
                      <a:pt x="285585" y="159258"/>
                    </a:lnTo>
                    <a:lnTo>
                      <a:pt x="273964" y="164646"/>
                    </a:lnTo>
                    <a:lnTo>
                      <a:pt x="271713" y="167505"/>
                    </a:lnTo>
                    <a:lnTo>
                      <a:pt x="269384" y="177903"/>
                    </a:lnTo>
                    <a:lnTo>
                      <a:pt x="273279" y="185868"/>
                    </a:lnTo>
                    <a:lnTo>
                      <a:pt x="275243" y="198488"/>
                    </a:lnTo>
                    <a:lnTo>
                      <a:pt x="268321" y="211858"/>
                    </a:lnTo>
                    <a:lnTo>
                      <a:pt x="252955" y="214359"/>
                    </a:lnTo>
                    <a:lnTo>
                      <a:pt x="245789" y="219210"/>
                    </a:lnTo>
                    <a:lnTo>
                      <a:pt x="239277" y="218550"/>
                    </a:lnTo>
                    <a:lnTo>
                      <a:pt x="230838" y="221691"/>
                    </a:lnTo>
                    <a:lnTo>
                      <a:pt x="222992" y="219637"/>
                    </a:lnTo>
                    <a:lnTo>
                      <a:pt x="214421" y="232541"/>
                    </a:lnTo>
                    <a:lnTo>
                      <a:pt x="215739" y="237959"/>
                    </a:lnTo>
                    <a:lnTo>
                      <a:pt x="213359" y="248448"/>
                    </a:lnTo>
                    <a:lnTo>
                      <a:pt x="204540" y="257198"/>
                    </a:lnTo>
                    <a:lnTo>
                      <a:pt x="196069" y="260223"/>
                    </a:lnTo>
                    <a:lnTo>
                      <a:pt x="192428" y="265863"/>
                    </a:lnTo>
                    <a:lnTo>
                      <a:pt x="187810" y="266699"/>
                    </a:lnTo>
                    <a:lnTo>
                      <a:pt x="187801" y="266707"/>
                    </a:lnTo>
                    <a:lnTo>
                      <a:pt x="187818" y="264479"/>
                    </a:lnTo>
                    <a:lnTo>
                      <a:pt x="181511" y="264494"/>
                    </a:lnTo>
                    <a:lnTo>
                      <a:pt x="169533" y="268670"/>
                    </a:lnTo>
                    <a:lnTo>
                      <a:pt x="163187" y="269734"/>
                    </a:lnTo>
                    <a:lnTo>
                      <a:pt x="159648" y="266764"/>
                    </a:lnTo>
                    <a:lnTo>
                      <a:pt x="149180" y="251960"/>
                    </a:lnTo>
                    <a:lnTo>
                      <a:pt x="146601" y="246089"/>
                    </a:lnTo>
                    <a:lnTo>
                      <a:pt x="147449" y="236614"/>
                    </a:lnTo>
                    <a:lnTo>
                      <a:pt x="151315" y="227184"/>
                    </a:lnTo>
                    <a:lnTo>
                      <a:pt x="156278" y="219909"/>
                    </a:lnTo>
                    <a:lnTo>
                      <a:pt x="160407" y="217056"/>
                    </a:lnTo>
                    <a:lnTo>
                      <a:pt x="161246" y="215976"/>
                    </a:lnTo>
                    <a:lnTo>
                      <a:pt x="162385" y="210824"/>
                    </a:lnTo>
                    <a:lnTo>
                      <a:pt x="162927" y="209275"/>
                    </a:lnTo>
                    <a:lnTo>
                      <a:pt x="163818" y="208692"/>
                    </a:lnTo>
                    <a:lnTo>
                      <a:pt x="166314" y="207781"/>
                    </a:lnTo>
                    <a:lnTo>
                      <a:pt x="175843" y="200432"/>
                    </a:lnTo>
                    <a:lnTo>
                      <a:pt x="178841" y="196569"/>
                    </a:lnTo>
                    <a:lnTo>
                      <a:pt x="172714" y="197265"/>
                    </a:lnTo>
                    <a:lnTo>
                      <a:pt x="168694" y="200433"/>
                    </a:lnTo>
                    <a:lnTo>
                      <a:pt x="164787" y="201301"/>
                    </a:lnTo>
                    <a:lnTo>
                      <a:pt x="147329" y="179466"/>
                    </a:lnTo>
                    <a:lnTo>
                      <a:pt x="142984" y="170062"/>
                    </a:lnTo>
                    <a:lnTo>
                      <a:pt x="141939" y="166507"/>
                    </a:lnTo>
                    <a:lnTo>
                      <a:pt x="142618" y="163405"/>
                    </a:lnTo>
                    <a:lnTo>
                      <a:pt x="146635" y="162140"/>
                    </a:lnTo>
                    <a:lnTo>
                      <a:pt x="149330" y="159445"/>
                    </a:lnTo>
                    <a:lnTo>
                      <a:pt x="148824" y="153517"/>
                    </a:lnTo>
                    <a:lnTo>
                      <a:pt x="147041" y="147592"/>
                    </a:lnTo>
                    <a:lnTo>
                      <a:pt x="146043" y="145064"/>
                    </a:lnTo>
                    <a:lnTo>
                      <a:pt x="146143" y="139654"/>
                    </a:lnTo>
                    <a:lnTo>
                      <a:pt x="146657" y="137078"/>
                    </a:lnTo>
                    <a:lnTo>
                      <a:pt x="148117" y="135554"/>
                    </a:lnTo>
                    <a:lnTo>
                      <a:pt x="161940" y="125783"/>
                    </a:lnTo>
                    <a:lnTo>
                      <a:pt x="160250" y="125036"/>
                    </a:lnTo>
                    <a:lnTo>
                      <a:pt x="159524" y="124376"/>
                    </a:lnTo>
                    <a:lnTo>
                      <a:pt x="158835" y="122893"/>
                    </a:lnTo>
                    <a:lnTo>
                      <a:pt x="156163" y="125853"/>
                    </a:lnTo>
                    <a:lnTo>
                      <a:pt x="153521" y="127631"/>
                    </a:lnTo>
                    <a:lnTo>
                      <a:pt x="151201" y="127018"/>
                    </a:lnTo>
                    <a:lnTo>
                      <a:pt x="149404" y="122803"/>
                    </a:lnTo>
                    <a:lnTo>
                      <a:pt x="143406" y="127283"/>
                    </a:lnTo>
                    <a:lnTo>
                      <a:pt x="137128" y="127715"/>
                    </a:lnTo>
                    <a:lnTo>
                      <a:pt x="124043" y="125394"/>
                    </a:lnTo>
                    <a:lnTo>
                      <a:pt x="107347" y="130387"/>
                    </a:lnTo>
                    <a:lnTo>
                      <a:pt x="103491" y="132718"/>
                    </a:lnTo>
                    <a:lnTo>
                      <a:pt x="98840" y="135456"/>
                    </a:lnTo>
                    <a:lnTo>
                      <a:pt x="82866" y="135055"/>
                    </a:lnTo>
                    <a:lnTo>
                      <a:pt x="78075" y="137491"/>
                    </a:lnTo>
                    <a:lnTo>
                      <a:pt x="73648" y="141267"/>
                    </a:lnTo>
                    <a:lnTo>
                      <a:pt x="65323" y="150706"/>
                    </a:lnTo>
                    <a:lnTo>
                      <a:pt x="66172" y="151698"/>
                    </a:lnTo>
                    <a:lnTo>
                      <a:pt x="66712" y="153308"/>
                    </a:lnTo>
                    <a:lnTo>
                      <a:pt x="63016" y="155522"/>
                    </a:lnTo>
                    <a:lnTo>
                      <a:pt x="60733" y="159841"/>
                    </a:lnTo>
                    <a:lnTo>
                      <a:pt x="60574" y="164767"/>
                    </a:lnTo>
                    <a:lnTo>
                      <a:pt x="63333" y="168913"/>
                    </a:lnTo>
                    <a:lnTo>
                      <a:pt x="60324" y="171993"/>
                    </a:lnTo>
                    <a:lnTo>
                      <a:pt x="58630" y="173319"/>
                    </a:lnTo>
                    <a:lnTo>
                      <a:pt x="56936" y="174039"/>
                    </a:lnTo>
                    <a:lnTo>
                      <a:pt x="54149" y="173623"/>
                    </a:lnTo>
                    <a:lnTo>
                      <a:pt x="50994" y="169671"/>
                    </a:lnTo>
                    <a:lnTo>
                      <a:pt x="46058" y="167850"/>
                    </a:lnTo>
                    <a:lnTo>
                      <a:pt x="41698" y="164187"/>
                    </a:lnTo>
                    <a:lnTo>
                      <a:pt x="39043" y="163320"/>
                    </a:lnTo>
                    <a:lnTo>
                      <a:pt x="36288" y="163927"/>
                    </a:lnTo>
                    <a:lnTo>
                      <a:pt x="34646" y="165423"/>
                    </a:lnTo>
                    <a:lnTo>
                      <a:pt x="33301" y="167141"/>
                    </a:lnTo>
                    <a:lnTo>
                      <a:pt x="31635" y="168403"/>
                    </a:lnTo>
                    <a:lnTo>
                      <a:pt x="26470" y="169667"/>
                    </a:lnTo>
                    <a:lnTo>
                      <a:pt x="13577" y="168085"/>
                    </a:lnTo>
                    <a:lnTo>
                      <a:pt x="10117" y="170184"/>
                    </a:lnTo>
                    <a:lnTo>
                      <a:pt x="6831" y="173948"/>
                    </a:lnTo>
                    <a:lnTo>
                      <a:pt x="3521" y="175441"/>
                    </a:lnTo>
                    <a:lnTo>
                      <a:pt x="0" y="173057"/>
                    </a:lnTo>
                    <a:lnTo>
                      <a:pt x="2455" y="169558"/>
                    </a:lnTo>
                    <a:lnTo>
                      <a:pt x="2730" y="167870"/>
                    </a:lnTo>
                    <a:lnTo>
                      <a:pt x="1853" y="165521"/>
                    </a:lnTo>
                    <a:lnTo>
                      <a:pt x="3316" y="163651"/>
                    </a:lnTo>
                    <a:lnTo>
                      <a:pt x="6738" y="157527"/>
                    </a:lnTo>
                    <a:lnTo>
                      <a:pt x="39414" y="120677"/>
                    </a:lnTo>
                    <a:lnTo>
                      <a:pt x="42923" y="118792"/>
                    </a:lnTo>
                    <a:lnTo>
                      <a:pt x="47278" y="118474"/>
                    </a:lnTo>
                    <a:lnTo>
                      <a:pt x="51572" y="117236"/>
                    </a:lnTo>
                    <a:lnTo>
                      <a:pt x="56107" y="114899"/>
                    </a:lnTo>
                    <a:lnTo>
                      <a:pt x="74866" y="100690"/>
                    </a:lnTo>
                    <a:lnTo>
                      <a:pt x="79516" y="92936"/>
                    </a:lnTo>
                    <a:lnTo>
                      <a:pt x="94701" y="83272"/>
                    </a:lnTo>
                    <a:lnTo>
                      <a:pt x="96664" y="78323"/>
                    </a:lnTo>
                    <a:lnTo>
                      <a:pt x="97734" y="71465"/>
                    </a:lnTo>
                    <a:lnTo>
                      <a:pt x="98360" y="55584"/>
                    </a:lnTo>
                    <a:lnTo>
                      <a:pt x="99099" y="51130"/>
                    </a:lnTo>
                    <a:lnTo>
                      <a:pt x="100621" y="49610"/>
                    </a:lnTo>
                    <a:lnTo>
                      <a:pt x="102151" y="50423"/>
                    </a:lnTo>
                    <a:lnTo>
                      <a:pt x="102790" y="53029"/>
                    </a:lnTo>
                    <a:lnTo>
                      <a:pt x="103683" y="55480"/>
                    </a:lnTo>
                    <a:lnTo>
                      <a:pt x="105654" y="52473"/>
                    </a:lnTo>
                    <a:lnTo>
                      <a:pt x="107426" y="48080"/>
                    </a:lnTo>
                    <a:lnTo>
                      <a:pt x="107707" y="46436"/>
                    </a:lnTo>
                    <a:lnTo>
                      <a:pt x="117029" y="35387"/>
                    </a:lnTo>
                    <a:lnTo>
                      <a:pt x="119615" y="33552"/>
                    </a:lnTo>
                    <a:lnTo>
                      <a:pt x="123719" y="31842"/>
                    </a:lnTo>
                    <a:lnTo>
                      <a:pt x="126796" y="27665"/>
                    </a:lnTo>
                    <a:lnTo>
                      <a:pt x="131657" y="17799"/>
                    </a:lnTo>
                    <a:lnTo>
                      <a:pt x="136894" y="11512"/>
                    </a:lnTo>
                    <a:lnTo>
                      <a:pt x="142987" y="7565"/>
                    </a:lnTo>
                    <a:lnTo>
                      <a:pt x="149709" y="5581"/>
                    </a:lnTo>
                    <a:lnTo>
                      <a:pt x="156928" y="4998"/>
                    </a:lnTo>
                    <a:lnTo>
                      <a:pt x="158830" y="5638"/>
                    </a:lnTo>
                    <a:lnTo>
                      <a:pt x="160653" y="6758"/>
                    </a:lnTo>
                    <a:lnTo>
                      <a:pt x="162351" y="7380"/>
                    </a:lnTo>
                    <a:lnTo>
                      <a:pt x="165292" y="5387"/>
                    </a:lnTo>
                    <a:lnTo>
                      <a:pt x="170302" y="3005"/>
                    </a:lnTo>
                    <a:lnTo>
                      <a:pt x="175664" y="1619"/>
                    </a:lnTo>
                    <a:lnTo>
                      <a:pt x="177614" y="0"/>
                    </a:lnTo>
                    <a:lnTo>
                      <a:pt x="177622" y="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68" name="Freeform 130">
                <a:extLst>
                  <a:ext uri="{FF2B5EF4-FFF2-40B4-BE49-F238E27FC236}">
                    <a16:creationId xmlns:a16="http://schemas.microsoft.com/office/drawing/2014/main" id="{D5467532-3A49-CF43-D491-5DC8DE98131E}"/>
                  </a:ext>
                </a:extLst>
              </p:cNvPr>
              <p:cNvSpPr>
                <a:spLocks noChangeAspect="1"/>
              </p:cNvSpPr>
              <p:nvPr>
                <p:custDataLst>
                  <p:tags r:id="rId104"/>
                </p:custDataLst>
              </p:nvPr>
            </p:nvSpPr>
            <p:spPr>
              <a:xfrm>
                <a:off x="4564158" y="5000019"/>
                <a:ext cx="43002" cy="42406"/>
              </a:xfrm>
              <a:custGeom>
                <a:avLst/>
                <a:gdLst/>
                <a:ahLst/>
                <a:cxnLst/>
                <a:rect l="0" t="0" r="0" b="0"/>
                <a:pathLst>
                  <a:path w="44152" h="43540">
                    <a:moveTo>
                      <a:pt x="20353" y="2287"/>
                    </a:moveTo>
                    <a:lnTo>
                      <a:pt x="30862" y="1837"/>
                    </a:lnTo>
                    <a:lnTo>
                      <a:pt x="32131" y="1417"/>
                    </a:lnTo>
                    <a:lnTo>
                      <a:pt x="35854" y="5509"/>
                    </a:lnTo>
                    <a:lnTo>
                      <a:pt x="38861" y="7579"/>
                    </a:lnTo>
                    <a:lnTo>
                      <a:pt x="39303" y="11042"/>
                    </a:lnTo>
                    <a:lnTo>
                      <a:pt x="43185" y="18624"/>
                    </a:lnTo>
                    <a:lnTo>
                      <a:pt x="44078" y="25548"/>
                    </a:lnTo>
                    <a:lnTo>
                      <a:pt x="44115" y="33849"/>
                    </a:lnTo>
                    <a:lnTo>
                      <a:pt x="44151" y="42148"/>
                    </a:lnTo>
                    <a:lnTo>
                      <a:pt x="42265" y="43381"/>
                    </a:lnTo>
                    <a:lnTo>
                      <a:pt x="42009" y="43539"/>
                    </a:lnTo>
                    <a:lnTo>
                      <a:pt x="35987" y="39419"/>
                    </a:lnTo>
                    <a:lnTo>
                      <a:pt x="29094" y="33910"/>
                    </a:lnTo>
                    <a:lnTo>
                      <a:pt x="19646" y="29095"/>
                    </a:lnTo>
                    <a:lnTo>
                      <a:pt x="17774" y="31243"/>
                    </a:lnTo>
                    <a:lnTo>
                      <a:pt x="14386" y="29150"/>
                    </a:lnTo>
                    <a:lnTo>
                      <a:pt x="9897" y="22056"/>
                    </a:lnTo>
                    <a:lnTo>
                      <a:pt x="8376" y="16966"/>
                    </a:lnTo>
                    <a:lnTo>
                      <a:pt x="914" y="8179"/>
                    </a:lnTo>
                    <a:lnTo>
                      <a:pt x="0" y="6069"/>
                    </a:lnTo>
                    <a:lnTo>
                      <a:pt x="520" y="3087"/>
                    </a:lnTo>
                    <a:lnTo>
                      <a:pt x="4397"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69" name="Freeform 131">
                <a:extLst>
                  <a:ext uri="{FF2B5EF4-FFF2-40B4-BE49-F238E27FC236}">
                    <a16:creationId xmlns:a16="http://schemas.microsoft.com/office/drawing/2014/main" id="{4D10237D-8CB5-C786-1DCE-D7892C415EFD}"/>
                  </a:ext>
                </a:extLst>
              </p:cNvPr>
              <p:cNvSpPr>
                <a:spLocks noChangeAspect="1"/>
              </p:cNvSpPr>
              <p:nvPr>
                <p:custDataLst>
                  <p:tags r:id="rId105"/>
                </p:custDataLst>
              </p:nvPr>
            </p:nvSpPr>
            <p:spPr>
              <a:xfrm>
                <a:off x="4595453" y="4937017"/>
                <a:ext cx="117304" cy="155834"/>
              </a:xfrm>
              <a:custGeom>
                <a:avLst/>
                <a:gdLst/>
                <a:ahLst/>
                <a:cxnLst/>
                <a:rect l="0" t="0" r="0" b="0"/>
                <a:pathLst>
                  <a:path w="120440" h="160000">
                    <a:moveTo>
                      <a:pt x="120095" y="61144"/>
                    </a:moveTo>
                    <a:lnTo>
                      <a:pt x="120439" y="60938"/>
                    </a:lnTo>
                    <a:lnTo>
                      <a:pt x="118812" y="66365"/>
                    </a:lnTo>
                    <a:lnTo>
                      <a:pt x="113791" y="74483"/>
                    </a:lnTo>
                    <a:lnTo>
                      <a:pt x="112980" y="77659"/>
                    </a:lnTo>
                    <a:lnTo>
                      <a:pt x="112613" y="79993"/>
                    </a:lnTo>
                    <a:lnTo>
                      <a:pt x="112740" y="82794"/>
                    </a:lnTo>
                    <a:lnTo>
                      <a:pt x="113684" y="85360"/>
                    </a:lnTo>
                    <a:lnTo>
                      <a:pt x="115259" y="88660"/>
                    </a:lnTo>
                    <a:lnTo>
                      <a:pt x="115196" y="90782"/>
                    </a:lnTo>
                    <a:lnTo>
                      <a:pt x="114431" y="93663"/>
                    </a:lnTo>
                    <a:lnTo>
                      <a:pt x="113664" y="95271"/>
                    </a:lnTo>
                    <a:lnTo>
                      <a:pt x="112147" y="97636"/>
                    </a:lnTo>
                    <a:lnTo>
                      <a:pt x="112016" y="99225"/>
                    </a:lnTo>
                    <a:lnTo>
                      <a:pt x="112355" y="101207"/>
                    </a:lnTo>
                    <a:lnTo>
                      <a:pt x="114489" y="106345"/>
                    </a:lnTo>
                    <a:lnTo>
                      <a:pt x="116322" y="113008"/>
                    </a:lnTo>
                    <a:lnTo>
                      <a:pt x="117104" y="115111"/>
                    </a:lnTo>
                    <a:lnTo>
                      <a:pt x="117564" y="116892"/>
                    </a:lnTo>
                    <a:lnTo>
                      <a:pt x="117601" y="118145"/>
                    </a:lnTo>
                    <a:lnTo>
                      <a:pt x="116624" y="119568"/>
                    </a:lnTo>
                    <a:lnTo>
                      <a:pt x="112891" y="121177"/>
                    </a:lnTo>
                    <a:lnTo>
                      <a:pt x="112325" y="122070"/>
                    </a:lnTo>
                    <a:lnTo>
                      <a:pt x="112471" y="123253"/>
                    </a:lnTo>
                    <a:lnTo>
                      <a:pt x="113766" y="125185"/>
                    </a:lnTo>
                    <a:lnTo>
                      <a:pt x="114993" y="127698"/>
                    </a:lnTo>
                    <a:lnTo>
                      <a:pt x="115153" y="131259"/>
                    </a:lnTo>
                    <a:lnTo>
                      <a:pt x="116944" y="139150"/>
                    </a:lnTo>
                    <a:lnTo>
                      <a:pt x="116936" y="139158"/>
                    </a:lnTo>
                    <a:lnTo>
                      <a:pt x="110277" y="147281"/>
                    </a:lnTo>
                    <a:lnTo>
                      <a:pt x="105713" y="150979"/>
                    </a:lnTo>
                    <a:lnTo>
                      <a:pt x="94488" y="153699"/>
                    </a:lnTo>
                    <a:lnTo>
                      <a:pt x="85611" y="159998"/>
                    </a:lnTo>
                    <a:lnTo>
                      <a:pt x="85608" y="159999"/>
                    </a:lnTo>
                    <a:lnTo>
                      <a:pt x="77227" y="156235"/>
                    </a:lnTo>
                    <a:lnTo>
                      <a:pt x="72461" y="152129"/>
                    </a:lnTo>
                    <a:lnTo>
                      <a:pt x="73723" y="147963"/>
                    </a:lnTo>
                    <a:lnTo>
                      <a:pt x="80549" y="141678"/>
                    </a:lnTo>
                    <a:lnTo>
                      <a:pt x="85248" y="137493"/>
                    </a:lnTo>
                    <a:lnTo>
                      <a:pt x="87364" y="134010"/>
                    </a:lnTo>
                    <a:lnTo>
                      <a:pt x="84747" y="129186"/>
                    </a:lnTo>
                    <a:lnTo>
                      <a:pt x="81291" y="127144"/>
                    </a:lnTo>
                    <a:lnTo>
                      <a:pt x="76566" y="127185"/>
                    </a:lnTo>
                    <a:lnTo>
                      <a:pt x="62021" y="136290"/>
                    </a:lnTo>
                    <a:lnTo>
                      <a:pt x="56000" y="136334"/>
                    </a:lnTo>
                    <a:lnTo>
                      <a:pt x="53849" y="135658"/>
                    </a:lnTo>
                    <a:lnTo>
                      <a:pt x="50405" y="134992"/>
                    </a:lnTo>
                    <a:lnTo>
                      <a:pt x="46664" y="135875"/>
                    </a:lnTo>
                    <a:lnTo>
                      <a:pt x="44353" y="130187"/>
                    </a:lnTo>
                    <a:lnTo>
                      <a:pt x="43006" y="120503"/>
                    </a:lnTo>
                    <a:lnTo>
                      <a:pt x="42941" y="110130"/>
                    </a:lnTo>
                    <a:lnTo>
                      <a:pt x="42907" y="104594"/>
                    </a:lnTo>
                    <a:lnTo>
                      <a:pt x="39444" y="99781"/>
                    </a:lnTo>
                    <a:lnTo>
                      <a:pt x="36006" y="99802"/>
                    </a:lnTo>
                    <a:lnTo>
                      <a:pt x="32139" y="97740"/>
                    </a:lnTo>
                    <a:lnTo>
                      <a:pt x="29543" y="92910"/>
                    </a:lnTo>
                    <a:lnTo>
                      <a:pt x="29066" y="83911"/>
                    </a:lnTo>
                    <a:lnTo>
                      <a:pt x="25591" y="76331"/>
                    </a:lnTo>
                    <a:lnTo>
                      <a:pt x="17860" y="72215"/>
                    </a:lnTo>
                    <a:lnTo>
                      <a:pt x="12289" y="72240"/>
                    </a:lnTo>
                    <a:lnTo>
                      <a:pt x="6730" y="72265"/>
                    </a:lnTo>
                    <a:lnTo>
                      <a:pt x="3723" y="70195"/>
                    </a:lnTo>
                    <a:lnTo>
                      <a:pt x="0" y="66103"/>
                    </a:lnTo>
                    <a:lnTo>
                      <a:pt x="4952" y="64486"/>
                    </a:lnTo>
                    <a:lnTo>
                      <a:pt x="9660" y="60320"/>
                    </a:lnTo>
                    <a:lnTo>
                      <a:pt x="16082" y="59019"/>
                    </a:lnTo>
                    <a:lnTo>
                      <a:pt x="21150" y="49548"/>
                    </a:lnTo>
                    <a:lnTo>
                      <a:pt x="21728" y="44354"/>
                    </a:lnTo>
                    <a:lnTo>
                      <a:pt x="28649" y="37210"/>
                    </a:lnTo>
                    <a:lnTo>
                      <a:pt x="21721" y="17290"/>
                    </a:lnTo>
                    <a:lnTo>
                      <a:pt x="22813" y="11659"/>
                    </a:lnTo>
                    <a:lnTo>
                      <a:pt x="22260" y="5828"/>
                    </a:lnTo>
                    <a:lnTo>
                      <a:pt x="24567" y="122"/>
                    </a:lnTo>
                    <a:lnTo>
                      <a:pt x="24616" y="0"/>
                    </a:lnTo>
                    <a:lnTo>
                      <a:pt x="24713" y="181"/>
                    </a:lnTo>
                    <a:lnTo>
                      <a:pt x="30071" y="7691"/>
                    </a:lnTo>
                    <a:lnTo>
                      <a:pt x="37052" y="13987"/>
                    </a:lnTo>
                    <a:lnTo>
                      <a:pt x="37451" y="14537"/>
                    </a:lnTo>
                    <a:lnTo>
                      <a:pt x="37999" y="15531"/>
                    </a:lnTo>
                    <a:lnTo>
                      <a:pt x="38335" y="16792"/>
                    </a:lnTo>
                    <a:lnTo>
                      <a:pt x="38699" y="19622"/>
                    </a:lnTo>
                    <a:lnTo>
                      <a:pt x="39586" y="21275"/>
                    </a:lnTo>
                    <a:lnTo>
                      <a:pt x="40998" y="23083"/>
                    </a:lnTo>
                    <a:lnTo>
                      <a:pt x="46077" y="27521"/>
                    </a:lnTo>
                    <a:lnTo>
                      <a:pt x="48051" y="28437"/>
                    </a:lnTo>
                    <a:lnTo>
                      <a:pt x="50580" y="28478"/>
                    </a:lnTo>
                    <a:lnTo>
                      <a:pt x="52241" y="28191"/>
                    </a:lnTo>
                    <a:lnTo>
                      <a:pt x="54683" y="27107"/>
                    </a:lnTo>
                    <a:lnTo>
                      <a:pt x="61663" y="21796"/>
                    </a:lnTo>
                    <a:lnTo>
                      <a:pt x="64001" y="20821"/>
                    </a:lnTo>
                    <a:lnTo>
                      <a:pt x="66599" y="20465"/>
                    </a:lnTo>
                    <a:lnTo>
                      <a:pt x="89867" y="40964"/>
                    </a:lnTo>
                    <a:lnTo>
                      <a:pt x="92385" y="44198"/>
                    </a:lnTo>
                    <a:lnTo>
                      <a:pt x="92981" y="45387"/>
                    </a:lnTo>
                    <a:lnTo>
                      <a:pt x="96163" y="49068"/>
                    </a:lnTo>
                    <a:lnTo>
                      <a:pt x="96820" y="50158"/>
                    </a:lnTo>
                    <a:lnTo>
                      <a:pt x="97842" y="52408"/>
                    </a:lnTo>
                    <a:lnTo>
                      <a:pt x="98486" y="53438"/>
                    </a:lnTo>
                    <a:lnTo>
                      <a:pt x="99593" y="54295"/>
                    </a:lnTo>
                    <a:lnTo>
                      <a:pt x="101075" y="54854"/>
                    </a:lnTo>
                    <a:lnTo>
                      <a:pt x="105369" y="54524"/>
                    </a:lnTo>
                    <a:lnTo>
                      <a:pt x="107250" y="54732"/>
                    </a:lnTo>
                    <a:lnTo>
                      <a:pt x="108858" y="55584"/>
                    </a:lnTo>
                    <a:lnTo>
                      <a:pt x="113223" y="59773"/>
                    </a:lnTo>
                    <a:lnTo>
                      <a:pt x="117661" y="6259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70" name="Freeform 132">
                <a:extLst>
                  <a:ext uri="{FF2B5EF4-FFF2-40B4-BE49-F238E27FC236}">
                    <a16:creationId xmlns:a16="http://schemas.microsoft.com/office/drawing/2014/main" id="{45E71620-395F-6C49-DBD1-33540582B3A7}"/>
                  </a:ext>
                </a:extLst>
              </p:cNvPr>
              <p:cNvSpPr>
                <a:spLocks noChangeAspect="1"/>
              </p:cNvSpPr>
              <p:nvPr>
                <p:custDataLst>
                  <p:tags r:id="rId106"/>
                </p:custDataLst>
              </p:nvPr>
            </p:nvSpPr>
            <p:spPr>
              <a:xfrm>
                <a:off x="4606594" y="5060851"/>
                <a:ext cx="73949" cy="53181"/>
              </a:xfrm>
              <a:custGeom>
                <a:avLst/>
                <a:gdLst/>
                <a:ahLst/>
                <a:cxnLst/>
                <a:rect l="0" t="0" r="0" b="0"/>
                <a:pathLst>
                  <a:path w="75926" h="54603">
                    <a:moveTo>
                      <a:pt x="74169" y="32855"/>
                    </a:moveTo>
                    <a:lnTo>
                      <a:pt x="69846" y="35922"/>
                    </a:lnTo>
                    <a:lnTo>
                      <a:pt x="59816" y="39612"/>
                    </a:lnTo>
                    <a:lnTo>
                      <a:pt x="39704" y="41127"/>
                    </a:lnTo>
                    <a:lnTo>
                      <a:pt x="36620" y="39936"/>
                    </a:lnTo>
                    <a:lnTo>
                      <a:pt x="34745" y="37244"/>
                    </a:lnTo>
                    <a:lnTo>
                      <a:pt x="33452" y="34548"/>
                    </a:lnTo>
                    <a:lnTo>
                      <a:pt x="32206" y="33376"/>
                    </a:lnTo>
                    <a:lnTo>
                      <a:pt x="29993" y="35083"/>
                    </a:lnTo>
                    <a:lnTo>
                      <a:pt x="23810" y="42953"/>
                    </a:lnTo>
                    <a:lnTo>
                      <a:pt x="22527" y="45401"/>
                    </a:lnTo>
                    <a:lnTo>
                      <a:pt x="8771" y="54365"/>
                    </a:lnTo>
                    <a:lnTo>
                      <a:pt x="8114" y="54601"/>
                    </a:lnTo>
                    <a:lnTo>
                      <a:pt x="8109" y="54602"/>
                    </a:lnTo>
                    <a:lnTo>
                      <a:pt x="7995" y="53456"/>
                    </a:lnTo>
                    <a:lnTo>
                      <a:pt x="10671" y="48884"/>
                    </a:lnTo>
                    <a:lnTo>
                      <a:pt x="10216" y="47603"/>
                    </a:lnTo>
                    <a:lnTo>
                      <a:pt x="3658" y="44872"/>
                    </a:lnTo>
                    <a:lnTo>
                      <a:pt x="1890" y="41130"/>
                    </a:lnTo>
                    <a:lnTo>
                      <a:pt x="6315" y="33619"/>
                    </a:lnTo>
                    <a:lnTo>
                      <a:pt x="276" y="27380"/>
                    </a:lnTo>
                    <a:lnTo>
                      <a:pt x="0" y="24637"/>
                    </a:lnTo>
                    <a:lnTo>
                      <a:pt x="207" y="24281"/>
                    </a:lnTo>
                    <a:lnTo>
                      <a:pt x="13661" y="19764"/>
                    </a:lnTo>
                    <a:lnTo>
                      <a:pt x="18525" y="17123"/>
                    </a:lnTo>
                    <a:lnTo>
                      <a:pt x="32954" y="9269"/>
                    </a:lnTo>
                    <a:lnTo>
                      <a:pt x="35225" y="8731"/>
                    </a:lnTo>
                    <a:lnTo>
                      <a:pt x="38966" y="7848"/>
                    </a:lnTo>
                    <a:lnTo>
                      <a:pt x="42410" y="8514"/>
                    </a:lnTo>
                    <a:lnTo>
                      <a:pt x="44561" y="9190"/>
                    </a:lnTo>
                    <a:lnTo>
                      <a:pt x="50582" y="9146"/>
                    </a:lnTo>
                    <a:lnTo>
                      <a:pt x="65127" y="41"/>
                    </a:lnTo>
                    <a:lnTo>
                      <a:pt x="69852" y="0"/>
                    </a:lnTo>
                    <a:lnTo>
                      <a:pt x="73308" y="2042"/>
                    </a:lnTo>
                    <a:lnTo>
                      <a:pt x="75925" y="6866"/>
                    </a:lnTo>
                    <a:lnTo>
                      <a:pt x="73809" y="10349"/>
                    </a:lnTo>
                    <a:lnTo>
                      <a:pt x="69110" y="14534"/>
                    </a:lnTo>
                    <a:lnTo>
                      <a:pt x="62284" y="20819"/>
                    </a:lnTo>
                    <a:lnTo>
                      <a:pt x="61022" y="24985"/>
                    </a:lnTo>
                    <a:lnTo>
                      <a:pt x="65788" y="29091"/>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71" name="Freeform 133">
                <a:extLst>
                  <a:ext uri="{FF2B5EF4-FFF2-40B4-BE49-F238E27FC236}">
                    <a16:creationId xmlns:a16="http://schemas.microsoft.com/office/drawing/2014/main" id="{E0607B5F-3815-6F8E-9BEE-27BEE83CFC41}"/>
                  </a:ext>
                </a:extLst>
              </p:cNvPr>
              <p:cNvSpPr>
                <a:spLocks noChangeAspect="1"/>
              </p:cNvSpPr>
              <p:nvPr>
                <p:custDataLst>
                  <p:tags r:id="rId107"/>
                </p:custDataLst>
              </p:nvPr>
            </p:nvSpPr>
            <p:spPr>
              <a:xfrm>
                <a:off x="4602008" y="5007352"/>
                <a:ext cx="38895" cy="70177"/>
              </a:xfrm>
              <a:custGeom>
                <a:avLst/>
                <a:gdLst/>
                <a:ahLst/>
                <a:cxnLst/>
                <a:rect l="0" t="0" r="0" b="0"/>
                <a:pathLst>
                  <a:path w="39935" h="72053">
                    <a:moveTo>
                      <a:pt x="29276" y="27587"/>
                    </a:moveTo>
                    <a:lnTo>
                      <a:pt x="32714" y="27566"/>
                    </a:lnTo>
                    <a:lnTo>
                      <a:pt x="36177" y="32379"/>
                    </a:lnTo>
                    <a:lnTo>
                      <a:pt x="36211" y="37915"/>
                    </a:lnTo>
                    <a:lnTo>
                      <a:pt x="36276" y="48288"/>
                    </a:lnTo>
                    <a:lnTo>
                      <a:pt x="37623" y="57972"/>
                    </a:lnTo>
                    <a:lnTo>
                      <a:pt x="39934" y="63660"/>
                    </a:lnTo>
                    <a:lnTo>
                      <a:pt x="37663" y="64198"/>
                    </a:lnTo>
                    <a:lnTo>
                      <a:pt x="23234" y="72052"/>
                    </a:lnTo>
                    <a:lnTo>
                      <a:pt x="16194" y="67786"/>
                    </a:lnTo>
                    <a:lnTo>
                      <a:pt x="12724" y="62958"/>
                    </a:lnTo>
                    <a:lnTo>
                      <a:pt x="13127" y="58802"/>
                    </a:lnTo>
                    <a:lnTo>
                      <a:pt x="13958" y="53271"/>
                    </a:lnTo>
                    <a:lnTo>
                      <a:pt x="14372" y="47722"/>
                    </a:lnTo>
                    <a:lnTo>
                      <a:pt x="13910" y="43579"/>
                    </a:lnTo>
                    <a:lnTo>
                      <a:pt x="9604" y="40837"/>
                    </a:lnTo>
                    <a:lnTo>
                      <a:pt x="4877" y="39477"/>
                    </a:lnTo>
                    <a:lnTo>
                      <a:pt x="3404" y="35852"/>
                    </a:lnTo>
                    <a:lnTo>
                      <a:pt x="5290" y="34619"/>
                    </a:lnTo>
                    <a:lnTo>
                      <a:pt x="5254" y="26320"/>
                    </a:lnTo>
                    <a:lnTo>
                      <a:pt x="5217" y="18019"/>
                    </a:lnTo>
                    <a:lnTo>
                      <a:pt x="4324" y="11095"/>
                    </a:lnTo>
                    <a:lnTo>
                      <a:pt x="442" y="3513"/>
                    </a:lnTo>
                    <a:lnTo>
                      <a:pt x="0" y="50"/>
                    </a:lnTo>
                    <a:lnTo>
                      <a:pt x="5559" y="25"/>
                    </a:lnTo>
                    <a:lnTo>
                      <a:pt x="11130" y="0"/>
                    </a:lnTo>
                    <a:lnTo>
                      <a:pt x="18861" y="4116"/>
                    </a:lnTo>
                    <a:lnTo>
                      <a:pt x="22336" y="11696"/>
                    </a:lnTo>
                    <a:lnTo>
                      <a:pt x="22813" y="20695"/>
                    </a:lnTo>
                    <a:lnTo>
                      <a:pt x="25409" y="2552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72" name="Freeform 137">
                <a:extLst>
                  <a:ext uri="{FF2B5EF4-FFF2-40B4-BE49-F238E27FC236}">
                    <a16:creationId xmlns:a16="http://schemas.microsoft.com/office/drawing/2014/main" id="{AC73AF08-BC7F-5617-7D4A-36378B107BEF}"/>
                  </a:ext>
                </a:extLst>
              </p:cNvPr>
              <p:cNvSpPr>
                <a:spLocks noChangeAspect="1"/>
              </p:cNvSpPr>
              <p:nvPr>
                <p:custDataLst>
                  <p:tags r:id="rId108"/>
                </p:custDataLst>
              </p:nvPr>
            </p:nvSpPr>
            <p:spPr>
              <a:xfrm>
                <a:off x="4158574" y="3642155"/>
                <a:ext cx="497497" cy="306009"/>
              </a:xfrm>
              <a:custGeom>
                <a:avLst/>
                <a:gdLst/>
                <a:ahLst/>
                <a:cxnLst/>
                <a:rect l="0" t="0" r="0" b="0"/>
                <a:pathLst>
                  <a:path w="510796" h="314189">
                    <a:moveTo>
                      <a:pt x="269973" y="3115"/>
                    </a:moveTo>
                    <a:lnTo>
                      <a:pt x="286894" y="3036"/>
                    </a:lnTo>
                    <a:lnTo>
                      <a:pt x="298301" y="6384"/>
                    </a:lnTo>
                    <a:lnTo>
                      <a:pt x="310456" y="20665"/>
                    </a:lnTo>
                    <a:lnTo>
                      <a:pt x="316112" y="35246"/>
                    </a:lnTo>
                    <a:lnTo>
                      <a:pt x="323645" y="38457"/>
                    </a:lnTo>
                    <a:lnTo>
                      <a:pt x="323776" y="50662"/>
                    </a:lnTo>
                    <a:lnTo>
                      <a:pt x="325086" y="54498"/>
                    </a:lnTo>
                    <a:lnTo>
                      <a:pt x="331655" y="58649"/>
                    </a:lnTo>
                    <a:lnTo>
                      <a:pt x="337913" y="66430"/>
                    </a:lnTo>
                    <a:lnTo>
                      <a:pt x="343477" y="65282"/>
                    </a:lnTo>
                    <a:lnTo>
                      <a:pt x="344217" y="57740"/>
                    </a:lnTo>
                    <a:lnTo>
                      <a:pt x="345549" y="55295"/>
                    </a:lnTo>
                    <a:lnTo>
                      <a:pt x="353238" y="51187"/>
                    </a:lnTo>
                    <a:lnTo>
                      <a:pt x="353315" y="43763"/>
                    </a:lnTo>
                    <a:lnTo>
                      <a:pt x="354657" y="37802"/>
                    </a:lnTo>
                    <a:lnTo>
                      <a:pt x="354246" y="30475"/>
                    </a:lnTo>
                    <a:lnTo>
                      <a:pt x="368851" y="20634"/>
                    </a:lnTo>
                    <a:lnTo>
                      <a:pt x="381136" y="22657"/>
                    </a:lnTo>
                    <a:lnTo>
                      <a:pt x="388306" y="19794"/>
                    </a:lnTo>
                    <a:lnTo>
                      <a:pt x="402537" y="19785"/>
                    </a:lnTo>
                    <a:lnTo>
                      <a:pt x="404519" y="18192"/>
                    </a:lnTo>
                    <a:lnTo>
                      <a:pt x="408720" y="9695"/>
                    </a:lnTo>
                    <a:lnTo>
                      <a:pt x="414389" y="12983"/>
                    </a:lnTo>
                    <a:lnTo>
                      <a:pt x="422586" y="13281"/>
                    </a:lnTo>
                    <a:lnTo>
                      <a:pt x="425306" y="14438"/>
                    </a:lnTo>
                    <a:lnTo>
                      <a:pt x="425005" y="17086"/>
                    </a:lnTo>
                    <a:lnTo>
                      <a:pt x="415979" y="23801"/>
                    </a:lnTo>
                    <a:lnTo>
                      <a:pt x="411584" y="30068"/>
                    </a:lnTo>
                    <a:lnTo>
                      <a:pt x="411543" y="39192"/>
                    </a:lnTo>
                    <a:lnTo>
                      <a:pt x="410283" y="43776"/>
                    </a:lnTo>
                    <a:lnTo>
                      <a:pt x="411500" y="46202"/>
                    </a:lnTo>
                    <a:lnTo>
                      <a:pt x="415605" y="46826"/>
                    </a:lnTo>
                    <a:lnTo>
                      <a:pt x="421140" y="41621"/>
                    </a:lnTo>
                    <a:lnTo>
                      <a:pt x="432407" y="34895"/>
                    </a:lnTo>
                    <a:lnTo>
                      <a:pt x="437968" y="38490"/>
                    </a:lnTo>
                    <a:lnTo>
                      <a:pt x="441848" y="43463"/>
                    </a:lnTo>
                    <a:lnTo>
                      <a:pt x="449202" y="40778"/>
                    </a:lnTo>
                    <a:lnTo>
                      <a:pt x="454816" y="42452"/>
                    </a:lnTo>
                    <a:lnTo>
                      <a:pt x="456152" y="44677"/>
                    </a:lnTo>
                    <a:lnTo>
                      <a:pt x="456181" y="51054"/>
                    </a:lnTo>
                    <a:lnTo>
                      <a:pt x="465230" y="59600"/>
                    </a:lnTo>
                    <a:lnTo>
                      <a:pt x="468035" y="64995"/>
                    </a:lnTo>
                    <a:lnTo>
                      <a:pt x="467701" y="69676"/>
                    </a:lnTo>
                    <a:lnTo>
                      <a:pt x="470192" y="72625"/>
                    </a:lnTo>
                    <a:lnTo>
                      <a:pt x="475142" y="70898"/>
                    </a:lnTo>
                    <a:lnTo>
                      <a:pt x="478246" y="74375"/>
                    </a:lnTo>
                    <a:lnTo>
                      <a:pt x="483708" y="69147"/>
                    </a:lnTo>
                    <a:lnTo>
                      <a:pt x="489624" y="66778"/>
                    </a:lnTo>
                    <a:lnTo>
                      <a:pt x="494243" y="69608"/>
                    </a:lnTo>
                    <a:lnTo>
                      <a:pt x="501376" y="70513"/>
                    </a:lnTo>
                    <a:lnTo>
                      <a:pt x="504114" y="72713"/>
                    </a:lnTo>
                    <a:lnTo>
                      <a:pt x="505473" y="76633"/>
                    </a:lnTo>
                    <a:lnTo>
                      <a:pt x="499935" y="80072"/>
                    </a:lnTo>
                    <a:lnTo>
                      <a:pt x="498332" y="83915"/>
                    </a:lnTo>
                    <a:lnTo>
                      <a:pt x="499922" y="85818"/>
                    </a:lnTo>
                    <a:lnTo>
                      <a:pt x="506337" y="86183"/>
                    </a:lnTo>
                    <a:lnTo>
                      <a:pt x="507503" y="88405"/>
                    </a:lnTo>
                    <a:lnTo>
                      <a:pt x="507491" y="93185"/>
                    </a:lnTo>
                    <a:lnTo>
                      <a:pt x="503113" y="99579"/>
                    </a:lnTo>
                    <a:lnTo>
                      <a:pt x="502106" y="117427"/>
                    </a:lnTo>
                    <a:lnTo>
                      <a:pt x="503465" y="120912"/>
                    </a:lnTo>
                    <a:lnTo>
                      <a:pt x="508714" y="124592"/>
                    </a:lnTo>
                    <a:lnTo>
                      <a:pt x="510732" y="133818"/>
                    </a:lnTo>
                    <a:lnTo>
                      <a:pt x="510755" y="133935"/>
                    </a:lnTo>
                    <a:lnTo>
                      <a:pt x="510795" y="134141"/>
                    </a:lnTo>
                    <a:lnTo>
                      <a:pt x="506086" y="141339"/>
                    </a:lnTo>
                    <a:lnTo>
                      <a:pt x="505352" y="142786"/>
                    </a:lnTo>
                    <a:lnTo>
                      <a:pt x="503706" y="144775"/>
                    </a:lnTo>
                    <a:lnTo>
                      <a:pt x="502151" y="146069"/>
                    </a:lnTo>
                    <a:lnTo>
                      <a:pt x="495160" y="149399"/>
                    </a:lnTo>
                    <a:lnTo>
                      <a:pt x="493994" y="150651"/>
                    </a:lnTo>
                    <a:lnTo>
                      <a:pt x="490410" y="158971"/>
                    </a:lnTo>
                    <a:lnTo>
                      <a:pt x="489502" y="160162"/>
                    </a:lnTo>
                    <a:lnTo>
                      <a:pt x="488355" y="161157"/>
                    </a:lnTo>
                    <a:lnTo>
                      <a:pt x="484817" y="161813"/>
                    </a:lnTo>
                    <a:lnTo>
                      <a:pt x="483277" y="161546"/>
                    </a:lnTo>
                    <a:lnTo>
                      <a:pt x="474924" y="157233"/>
                    </a:lnTo>
                    <a:lnTo>
                      <a:pt x="473660" y="156845"/>
                    </a:lnTo>
                    <a:lnTo>
                      <a:pt x="472510" y="157542"/>
                    </a:lnTo>
                    <a:lnTo>
                      <a:pt x="471599" y="159405"/>
                    </a:lnTo>
                    <a:lnTo>
                      <a:pt x="471304" y="169457"/>
                    </a:lnTo>
                    <a:lnTo>
                      <a:pt x="471076" y="171117"/>
                    </a:lnTo>
                    <a:lnTo>
                      <a:pt x="468267" y="177076"/>
                    </a:lnTo>
                    <a:lnTo>
                      <a:pt x="467349" y="184030"/>
                    </a:lnTo>
                    <a:lnTo>
                      <a:pt x="448707" y="189247"/>
                    </a:lnTo>
                    <a:lnTo>
                      <a:pt x="378859" y="184154"/>
                    </a:lnTo>
                    <a:lnTo>
                      <a:pt x="375167" y="183125"/>
                    </a:lnTo>
                    <a:lnTo>
                      <a:pt x="371760" y="181196"/>
                    </a:lnTo>
                    <a:lnTo>
                      <a:pt x="368514" y="180041"/>
                    </a:lnTo>
                    <a:lnTo>
                      <a:pt x="365390" y="181297"/>
                    </a:lnTo>
                    <a:lnTo>
                      <a:pt x="366032" y="182091"/>
                    </a:lnTo>
                    <a:lnTo>
                      <a:pt x="366228" y="182184"/>
                    </a:lnTo>
                    <a:lnTo>
                      <a:pt x="366352" y="182527"/>
                    </a:lnTo>
                    <a:lnTo>
                      <a:pt x="366725" y="184144"/>
                    </a:lnTo>
                    <a:lnTo>
                      <a:pt x="363029" y="185911"/>
                    </a:lnTo>
                    <a:lnTo>
                      <a:pt x="359560" y="184553"/>
                    </a:lnTo>
                    <a:lnTo>
                      <a:pt x="353281" y="178897"/>
                    </a:lnTo>
                    <a:lnTo>
                      <a:pt x="350394" y="189340"/>
                    </a:lnTo>
                    <a:lnTo>
                      <a:pt x="352126" y="193448"/>
                    </a:lnTo>
                    <a:lnTo>
                      <a:pt x="353218" y="201007"/>
                    </a:lnTo>
                    <a:lnTo>
                      <a:pt x="353611" y="209250"/>
                    </a:lnTo>
                    <a:lnTo>
                      <a:pt x="353205" y="215437"/>
                    </a:lnTo>
                    <a:lnTo>
                      <a:pt x="350742" y="221619"/>
                    </a:lnTo>
                    <a:lnTo>
                      <a:pt x="347069" y="223756"/>
                    </a:lnTo>
                    <a:lnTo>
                      <a:pt x="326547" y="221702"/>
                    </a:lnTo>
                    <a:lnTo>
                      <a:pt x="320856" y="222581"/>
                    </a:lnTo>
                    <a:lnTo>
                      <a:pt x="316070" y="230598"/>
                    </a:lnTo>
                    <a:lnTo>
                      <a:pt x="300494" y="228048"/>
                    </a:lnTo>
                    <a:lnTo>
                      <a:pt x="300984" y="230042"/>
                    </a:lnTo>
                    <a:lnTo>
                      <a:pt x="301216" y="230104"/>
                    </a:lnTo>
                    <a:lnTo>
                      <a:pt x="301973" y="230887"/>
                    </a:lnTo>
                    <a:lnTo>
                      <a:pt x="299978" y="232290"/>
                    </a:lnTo>
                    <a:lnTo>
                      <a:pt x="298342" y="232001"/>
                    </a:lnTo>
                    <a:lnTo>
                      <a:pt x="296972" y="230454"/>
                    </a:lnTo>
                    <a:lnTo>
                      <a:pt x="295841" y="228022"/>
                    </a:lnTo>
                    <a:lnTo>
                      <a:pt x="298355" y="223341"/>
                    </a:lnTo>
                    <a:lnTo>
                      <a:pt x="299434" y="223891"/>
                    </a:lnTo>
                    <a:lnTo>
                      <a:pt x="300507" y="225669"/>
                    </a:lnTo>
                    <a:lnTo>
                      <a:pt x="300192" y="222792"/>
                    </a:lnTo>
                    <a:lnTo>
                      <a:pt x="299849" y="221607"/>
                    </a:lnTo>
                    <a:lnTo>
                      <a:pt x="299033" y="220437"/>
                    </a:lnTo>
                    <a:lnTo>
                      <a:pt x="296397" y="224698"/>
                    </a:lnTo>
                    <a:lnTo>
                      <a:pt x="292978" y="228005"/>
                    </a:lnTo>
                    <a:lnTo>
                      <a:pt x="293956" y="231975"/>
                    </a:lnTo>
                    <a:lnTo>
                      <a:pt x="294449" y="233471"/>
                    </a:lnTo>
                    <a:lnTo>
                      <a:pt x="292987" y="233852"/>
                    </a:lnTo>
                    <a:lnTo>
                      <a:pt x="289938" y="236289"/>
                    </a:lnTo>
                    <a:lnTo>
                      <a:pt x="297388" y="243922"/>
                    </a:lnTo>
                    <a:lnTo>
                      <a:pt x="295228" y="245682"/>
                    </a:lnTo>
                    <a:lnTo>
                      <a:pt x="283719" y="250803"/>
                    </a:lnTo>
                    <a:lnTo>
                      <a:pt x="266340" y="263880"/>
                    </a:lnTo>
                    <a:lnTo>
                      <a:pt x="255853" y="265211"/>
                    </a:lnTo>
                    <a:lnTo>
                      <a:pt x="248987" y="264670"/>
                    </a:lnTo>
                    <a:lnTo>
                      <a:pt x="249012" y="261824"/>
                    </a:lnTo>
                    <a:lnTo>
                      <a:pt x="248155" y="261397"/>
                    </a:lnTo>
                    <a:lnTo>
                      <a:pt x="247403" y="261189"/>
                    </a:lnTo>
                    <a:lnTo>
                      <a:pt x="246718" y="260638"/>
                    </a:lnTo>
                    <a:lnTo>
                      <a:pt x="246188" y="259653"/>
                    </a:lnTo>
                    <a:lnTo>
                      <a:pt x="246817" y="258539"/>
                    </a:lnTo>
                    <a:lnTo>
                      <a:pt x="247448" y="257192"/>
                    </a:lnTo>
                    <a:lnTo>
                      <a:pt x="247550" y="256820"/>
                    </a:lnTo>
                    <a:lnTo>
                      <a:pt x="247136" y="252977"/>
                    </a:lnTo>
                    <a:lnTo>
                      <a:pt x="248067" y="248008"/>
                    </a:lnTo>
                    <a:lnTo>
                      <a:pt x="247610" y="244118"/>
                    </a:lnTo>
                    <a:lnTo>
                      <a:pt x="244621" y="242706"/>
                    </a:lnTo>
                    <a:lnTo>
                      <a:pt x="244539" y="240918"/>
                    </a:lnTo>
                    <a:lnTo>
                      <a:pt x="241307" y="243718"/>
                    </a:lnTo>
                    <a:lnTo>
                      <a:pt x="238729" y="249182"/>
                    </a:lnTo>
                    <a:lnTo>
                      <a:pt x="237914" y="255705"/>
                    </a:lnTo>
                    <a:lnTo>
                      <a:pt x="239982" y="261742"/>
                    </a:lnTo>
                    <a:lnTo>
                      <a:pt x="231349" y="263151"/>
                    </a:lnTo>
                    <a:lnTo>
                      <a:pt x="220191" y="255665"/>
                    </a:lnTo>
                    <a:lnTo>
                      <a:pt x="212583" y="242614"/>
                    </a:lnTo>
                    <a:lnTo>
                      <a:pt x="214642" y="227336"/>
                    </a:lnTo>
                    <a:lnTo>
                      <a:pt x="211353" y="229305"/>
                    </a:lnTo>
                    <a:lnTo>
                      <a:pt x="205922" y="236132"/>
                    </a:lnTo>
                    <a:lnTo>
                      <a:pt x="202374" y="237877"/>
                    </a:lnTo>
                    <a:lnTo>
                      <a:pt x="199084" y="237418"/>
                    </a:lnTo>
                    <a:lnTo>
                      <a:pt x="182786" y="229282"/>
                    </a:lnTo>
                    <a:lnTo>
                      <a:pt x="180254" y="227196"/>
                    </a:lnTo>
                    <a:lnTo>
                      <a:pt x="178375" y="224512"/>
                    </a:lnTo>
                    <a:lnTo>
                      <a:pt x="176357" y="218980"/>
                    </a:lnTo>
                    <a:lnTo>
                      <a:pt x="175376" y="214768"/>
                    </a:lnTo>
                    <a:lnTo>
                      <a:pt x="173893" y="212121"/>
                    </a:lnTo>
                    <a:lnTo>
                      <a:pt x="170367" y="211107"/>
                    </a:lnTo>
                    <a:lnTo>
                      <a:pt x="169003" y="212720"/>
                    </a:lnTo>
                    <a:lnTo>
                      <a:pt x="167232" y="216599"/>
                    </a:lnTo>
                    <a:lnTo>
                      <a:pt x="165679" y="221336"/>
                    </a:lnTo>
                    <a:lnTo>
                      <a:pt x="164976" y="225492"/>
                    </a:lnTo>
                    <a:lnTo>
                      <a:pt x="166888" y="234508"/>
                    </a:lnTo>
                    <a:lnTo>
                      <a:pt x="168528" y="240144"/>
                    </a:lnTo>
                    <a:lnTo>
                      <a:pt x="169926" y="242668"/>
                    </a:lnTo>
                    <a:lnTo>
                      <a:pt x="173488" y="242919"/>
                    </a:lnTo>
                    <a:lnTo>
                      <a:pt x="176619" y="243848"/>
                    </a:lnTo>
                    <a:lnTo>
                      <a:pt x="179414" y="245877"/>
                    </a:lnTo>
                    <a:lnTo>
                      <a:pt x="182001" y="249471"/>
                    </a:lnTo>
                    <a:lnTo>
                      <a:pt x="182636" y="254378"/>
                    </a:lnTo>
                    <a:lnTo>
                      <a:pt x="180660" y="258706"/>
                    </a:lnTo>
                    <a:lnTo>
                      <a:pt x="179504" y="263325"/>
                    </a:lnTo>
                    <a:lnTo>
                      <a:pt x="182579" y="268932"/>
                    </a:lnTo>
                    <a:lnTo>
                      <a:pt x="179715" y="274445"/>
                    </a:lnTo>
                    <a:lnTo>
                      <a:pt x="180327" y="282477"/>
                    </a:lnTo>
                    <a:lnTo>
                      <a:pt x="181363" y="289722"/>
                    </a:lnTo>
                    <a:lnTo>
                      <a:pt x="179866" y="292827"/>
                    </a:lnTo>
                    <a:lnTo>
                      <a:pt x="178615" y="293650"/>
                    </a:lnTo>
                    <a:lnTo>
                      <a:pt x="177495" y="295408"/>
                    </a:lnTo>
                    <a:lnTo>
                      <a:pt x="176016" y="297177"/>
                    </a:lnTo>
                    <a:lnTo>
                      <a:pt x="173685" y="297985"/>
                    </a:lnTo>
                    <a:lnTo>
                      <a:pt x="168644" y="297152"/>
                    </a:lnTo>
                    <a:lnTo>
                      <a:pt x="163983" y="294987"/>
                    </a:lnTo>
                    <a:lnTo>
                      <a:pt x="158456" y="290615"/>
                    </a:lnTo>
                    <a:lnTo>
                      <a:pt x="156403" y="289652"/>
                    </a:lnTo>
                    <a:lnTo>
                      <a:pt x="148548" y="289767"/>
                    </a:lnTo>
                    <a:lnTo>
                      <a:pt x="146613" y="288198"/>
                    </a:lnTo>
                    <a:lnTo>
                      <a:pt x="134126" y="268219"/>
                    </a:lnTo>
                    <a:lnTo>
                      <a:pt x="126962" y="260886"/>
                    </a:lnTo>
                    <a:lnTo>
                      <a:pt x="101303" y="244169"/>
                    </a:lnTo>
                    <a:lnTo>
                      <a:pt x="91424" y="241122"/>
                    </a:lnTo>
                    <a:lnTo>
                      <a:pt x="86753" y="238077"/>
                    </a:lnTo>
                    <a:lnTo>
                      <a:pt x="82882" y="227223"/>
                    </a:lnTo>
                    <a:lnTo>
                      <a:pt x="78216" y="225078"/>
                    </a:lnTo>
                    <a:lnTo>
                      <a:pt x="69841" y="225049"/>
                    </a:lnTo>
                    <a:lnTo>
                      <a:pt x="64531" y="227304"/>
                    </a:lnTo>
                    <a:lnTo>
                      <a:pt x="59429" y="231131"/>
                    </a:lnTo>
                    <a:lnTo>
                      <a:pt x="54951" y="235779"/>
                    </a:lnTo>
                    <a:lnTo>
                      <a:pt x="51489" y="240558"/>
                    </a:lnTo>
                    <a:lnTo>
                      <a:pt x="49526" y="243905"/>
                    </a:lnTo>
                    <a:lnTo>
                      <a:pt x="48581" y="246108"/>
                    </a:lnTo>
                    <a:lnTo>
                      <a:pt x="48287" y="248107"/>
                    </a:lnTo>
                    <a:lnTo>
                      <a:pt x="48253" y="250906"/>
                    </a:lnTo>
                    <a:lnTo>
                      <a:pt x="48585" y="254149"/>
                    </a:lnTo>
                    <a:lnTo>
                      <a:pt x="49582" y="258619"/>
                    </a:lnTo>
                    <a:lnTo>
                      <a:pt x="51183" y="262588"/>
                    </a:lnTo>
                    <a:lnTo>
                      <a:pt x="53371" y="264315"/>
                    </a:lnTo>
                    <a:lnTo>
                      <a:pt x="54807" y="268467"/>
                    </a:lnTo>
                    <a:lnTo>
                      <a:pt x="57110" y="277552"/>
                    </a:lnTo>
                    <a:lnTo>
                      <a:pt x="60438" y="286674"/>
                    </a:lnTo>
                    <a:lnTo>
                      <a:pt x="66666" y="292309"/>
                    </a:lnTo>
                    <a:lnTo>
                      <a:pt x="66670" y="295621"/>
                    </a:lnTo>
                    <a:lnTo>
                      <a:pt x="65377" y="302532"/>
                    </a:lnTo>
                    <a:lnTo>
                      <a:pt x="65241" y="306075"/>
                    </a:lnTo>
                    <a:lnTo>
                      <a:pt x="65284" y="307910"/>
                    </a:lnTo>
                    <a:lnTo>
                      <a:pt x="68017" y="314188"/>
                    </a:lnTo>
                    <a:lnTo>
                      <a:pt x="63292" y="312846"/>
                    </a:lnTo>
                    <a:lnTo>
                      <a:pt x="53919" y="307484"/>
                    </a:lnTo>
                    <a:lnTo>
                      <a:pt x="49394" y="306220"/>
                    </a:lnTo>
                    <a:lnTo>
                      <a:pt x="47330" y="303516"/>
                    </a:lnTo>
                    <a:lnTo>
                      <a:pt x="46095" y="297455"/>
                    </a:lnTo>
                    <a:lnTo>
                      <a:pt x="46430" y="291178"/>
                    </a:lnTo>
                    <a:lnTo>
                      <a:pt x="49094" y="287691"/>
                    </a:lnTo>
                    <a:lnTo>
                      <a:pt x="47476" y="285276"/>
                    </a:lnTo>
                    <a:lnTo>
                      <a:pt x="46633" y="282738"/>
                    </a:lnTo>
                    <a:lnTo>
                      <a:pt x="46654" y="280111"/>
                    </a:lnTo>
                    <a:lnTo>
                      <a:pt x="47678" y="277241"/>
                    </a:lnTo>
                    <a:lnTo>
                      <a:pt x="43568" y="276684"/>
                    </a:lnTo>
                    <a:lnTo>
                      <a:pt x="41780" y="275912"/>
                    </a:lnTo>
                    <a:lnTo>
                      <a:pt x="40349" y="274480"/>
                    </a:lnTo>
                    <a:lnTo>
                      <a:pt x="39439" y="271007"/>
                    </a:lnTo>
                    <a:lnTo>
                      <a:pt x="38590" y="265623"/>
                    </a:lnTo>
                    <a:lnTo>
                      <a:pt x="37329" y="260649"/>
                    </a:lnTo>
                    <a:lnTo>
                      <a:pt x="35235" y="258454"/>
                    </a:lnTo>
                    <a:lnTo>
                      <a:pt x="30836" y="256255"/>
                    </a:lnTo>
                    <a:lnTo>
                      <a:pt x="10515" y="230344"/>
                    </a:lnTo>
                    <a:lnTo>
                      <a:pt x="4446" y="218670"/>
                    </a:lnTo>
                    <a:lnTo>
                      <a:pt x="744" y="204999"/>
                    </a:lnTo>
                    <a:lnTo>
                      <a:pt x="0" y="189769"/>
                    </a:lnTo>
                    <a:lnTo>
                      <a:pt x="1015" y="175982"/>
                    </a:lnTo>
                    <a:lnTo>
                      <a:pt x="2677" y="169087"/>
                    </a:lnTo>
                    <a:lnTo>
                      <a:pt x="5835" y="166163"/>
                    </a:lnTo>
                    <a:lnTo>
                      <a:pt x="10454" y="166543"/>
                    </a:lnTo>
                    <a:lnTo>
                      <a:pt x="12877" y="166243"/>
                    </a:lnTo>
                    <a:lnTo>
                      <a:pt x="13967" y="165072"/>
                    </a:lnTo>
                    <a:lnTo>
                      <a:pt x="15082" y="160650"/>
                    </a:lnTo>
                    <a:lnTo>
                      <a:pt x="17206" y="162754"/>
                    </a:lnTo>
                    <a:lnTo>
                      <a:pt x="19225" y="167049"/>
                    </a:lnTo>
                    <a:lnTo>
                      <a:pt x="19978" y="169120"/>
                    </a:lnTo>
                    <a:lnTo>
                      <a:pt x="23130" y="174608"/>
                    </a:lnTo>
                    <a:lnTo>
                      <a:pt x="24667" y="178283"/>
                    </a:lnTo>
                    <a:lnTo>
                      <a:pt x="25653" y="182319"/>
                    </a:lnTo>
                    <a:lnTo>
                      <a:pt x="25724" y="186505"/>
                    </a:lnTo>
                    <a:lnTo>
                      <a:pt x="25186" y="195762"/>
                    </a:lnTo>
                    <a:lnTo>
                      <a:pt x="26068" y="199298"/>
                    </a:lnTo>
                    <a:lnTo>
                      <a:pt x="28901" y="203501"/>
                    </a:lnTo>
                    <a:lnTo>
                      <a:pt x="32449" y="207020"/>
                    </a:lnTo>
                    <a:lnTo>
                      <a:pt x="36366" y="207762"/>
                    </a:lnTo>
                    <a:lnTo>
                      <a:pt x="40300" y="203761"/>
                    </a:lnTo>
                    <a:lnTo>
                      <a:pt x="41057" y="202269"/>
                    </a:lnTo>
                    <a:lnTo>
                      <a:pt x="41989" y="200969"/>
                    </a:lnTo>
                    <a:lnTo>
                      <a:pt x="42048" y="198357"/>
                    </a:lnTo>
                    <a:lnTo>
                      <a:pt x="34537" y="182198"/>
                    </a:lnTo>
                    <a:lnTo>
                      <a:pt x="33367" y="178688"/>
                    </a:lnTo>
                    <a:lnTo>
                      <a:pt x="32843" y="175538"/>
                    </a:lnTo>
                    <a:lnTo>
                      <a:pt x="42932" y="170419"/>
                    </a:lnTo>
                    <a:lnTo>
                      <a:pt x="49145" y="170655"/>
                    </a:lnTo>
                    <a:lnTo>
                      <a:pt x="56551" y="174431"/>
                    </a:lnTo>
                    <a:lnTo>
                      <a:pt x="58882" y="173729"/>
                    </a:lnTo>
                    <a:lnTo>
                      <a:pt x="64407" y="168217"/>
                    </a:lnTo>
                    <a:lnTo>
                      <a:pt x="66237" y="162745"/>
                    </a:lnTo>
                    <a:lnTo>
                      <a:pt x="68667" y="159922"/>
                    </a:lnTo>
                    <a:lnTo>
                      <a:pt x="84047" y="157358"/>
                    </a:lnTo>
                    <a:lnTo>
                      <a:pt x="89503" y="161079"/>
                    </a:lnTo>
                    <a:lnTo>
                      <a:pt x="92052" y="158579"/>
                    </a:lnTo>
                    <a:lnTo>
                      <a:pt x="105738" y="158628"/>
                    </a:lnTo>
                    <a:lnTo>
                      <a:pt x="121326" y="154333"/>
                    </a:lnTo>
                    <a:lnTo>
                      <a:pt x="123678" y="151727"/>
                    </a:lnTo>
                    <a:lnTo>
                      <a:pt x="124460" y="148342"/>
                    </a:lnTo>
                    <a:lnTo>
                      <a:pt x="123840" y="145568"/>
                    </a:lnTo>
                    <a:lnTo>
                      <a:pt x="118435" y="142077"/>
                    </a:lnTo>
                    <a:lnTo>
                      <a:pt x="117062" y="133669"/>
                    </a:lnTo>
                    <a:lnTo>
                      <a:pt x="118057" y="129114"/>
                    </a:lnTo>
                    <a:lnTo>
                      <a:pt x="126138" y="121413"/>
                    </a:lnTo>
                    <a:lnTo>
                      <a:pt x="139356" y="114403"/>
                    </a:lnTo>
                    <a:lnTo>
                      <a:pt x="142099" y="113599"/>
                    </a:lnTo>
                    <a:lnTo>
                      <a:pt x="152893" y="117479"/>
                    </a:lnTo>
                    <a:lnTo>
                      <a:pt x="157605" y="115180"/>
                    </a:lnTo>
                    <a:lnTo>
                      <a:pt x="159617" y="114183"/>
                    </a:lnTo>
                    <a:lnTo>
                      <a:pt x="161449" y="108483"/>
                    </a:lnTo>
                    <a:lnTo>
                      <a:pt x="164313" y="108525"/>
                    </a:lnTo>
                    <a:lnTo>
                      <a:pt x="165403" y="121338"/>
                    </a:lnTo>
                    <a:lnTo>
                      <a:pt x="168190" y="121003"/>
                    </a:lnTo>
                    <a:lnTo>
                      <a:pt x="171584" y="117219"/>
                    </a:lnTo>
                    <a:lnTo>
                      <a:pt x="171929" y="109482"/>
                    </a:lnTo>
                    <a:lnTo>
                      <a:pt x="175797" y="106238"/>
                    </a:lnTo>
                    <a:lnTo>
                      <a:pt x="177617" y="92676"/>
                    </a:lnTo>
                    <a:lnTo>
                      <a:pt x="182936" y="83623"/>
                    </a:lnTo>
                    <a:lnTo>
                      <a:pt x="184013" y="75462"/>
                    </a:lnTo>
                    <a:lnTo>
                      <a:pt x="190009" y="70761"/>
                    </a:lnTo>
                    <a:lnTo>
                      <a:pt x="195540" y="58409"/>
                    </a:lnTo>
                    <a:lnTo>
                      <a:pt x="198270" y="57593"/>
                    </a:lnTo>
                    <a:lnTo>
                      <a:pt x="207011" y="59832"/>
                    </a:lnTo>
                    <a:lnTo>
                      <a:pt x="208465" y="59414"/>
                    </a:lnTo>
                    <a:lnTo>
                      <a:pt x="209841" y="55185"/>
                    </a:lnTo>
                    <a:lnTo>
                      <a:pt x="219133" y="56355"/>
                    </a:lnTo>
                    <a:lnTo>
                      <a:pt x="222423" y="58622"/>
                    </a:lnTo>
                    <a:lnTo>
                      <a:pt x="226938" y="65996"/>
                    </a:lnTo>
                    <a:lnTo>
                      <a:pt x="230613" y="67832"/>
                    </a:lnTo>
                    <a:lnTo>
                      <a:pt x="235446" y="61838"/>
                    </a:lnTo>
                    <a:lnTo>
                      <a:pt x="235448" y="55459"/>
                    </a:lnTo>
                    <a:lnTo>
                      <a:pt x="241659" y="43848"/>
                    </a:lnTo>
                    <a:lnTo>
                      <a:pt x="239093" y="34592"/>
                    </a:lnTo>
                    <a:lnTo>
                      <a:pt x="239969" y="25151"/>
                    </a:lnTo>
                    <a:lnTo>
                      <a:pt x="245155" y="17981"/>
                    </a:lnTo>
                    <a:lnTo>
                      <a:pt x="259862" y="10458"/>
                    </a:lnTo>
                    <a:lnTo>
                      <a:pt x="260718" y="9301"/>
                    </a:lnTo>
                    <a:lnTo>
                      <a:pt x="258719" y="3132"/>
                    </a:lnTo>
                    <a:lnTo>
                      <a:pt x="260836" y="1768"/>
                    </a:lnTo>
                    <a:lnTo>
                      <a:pt x="264249" y="542"/>
                    </a:lnTo>
                    <a:lnTo>
                      <a:pt x="265726"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73" name="Freeform 138">
                <a:extLst>
                  <a:ext uri="{FF2B5EF4-FFF2-40B4-BE49-F238E27FC236}">
                    <a16:creationId xmlns:a16="http://schemas.microsoft.com/office/drawing/2014/main" id="{9CF4940C-CBD1-7C06-D59A-DB57106DD663}"/>
                  </a:ext>
                </a:extLst>
              </p:cNvPr>
              <p:cNvSpPr>
                <a:spLocks noChangeAspect="1"/>
              </p:cNvSpPr>
              <p:nvPr>
                <p:custDataLst>
                  <p:tags r:id="rId109"/>
                </p:custDataLst>
              </p:nvPr>
            </p:nvSpPr>
            <p:spPr>
              <a:xfrm>
                <a:off x="4488535" y="3742875"/>
                <a:ext cx="320846" cy="420156"/>
              </a:xfrm>
              <a:custGeom>
                <a:avLst/>
                <a:gdLst/>
                <a:ahLst/>
                <a:cxnLst/>
                <a:rect l="0" t="0" r="0" b="0"/>
                <a:pathLst>
                  <a:path w="329423" h="431387">
                    <a:moveTo>
                      <a:pt x="238394" y="42019"/>
                    </a:moveTo>
                    <a:lnTo>
                      <a:pt x="247531" y="39254"/>
                    </a:lnTo>
                    <a:lnTo>
                      <a:pt x="251943" y="42060"/>
                    </a:lnTo>
                    <a:lnTo>
                      <a:pt x="249675" y="44954"/>
                    </a:lnTo>
                    <a:lnTo>
                      <a:pt x="250681" y="47487"/>
                    </a:lnTo>
                    <a:lnTo>
                      <a:pt x="249989" y="50262"/>
                    </a:lnTo>
                    <a:lnTo>
                      <a:pt x="252885" y="57432"/>
                    </a:lnTo>
                    <a:lnTo>
                      <a:pt x="235918" y="68058"/>
                    </a:lnTo>
                    <a:lnTo>
                      <a:pt x="234424" y="70407"/>
                    </a:lnTo>
                    <a:lnTo>
                      <a:pt x="234335" y="77951"/>
                    </a:lnTo>
                    <a:lnTo>
                      <a:pt x="229127" y="85441"/>
                    </a:lnTo>
                    <a:lnTo>
                      <a:pt x="235080" y="88765"/>
                    </a:lnTo>
                    <a:lnTo>
                      <a:pt x="236876" y="96503"/>
                    </a:lnTo>
                    <a:lnTo>
                      <a:pt x="240366" y="101969"/>
                    </a:lnTo>
                    <a:lnTo>
                      <a:pt x="236491" y="104782"/>
                    </a:lnTo>
                    <a:lnTo>
                      <a:pt x="234225" y="113520"/>
                    </a:lnTo>
                    <a:lnTo>
                      <a:pt x="229145" y="117501"/>
                    </a:lnTo>
                    <a:lnTo>
                      <a:pt x="230530" y="121207"/>
                    </a:lnTo>
                    <a:lnTo>
                      <a:pt x="235246" y="126778"/>
                    </a:lnTo>
                    <a:lnTo>
                      <a:pt x="235964" y="131113"/>
                    </a:lnTo>
                    <a:lnTo>
                      <a:pt x="234490" y="135160"/>
                    </a:lnTo>
                    <a:lnTo>
                      <a:pt x="236017" y="140028"/>
                    </a:lnTo>
                    <a:lnTo>
                      <a:pt x="242695" y="145900"/>
                    </a:lnTo>
                    <a:lnTo>
                      <a:pt x="250106" y="146850"/>
                    </a:lnTo>
                    <a:lnTo>
                      <a:pt x="265193" y="136038"/>
                    </a:lnTo>
                    <a:lnTo>
                      <a:pt x="269218" y="131201"/>
                    </a:lnTo>
                    <a:lnTo>
                      <a:pt x="271908" y="130510"/>
                    </a:lnTo>
                    <a:lnTo>
                      <a:pt x="280475" y="144305"/>
                    </a:lnTo>
                    <a:lnTo>
                      <a:pt x="293187" y="154634"/>
                    </a:lnTo>
                    <a:lnTo>
                      <a:pt x="288631" y="176025"/>
                    </a:lnTo>
                    <a:lnTo>
                      <a:pt x="282950" y="190126"/>
                    </a:lnTo>
                    <a:lnTo>
                      <a:pt x="285021" y="193381"/>
                    </a:lnTo>
                    <a:lnTo>
                      <a:pt x="297033" y="199461"/>
                    </a:lnTo>
                    <a:lnTo>
                      <a:pt x="299355" y="202505"/>
                    </a:lnTo>
                    <a:lnTo>
                      <a:pt x="299711" y="205363"/>
                    </a:lnTo>
                    <a:lnTo>
                      <a:pt x="298230" y="209198"/>
                    </a:lnTo>
                    <a:lnTo>
                      <a:pt x="294010" y="214047"/>
                    </a:lnTo>
                    <a:lnTo>
                      <a:pt x="296191" y="223470"/>
                    </a:lnTo>
                    <a:lnTo>
                      <a:pt x="298754" y="229157"/>
                    </a:lnTo>
                    <a:lnTo>
                      <a:pt x="315768" y="242557"/>
                    </a:lnTo>
                    <a:lnTo>
                      <a:pt x="319847" y="250444"/>
                    </a:lnTo>
                    <a:lnTo>
                      <a:pt x="326211" y="251616"/>
                    </a:lnTo>
                    <a:lnTo>
                      <a:pt x="327615" y="267824"/>
                    </a:lnTo>
                    <a:lnTo>
                      <a:pt x="329422" y="272571"/>
                    </a:lnTo>
                    <a:lnTo>
                      <a:pt x="328463" y="279224"/>
                    </a:lnTo>
                    <a:lnTo>
                      <a:pt x="325504" y="277737"/>
                    </a:lnTo>
                    <a:lnTo>
                      <a:pt x="319864" y="282834"/>
                    </a:lnTo>
                    <a:lnTo>
                      <a:pt x="308622" y="282494"/>
                    </a:lnTo>
                    <a:lnTo>
                      <a:pt x="301600" y="287390"/>
                    </a:lnTo>
                    <a:lnTo>
                      <a:pt x="297518" y="294250"/>
                    </a:lnTo>
                    <a:lnTo>
                      <a:pt x="300372" y="303012"/>
                    </a:lnTo>
                    <a:lnTo>
                      <a:pt x="300446" y="307573"/>
                    </a:lnTo>
                    <a:lnTo>
                      <a:pt x="286424" y="320217"/>
                    </a:lnTo>
                    <a:lnTo>
                      <a:pt x="287824" y="323276"/>
                    </a:lnTo>
                    <a:lnTo>
                      <a:pt x="294217" y="327857"/>
                    </a:lnTo>
                    <a:lnTo>
                      <a:pt x="295759" y="331427"/>
                    </a:lnTo>
                    <a:lnTo>
                      <a:pt x="296050" y="342145"/>
                    </a:lnTo>
                    <a:lnTo>
                      <a:pt x="294815" y="346411"/>
                    </a:lnTo>
                    <a:lnTo>
                      <a:pt x="297392" y="352531"/>
                    </a:lnTo>
                    <a:lnTo>
                      <a:pt x="296692" y="358911"/>
                    </a:lnTo>
                    <a:lnTo>
                      <a:pt x="295420" y="360947"/>
                    </a:lnTo>
                    <a:lnTo>
                      <a:pt x="291034" y="361974"/>
                    </a:lnTo>
                    <a:lnTo>
                      <a:pt x="285831" y="358341"/>
                    </a:lnTo>
                    <a:lnTo>
                      <a:pt x="279122" y="361839"/>
                    </a:lnTo>
                    <a:lnTo>
                      <a:pt x="275226" y="366991"/>
                    </a:lnTo>
                    <a:lnTo>
                      <a:pt x="264730" y="366392"/>
                    </a:lnTo>
                    <a:lnTo>
                      <a:pt x="262391" y="363343"/>
                    </a:lnTo>
                    <a:lnTo>
                      <a:pt x="246040" y="374915"/>
                    </a:lnTo>
                    <a:lnTo>
                      <a:pt x="236033" y="379818"/>
                    </a:lnTo>
                    <a:lnTo>
                      <a:pt x="224538" y="378789"/>
                    </a:lnTo>
                    <a:lnTo>
                      <a:pt x="218174" y="388417"/>
                    </a:lnTo>
                    <a:lnTo>
                      <a:pt x="217043" y="392892"/>
                    </a:lnTo>
                    <a:lnTo>
                      <a:pt x="215082" y="394395"/>
                    </a:lnTo>
                    <a:lnTo>
                      <a:pt x="206544" y="392252"/>
                    </a:lnTo>
                    <a:lnTo>
                      <a:pt x="201127" y="385197"/>
                    </a:lnTo>
                    <a:lnTo>
                      <a:pt x="187864" y="382350"/>
                    </a:lnTo>
                    <a:lnTo>
                      <a:pt x="183647" y="388974"/>
                    </a:lnTo>
                    <a:lnTo>
                      <a:pt x="178440" y="391112"/>
                    </a:lnTo>
                    <a:lnTo>
                      <a:pt x="178068" y="391291"/>
                    </a:lnTo>
                    <a:lnTo>
                      <a:pt x="174768" y="384809"/>
                    </a:lnTo>
                    <a:lnTo>
                      <a:pt x="174002" y="381209"/>
                    </a:lnTo>
                    <a:lnTo>
                      <a:pt x="178762" y="379271"/>
                    </a:lnTo>
                    <a:lnTo>
                      <a:pt x="183767" y="374316"/>
                    </a:lnTo>
                    <a:lnTo>
                      <a:pt x="187071" y="367569"/>
                    </a:lnTo>
                    <a:lnTo>
                      <a:pt x="186841" y="360216"/>
                    </a:lnTo>
                    <a:lnTo>
                      <a:pt x="185315" y="360230"/>
                    </a:lnTo>
                    <a:lnTo>
                      <a:pt x="184512" y="365974"/>
                    </a:lnTo>
                    <a:lnTo>
                      <a:pt x="181370" y="370573"/>
                    </a:lnTo>
                    <a:lnTo>
                      <a:pt x="174778" y="375978"/>
                    </a:lnTo>
                    <a:lnTo>
                      <a:pt x="166809" y="380426"/>
                    </a:lnTo>
                    <a:lnTo>
                      <a:pt x="162750" y="383752"/>
                    </a:lnTo>
                    <a:lnTo>
                      <a:pt x="160987" y="387840"/>
                    </a:lnTo>
                    <a:lnTo>
                      <a:pt x="159299" y="393557"/>
                    </a:lnTo>
                    <a:lnTo>
                      <a:pt x="155111" y="396245"/>
                    </a:lnTo>
                    <a:lnTo>
                      <a:pt x="145046" y="397058"/>
                    </a:lnTo>
                    <a:lnTo>
                      <a:pt x="142008" y="394621"/>
                    </a:lnTo>
                    <a:lnTo>
                      <a:pt x="138925" y="389072"/>
                    </a:lnTo>
                    <a:lnTo>
                      <a:pt x="137552" y="382986"/>
                    </a:lnTo>
                    <a:lnTo>
                      <a:pt x="139576" y="379056"/>
                    </a:lnTo>
                    <a:lnTo>
                      <a:pt x="137941" y="374650"/>
                    </a:lnTo>
                    <a:lnTo>
                      <a:pt x="135883" y="370961"/>
                    </a:lnTo>
                    <a:lnTo>
                      <a:pt x="133355" y="369296"/>
                    </a:lnTo>
                    <a:lnTo>
                      <a:pt x="130364" y="370805"/>
                    </a:lnTo>
                    <a:lnTo>
                      <a:pt x="131401" y="376055"/>
                    </a:lnTo>
                    <a:lnTo>
                      <a:pt x="130720" y="381408"/>
                    </a:lnTo>
                    <a:lnTo>
                      <a:pt x="129473" y="386389"/>
                    </a:lnTo>
                    <a:lnTo>
                      <a:pt x="128804" y="390622"/>
                    </a:lnTo>
                    <a:lnTo>
                      <a:pt x="127837" y="393798"/>
                    </a:lnTo>
                    <a:lnTo>
                      <a:pt x="121232" y="402414"/>
                    </a:lnTo>
                    <a:lnTo>
                      <a:pt x="117479" y="410424"/>
                    </a:lnTo>
                    <a:lnTo>
                      <a:pt x="115199" y="414149"/>
                    </a:lnTo>
                    <a:lnTo>
                      <a:pt x="109086" y="417533"/>
                    </a:lnTo>
                    <a:lnTo>
                      <a:pt x="108611" y="421873"/>
                    </a:lnTo>
                    <a:lnTo>
                      <a:pt x="109316" y="427048"/>
                    </a:lnTo>
                    <a:lnTo>
                      <a:pt x="109114" y="431386"/>
                    </a:lnTo>
                    <a:lnTo>
                      <a:pt x="101191" y="420315"/>
                    </a:lnTo>
                    <a:lnTo>
                      <a:pt x="99115" y="418395"/>
                    </a:lnTo>
                    <a:lnTo>
                      <a:pt x="95540" y="418157"/>
                    </a:lnTo>
                    <a:lnTo>
                      <a:pt x="92437" y="417311"/>
                    </a:lnTo>
                    <a:lnTo>
                      <a:pt x="89843" y="415655"/>
                    </a:lnTo>
                    <a:lnTo>
                      <a:pt x="87630" y="412986"/>
                    </a:lnTo>
                    <a:lnTo>
                      <a:pt x="88253" y="407077"/>
                    </a:lnTo>
                    <a:lnTo>
                      <a:pt x="89483" y="400543"/>
                    </a:lnTo>
                    <a:lnTo>
                      <a:pt x="89331" y="395009"/>
                    </a:lnTo>
                    <a:lnTo>
                      <a:pt x="85910" y="392094"/>
                    </a:lnTo>
                    <a:lnTo>
                      <a:pt x="85903" y="389482"/>
                    </a:lnTo>
                    <a:lnTo>
                      <a:pt x="93323" y="387099"/>
                    </a:lnTo>
                    <a:lnTo>
                      <a:pt x="95172" y="375976"/>
                    </a:lnTo>
                    <a:lnTo>
                      <a:pt x="94623" y="363057"/>
                    </a:lnTo>
                    <a:lnTo>
                      <a:pt x="94972" y="355313"/>
                    </a:lnTo>
                    <a:lnTo>
                      <a:pt x="91463" y="357376"/>
                    </a:lnTo>
                    <a:lnTo>
                      <a:pt x="89639" y="361362"/>
                    </a:lnTo>
                    <a:lnTo>
                      <a:pt x="87520" y="370976"/>
                    </a:lnTo>
                    <a:lnTo>
                      <a:pt x="89504" y="378434"/>
                    </a:lnTo>
                    <a:lnTo>
                      <a:pt x="86162" y="380199"/>
                    </a:lnTo>
                    <a:lnTo>
                      <a:pt x="81022" y="379761"/>
                    </a:lnTo>
                    <a:lnTo>
                      <a:pt x="77476" y="380499"/>
                    </a:lnTo>
                    <a:lnTo>
                      <a:pt x="72831" y="382545"/>
                    </a:lnTo>
                    <a:lnTo>
                      <a:pt x="67967" y="377639"/>
                    </a:lnTo>
                    <a:lnTo>
                      <a:pt x="59915" y="363219"/>
                    </a:lnTo>
                    <a:lnTo>
                      <a:pt x="53279" y="354859"/>
                    </a:lnTo>
                    <a:lnTo>
                      <a:pt x="50335" y="349760"/>
                    </a:lnTo>
                    <a:lnTo>
                      <a:pt x="49099" y="343634"/>
                    </a:lnTo>
                    <a:lnTo>
                      <a:pt x="49661" y="340695"/>
                    </a:lnTo>
                    <a:lnTo>
                      <a:pt x="50640" y="337570"/>
                    </a:lnTo>
                    <a:lnTo>
                      <a:pt x="51057" y="334164"/>
                    </a:lnTo>
                    <a:lnTo>
                      <a:pt x="49423" y="328740"/>
                    </a:lnTo>
                    <a:lnTo>
                      <a:pt x="48978" y="324836"/>
                    </a:lnTo>
                    <a:lnTo>
                      <a:pt x="48334" y="324090"/>
                    </a:lnTo>
                    <a:lnTo>
                      <a:pt x="43024" y="321477"/>
                    </a:lnTo>
                    <a:lnTo>
                      <a:pt x="35441" y="305522"/>
                    </a:lnTo>
                    <a:lnTo>
                      <a:pt x="30232" y="300806"/>
                    </a:lnTo>
                    <a:lnTo>
                      <a:pt x="9360" y="271244"/>
                    </a:lnTo>
                    <a:lnTo>
                      <a:pt x="5753" y="269261"/>
                    </a:lnTo>
                    <a:lnTo>
                      <a:pt x="4636" y="267967"/>
                    </a:lnTo>
                    <a:lnTo>
                      <a:pt x="2322" y="262442"/>
                    </a:lnTo>
                    <a:lnTo>
                      <a:pt x="0" y="259838"/>
                    </a:lnTo>
                    <a:lnTo>
                      <a:pt x="1642" y="256966"/>
                    </a:lnTo>
                    <a:lnTo>
                      <a:pt x="4005" y="254237"/>
                    </a:lnTo>
                    <a:lnTo>
                      <a:pt x="5036" y="253337"/>
                    </a:lnTo>
                    <a:lnTo>
                      <a:pt x="9777" y="240086"/>
                    </a:lnTo>
                    <a:lnTo>
                      <a:pt x="15705" y="210246"/>
                    </a:lnTo>
                    <a:lnTo>
                      <a:pt x="23181" y="192954"/>
                    </a:lnTo>
                    <a:lnTo>
                      <a:pt x="26312" y="183474"/>
                    </a:lnTo>
                    <a:lnTo>
                      <a:pt x="27824" y="180118"/>
                    </a:lnTo>
                    <a:lnTo>
                      <a:pt x="29694" y="178472"/>
                    </a:lnTo>
                    <a:lnTo>
                      <a:pt x="34517" y="176594"/>
                    </a:lnTo>
                    <a:lnTo>
                      <a:pt x="36889" y="174916"/>
                    </a:lnTo>
                    <a:lnTo>
                      <a:pt x="39691" y="171202"/>
                    </a:lnTo>
                    <a:lnTo>
                      <a:pt x="43192" y="164922"/>
                    </a:lnTo>
                    <a:lnTo>
                      <a:pt x="45086" y="157661"/>
                    </a:lnTo>
                    <a:lnTo>
                      <a:pt x="43061" y="151177"/>
                    </a:lnTo>
                    <a:lnTo>
                      <a:pt x="50244" y="128787"/>
                    </a:lnTo>
                    <a:lnTo>
                      <a:pt x="54553" y="118337"/>
                    </a:lnTo>
                    <a:lnTo>
                      <a:pt x="59699" y="112052"/>
                    </a:lnTo>
                    <a:lnTo>
                      <a:pt x="63989" y="111006"/>
                    </a:lnTo>
                    <a:lnTo>
                      <a:pt x="66540" y="113008"/>
                    </a:lnTo>
                    <a:lnTo>
                      <a:pt x="68877" y="115836"/>
                    </a:lnTo>
                    <a:lnTo>
                      <a:pt x="72457" y="117244"/>
                    </a:lnTo>
                    <a:lnTo>
                      <a:pt x="74817" y="116960"/>
                    </a:lnTo>
                    <a:lnTo>
                      <a:pt x="83838" y="112012"/>
                    </a:lnTo>
                    <a:lnTo>
                      <a:pt x="81044" y="109843"/>
                    </a:lnTo>
                    <a:lnTo>
                      <a:pt x="70058" y="104203"/>
                    </a:lnTo>
                    <a:lnTo>
                      <a:pt x="75711" y="97943"/>
                    </a:lnTo>
                    <a:lnTo>
                      <a:pt x="78993" y="95355"/>
                    </a:lnTo>
                    <a:lnTo>
                      <a:pt x="92787" y="91121"/>
                    </a:lnTo>
                    <a:lnTo>
                      <a:pt x="95549" y="91953"/>
                    </a:lnTo>
                    <a:lnTo>
                      <a:pt x="97169" y="93316"/>
                    </a:lnTo>
                    <a:lnTo>
                      <a:pt x="98425" y="94898"/>
                    </a:lnTo>
                    <a:lnTo>
                      <a:pt x="100144" y="96291"/>
                    </a:lnTo>
                    <a:lnTo>
                      <a:pt x="108354" y="99043"/>
                    </a:lnTo>
                    <a:lnTo>
                      <a:pt x="112751" y="99351"/>
                    </a:lnTo>
                    <a:lnTo>
                      <a:pt x="130997" y="93726"/>
                    </a:lnTo>
                    <a:lnTo>
                      <a:pt x="134866" y="90937"/>
                    </a:lnTo>
                    <a:lnTo>
                      <a:pt x="119751" y="91016"/>
                    </a:lnTo>
                    <a:lnTo>
                      <a:pt x="119738" y="88404"/>
                    </a:lnTo>
                    <a:lnTo>
                      <a:pt x="123948" y="87669"/>
                    </a:lnTo>
                    <a:lnTo>
                      <a:pt x="127292" y="85474"/>
                    </a:lnTo>
                    <a:lnTo>
                      <a:pt x="130641" y="84056"/>
                    </a:lnTo>
                    <a:lnTo>
                      <a:pt x="134836" y="85712"/>
                    </a:lnTo>
                    <a:lnTo>
                      <a:pt x="134819" y="82867"/>
                    </a:lnTo>
                    <a:lnTo>
                      <a:pt x="129443" y="80378"/>
                    </a:lnTo>
                    <a:lnTo>
                      <a:pt x="128570" y="80616"/>
                    </a:lnTo>
                    <a:lnTo>
                      <a:pt x="128568" y="80618"/>
                    </a:lnTo>
                    <a:lnTo>
                      <a:pt x="129486" y="73664"/>
                    </a:lnTo>
                    <a:lnTo>
                      <a:pt x="132295" y="67705"/>
                    </a:lnTo>
                    <a:lnTo>
                      <a:pt x="132523" y="66045"/>
                    </a:lnTo>
                    <a:lnTo>
                      <a:pt x="132818" y="55993"/>
                    </a:lnTo>
                    <a:lnTo>
                      <a:pt x="133729" y="54130"/>
                    </a:lnTo>
                    <a:lnTo>
                      <a:pt x="134879" y="53433"/>
                    </a:lnTo>
                    <a:lnTo>
                      <a:pt x="136143" y="53821"/>
                    </a:lnTo>
                    <a:lnTo>
                      <a:pt x="144496" y="58134"/>
                    </a:lnTo>
                    <a:lnTo>
                      <a:pt x="146036" y="58401"/>
                    </a:lnTo>
                    <a:lnTo>
                      <a:pt x="149574" y="57745"/>
                    </a:lnTo>
                    <a:lnTo>
                      <a:pt x="150721" y="56750"/>
                    </a:lnTo>
                    <a:lnTo>
                      <a:pt x="151629" y="55559"/>
                    </a:lnTo>
                    <a:lnTo>
                      <a:pt x="155213" y="47239"/>
                    </a:lnTo>
                    <a:lnTo>
                      <a:pt x="156379" y="45987"/>
                    </a:lnTo>
                    <a:lnTo>
                      <a:pt x="163370" y="42657"/>
                    </a:lnTo>
                    <a:lnTo>
                      <a:pt x="164925" y="41363"/>
                    </a:lnTo>
                    <a:lnTo>
                      <a:pt x="166571" y="39374"/>
                    </a:lnTo>
                    <a:lnTo>
                      <a:pt x="167305" y="37927"/>
                    </a:lnTo>
                    <a:lnTo>
                      <a:pt x="172014" y="30729"/>
                    </a:lnTo>
                    <a:lnTo>
                      <a:pt x="178013" y="21547"/>
                    </a:lnTo>
                    <a:lnTo>
                      <a:pt x="181112" y="19110"/>
                    </a:lnTo>
                    <a:lnTo>
                      <a:pt x="184923" y="18011"/>
                    </a:lnTo>
                    <a:lnTo>
                      <a:pt x="194516" y="13359"/>
                    </a:lnTo>
                    <a:lnTo>
                      <a:pt x="200509" y="9093"/>
                    </a:lnTo>
                    <a:lnTo>
                      <a:pt x="205141" y="4406"/>
                    </a:lnTo>
                    <a:lnTo>
                      <a:pt x="207816" y="0"/>
                    </a:lnTo>
                    <a:lnTo>
                      <a:pt x="207816" y="0"/>
                    </a:lnTo>
                    <a:lnTo>
                      <a:pt x="209467" y="1911"/>
                    </a:lnTo>
                    <a:lnTo>
                      <a:pt x="214730" y="18096"/>
                    </a:lnTo>
                    <a:lnTo>
                      <a:pt x="217695" y="22320"/>
                    </a:lnTo>
                    <a:lnTo>
                      <a:pt x="227137" y="25488"/>
                    </a:lnTo>
                    <a:lnTo>
                      <a:pt x="229478" y="33320"/>
                    </a:lnTo>
                    <a:lnTo>
                      <a:pt x="236642" y="3842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74" name="Freeform 139">
                <a:extLst>
                  <a:ext uri="{FF2B5EF4-FFF2-40B4-BE49-F238E27FC236}">
                    <a16:creationId xmlns:a16="http://schemas.microsoft.com/office/drawing/2014/main" id="{02B1E785-C784-238E-822D-599B328AF6E3}"/>
                  </a:ext>
                </a:extLst>
              </p:cNvPr>
              <p:cNvSpPr>
                <a:spLocks noChangeAspect="1"/>
              </p:cNvSpPr>
              <p:nvPr>
                <p:custDataLst>
                  <p:tags r:id="rId110"/>
                </p:custDataLst>
              </p:nvPr>
            </p:nvSpPr>
            <p:spPr>
              <a:xfrm>
                <a:off x="4724237" y="3968656"/>
                <a:ext cx="512165" cy="352001"/>
              </a:xfrm>
              <a:custGeom>
                <a:avLst/>
                <a:gdLst/>
                <a:ahLst/>
                <a:cxnLst/>
                <a:rect l="0" t="0" r="0" b="0"/>
                <a:pathLst>
                  <a:path w="525856" h="361411">
                    <a:moveTo>
                      <a:pt x="525855" y="149224"/>
                    </a:moveTo>
                    <a:lnTo>
                      <a:pt x="525849" y="149239"/>
                    </a:lnTo>
                    <a:lnTo>
                      <a:pt x="525717" y="149531"/>
                    </a:lnTo>
                    <a:lnTo>
                      <a:pt x="523870" y="154203"/>
                    </a:lnTo>
                    <a:lnTo>
                      <a:pt x="521057" y="156883"/>
                    </a:lnTo>
                    <a:lnTo>
                      <a:pt x="504988" y="156452"/>
                    </a:lnTo>
                    <a:lnTo>
                      <a:pt x="500936" y="153332"/>
                    </a:lnTo>
                    <a:lnTo>
                      <a:pt x="491221" y="151942"/>
                    </a:lnTo>
                    <a:lnTo>
                      <a:pt x="486733" y="145991"/>
                    </a:lnTo>
                    <a:lnTo>
                      <a:pt x="481261" y="144526"/>
                    </a:lnTo>
                    <a:lnTo>
                      <a:pt x="477406" y="147450"/>
                    </a:lnTo>
                    <a:lnTo>
                      <a:pt x="476806" y="156717"/>
                    </a:lnTo>
                    <a:lnTo>
                      <a:pt x="470715" y="162720"/>
                    </a:lnTo>
                    <a:lnTo>
                      <a:pt x="472417" y="166254"/>
                    </a:lnTo>
                    <a:lnTo>
                      <a:pt x="471408" y="168956"/>
                    </a:lnTo>
                    <a:lnTo>
                      <a:pt x="456870" y="178708"/>
                    </a:lnTo>
                    <a:lnTo>
                      <a:pt x="449080" y="177429"/>
                    </a:lnTo>
                    <a:lnTo>
                      <a:pt x="443968" y="178704"/>
                    </a:lnTo>
                    <a:lnTo>
                      <a:pt x="436762" y="185480"/>
                    </a:lnTo>
                    <a:lnTo>
                      <a:pt x="428612" y="189205"/>
                    </a:lnTo>
                    <a:lnTo>
                      <a:pt x="427792" y="190304"/>
                    </a:lnTo>
                    <a:lnTo>
                      <a:pt x="429543" y="193515"/>
                    </a:lnTo>
                    <a:lnTo>
                      <a:pt x="429084" y="199384"/>
                    </a:lnTo>
                    <a:lnTo>
                      <a:pt x="423647" y="202365"/>
                    </a:lnTo>
                    <a:lnTo>
                      <a:pt x="423286" y="209177"/>
                    </a:lnTo>
                    <a:lnTo>
                      <a:pt x="415733" y="209038"/>
                    </a:lnTo>
                    <a:lnTo>
                      <a:pt x="408364" y="204006"/>
                    </a:lnTo>
                    <a:lnTo>
                      <a:pt x="373702" y="211049"/>
                    </a:lnTo>
                    <a:lnTo>
                      <a:pt x="367529" y="219017"/>
                    </a:lnTo>
                    <a:lnTo>
                      <a:pt x="365511" y="224840"/>
                    </a:lnTo>
                    <a:lnTo>
                      <a:pt x="359672" y="225047"/>
                    </a:lnTo>
                    <a:lnTo>
                      <a:pt x="352108" y="224235"/>
                    </a:lnTo>
                    <a:lnTo>
                      <a:pt x="348141" y="218493"/>
                    </a:lnTo>
                    <a:lnTo>
                      <a:pt x="347903" y="211557"/>
                    </a:lnTo>
                    <a:lnTo>
                      <a:pt x="347020" y="204107"/>
                    </a:lnTo>
                    <a:lnTo>
                      <a:pt x="342488" y="199995"/>
                    </a:lnTo>
                    <a:lnTo>
                      <a:pt x="337452" y="199624"/>
                    </a:lnTo>
                    <a:lnTo>
                      <a:pt x="327740" y="199950"/>
                    </a:lnTo>
                    <a:lnTo>
                      <a:pt x="320932" y="202851"/>
                    </a:lnTo>
                    <a:lnTo>
                      <a:pt x="315675" y="205157"/>
                    </a:lnTo>
                    <a:lnTo>
                      <a:pt x="313319" y="210035"/>
                    </a:lnTo>
                    <a:lnTo>
                      <a:pt x="312290" y="217023"/>
                    </a:lnTo>
                    <a:lnTo>
                      <a:pt x="309355" y="223519"/>
                    </a:lnTo>
                    <a:lnTo>
                      <a:pt x="305292" y="224182"/>
                    </a:lnTo>
                    <a:lnTo>
                      <a:pt x="300933" y="225397"/>
                    </a:lnTo>
                    <a:lnTo>
                      <a:pt x="297250" y="228188"/>
                    </a:lnTo>
                    <a:lnTo>
                      <a:pt x="296898" y="237268"/>
                    </a:lnTo>
                    <a:lnTo>
                      <a:pt x="301040" y="248894"/>
                    </a:lnTo>
                    <a:lnTo>
                      <a:pt x="310612" y="263012"/>
                    </a:lnTo>
                    <a:lnTo>
                      <a:pt x="318999" y="269162"/>
                    </a:lnTo>
                    <a:lnTo>
                      <a:pt x="332565" y="269782"/>
                    </a:lnTo>
                    <a:lnTo>
                      <a:pt x="345159" y="269356"/>
                    </a:lnTo>
                    <a:lnTo>
                      <a:pt x="357555" y="263581"/>
                    </a:lnTo>
                    <a:lnTo>
                      <a:pt x="364092" y="264607"/>
                    </a:lnTo>
                    <a:lnTo>
                      <a:pt x="364388" y="277015"/>
                    </a:lnTo>
                    <a:lnTo>
                      <a:pt x="369457" y="287455"/>
                    </a:lnTo>
                    <a:lnTo>
                      <a:pt x="367253" y="294440"/>
                    </a:lnTo>
                    <a:lnTo>
                      <a:pt x="366853" y="302624"/>
                    </a:lnTo>
                    <a:lnTo>
                      <a:pt x="360535" y="312529"/>
                    </a:lnTo>
                    <a:lnTo>
                      <a:pt x="361608" y="314824"/>
                    </a:lnTo>
                    <a:lnTo>
                      <a:pt x="369416" y="319961"/>
                    </a:lnTo>
                    <a:lnTo>
                      <a:pt x="365629" y="321162"/>
                    </a:lnTo>
                    <a:lnTo>
                      <a:pt x="356751" y="328153"/>
                    </a:lnTo>
                    <a:lnTo>
                      <a:pt x="348306" y="331427"/>
                    </a:lnTo>
                    <a:lnTo>
                      <a:pt x="331499" y="324763"/>
                    </a:lnTo>
                    <a:lnTo>
                      <a:pt x="331488" y="332419"/>
                    </a:lnTo>
                    <a:lnTo>
                      <a:pt x="328389" y="339427"/>
                    </a:lnTo>
                    <a:lnTo>
                      <a:pt x="336843" y="349775"/>
                    </a:lnTo>
                    <a:lnTo>
                      <a:pt x="328343" y="351639"/>
                    </a:lnTo>
                    <a:lnTo>
                      <a:pt x="325130" y="355459"/>
                    </a:lnTo>
                    <a:lnTo>
                      <a:pt x="322109" y="355340"/>
                    </a:lnTo>
                    <a:lnTo>
                      <a:pt x="319195" y="352886"/>
                    </a:lnTo>
                    <a:lnTo>
                      <a:pt x="308531" y="354196"/>
                    </a:lnTo>
                    <a:lnTo>
                      <a:pt x="305296" y="361410"/>
                    </a:lnTo>
                    <a:lnTo>
                      <a:pt x="301839" y="361242"/>
                    </a:lnTo>
                    <a:lnTo>
                      <a:pt x="297813" y="355697"/>
                    </a:lnTo>
                    <a:lnTo>
                      <a:pt x="297422" y="345081"/>
                    </a:lnTo>
                    <a:lnTo>
                      <a:pt x="297765" y="341771"/>
                    </a:lnTo>
                    <a:lnTo>
                      <a:pt x="301655" y="333056"/>
                    </a:lnTo>
                    <a:lnTo>
                      <a:pt x="305041" y="331151"/>
                    </a:lnTo>
                    <a:lnTo>
                      <a:pt x="305037" y="326905"/>
                    </a:lnTo>
                    <a:lnTo>
                      <a:pt x="302974" y="325271"/>
                    </a:lnTo>
                    <a:lnTo>
                      <a:pt x="294026" y="324382"/>
                    </a:lnTo>
                    <a:lnTo>
                      <a:pt x="287264" y="317044"/>
                    </a:lnTo>
                    <a:lnTo>
                      <a:pt x="283067" y="316973"/>
                    </a:lnTo>
                    <a:lnTo>
                      <a:pt x="283546" y="312495"/>
                    </a:lnTo>
                    <a:lnTo>
                      <a:pt x="287266" y="308984"/>
                    </a:lnTo>
                    <a:lnTo>
                      <a:pt x="286816" y="304532"/>
                    </a:lnTo>
                    <a:lnTo>
                      <a:pt x="283706" y="300893"/>
                    </a:lnTo>
                    <a:lnTo>
                      <a:pt x="282330" y="297022"/>
                    </a:lnTo>
                    <a:lnTo>
                      <a:pt x="282493" y="285758"/>
                    </a:lnTo>
                    <a:lnTo>
                      <a:pt x="277495" y="275714"/>
                    </a:lnTo>
                    <a:lnTo>
                      <a:pt x="273861" y="273590"/>
                    </a:lnTo>
                    <a:lnTo>
                      <a:pt x="273227" y="271059"/>
                    </a:lnTo>
                    <a:lnTo>
                      <a:pt x="281958" y="270048"/>
                    </a:lnTo>
                    <a:lnTo>
                      <a:pt x="282280" y="264091"/>
                    </a:lnTo>
                    <a:lnTo>
                      <a:pt x="281070" y="257115"/>
                    </a:lnTo>
                    <a:lnTo>
                      <a:pt x="284529" y="249266"/>
                    </a:lnTo>
                    <a:lnTo>
                      <a:pt x="283785" y="245258"/>
                    </a:lnTo>
                    <a:lnTo>
                      <a:pt x="274686" y="238105"/>
                    </a:lnTo>
                    <a:lnTo>
                      <a:pt x="262828" y="240567"/>
                    </a:lnTo>
                    <a:lnTo>
                      <a:pt x="254742" y="246548"/>
                    </a:lnTo>
                    <a:lnTo>
                      <a:pt x="254576" y="249516"/>
                    </a:lnTo>
                    <a:lnTo>
                      <a:pt x="252715" y="251822"/>
                    </a:lnTo>
                    <a:lnTo>
                      <a:pt x="247882" y="253736"/>
                    </a:lnTo>
                    <a:lnTo>
                      <a:pt x="236025" y="252287"/>
                    </a:lnTo>
                    <a:lnTo>
                      <a:pt x="233477" y="246489"/>
                    </a:lnTo>
                    <a:lnTo>
                      <a:pt x="229641" y="243096"/>
                    </a:lnTo>
                    <a:lnTo>
                      <a:pt x="226564" y="247209"/>
                    </a:lnTo>
                    <a:lnTo>
                      <a:pt x="226600" y="253372"/>
                    </a:lnTo>
                    <a:lnTo>
                      <a:pt x="225347" y="254610"/>
                    </a:lnTo>
                    <a:lnTo>
                      <a:pt x="218990" y="256536"/>
                    </a:lnTo>
                    <a:lnTo>
                      <a:pt x="205856" y="254445"/>
                    </a:lnTo>
                    <a:lnTo>
                      <a:pt x="193666" y="256983"/>
                    </a:lnTo>
                    <a:lnTo>
                      <a:pt x="186273" y="256629"/>
                    </a:lnTo>
                    <a:lnTo>
                      <a:pt x="182838" y="251399"/>
                    </a:lnTo>
                    <a:lnTo>
                      <a:pt x="178239" y="250521"/>
                    </a:lnTo>
                    <a:lnTo>
                      <a:pt x="174733" y="244579"/>
                    </a:lnTo>
                    <a:lnTo>
                      <a:pt x="170345" y="241601"/>
                    </a:lnTo>
                    <a:lnTo>
                      <a:pt x="161883" y="242970"/>
                    </a:lnTo>
                    <a:lnTo>
                      <a:pt x="159603" y="246290"/>
                    </a:lnTo>
                    <a:lnTo>
                      <a:pt x="153739" y="242985"/>
                    </a:lnTo>
                    <a:lnTo>
                      <a:pt x="152361" y="234502"/>
                    </a:lnTo>
                    <a:lnTo>
                      <a:pt x="146832" y="237566"/>
                    </a:lnTo>
                    <a:lnTo>
                      <a:pt x="137441" y="236721"/>
                    </a:lnTo>
                    <a:lnTo>
                      <a:pt x="134873" y="239520"/>
                    </a:lnTo>
                    <a:lnTo>
                      <a:pt x="136021" y="246605"/>
                    </a:lnTo>
                    <a:lnTo>
                      <a:pt x="131022" y="252338"/>
                    </a:lnTo>
                    <a:lnTo>
                      <a:pt x="133366" y="259934"/>
                    </a:lnTo>
                    <a:lnTo>
                      <a:pt x="133030" y="267900"/>
                    </a:lnTo>
                    <a:lnTo>
                      <a:pt x="130454" y="270620"/>
                    </a:lnTo>
                    <a:lnTo>
                      <a:pt x="124816" y="270518"/>
                    </a:lnTo>
                    <a:lnTo>
                      <a:pt x="118284" y="279180"/>
                    </a:lnTo>
                    <a:lnTo>
                      <a:pt x="110609" y="273555"/>
                    </a:lnTo>
                    <a:lnTo>
                      <a:pt x="103344" y="263828"/>
                    </a:lnTo>
                    <a:lnTo>
                      <a:pt x="101471" y="253890"/>
                    </a:lnTo>
                    <a:lnTo>
                      <a:pt x="85767" y="246002"/>
                    </a:lnTo>
                    <a:lnTo>
                      <a:pt x="84642" y="238912"/>
                    </a:lnTo>
                    <a:lnTo>
                      <a:pt x="81878" y="234714"/>
                    </a:lnTo>
                    <a:lnTo>
                      <a:pt x="74750" y="233989"/>
                    </a:lnTo>
                    <a:lnTo>
                      <a:pt x="73343" y="232197"/>
                    </a:lnTo>
                    <a:lnTo>
                      <a:pt x="73469" y="228383"/>
                    </a:lnTo>
                    <a:lnTo>
                      <a:pt x="63053" y="233435"/>
                    </a:lnTo>
                    <a:lnTo>
                      <a:pt x="60120" y="233048"/>
                    </a:lnTo>
                    <a:lnTo>
                      <a:pt x="57141" y="226204"/>
                    </a:lnTo>
                    <a:lnTo>
                      <a:pt x="49253" y="225588"/>
                    </a:lnTo>
                    <a:lnTo>
                      <a:pt x="46391" y="221377"/>
                    </a:lnTo>
                    <a:lnTo>
                      <a:pt x="48671" y="215299"/>
                    </a:lnTo>
                    <a:lnTo>
                      <a:pt x="46653" y="213849"/>
                    </a:lnTo>
                    <a:lnTo>
                      <a:pt x="45875" y="208114"/>
                    </a:lnTo>
                    <a:lnTo>
                      <a:pt x="44539" y="206021"/>
                    </a:lnTo>
                    <a:lnTo>
                      <a:pt x="38725" y="204944"/>
                    </a:lnTo>
                    <a:lnTo>
                      <a:pt x="28355" y="207958"/>
                    </a:lnTo>
                    <a:lnTo>
                      <a:pt x="23486" y="207296"/>
                    </a:lnTo>
                    <a:lnTo>
                      <a:pt x="21268" y="204552"/>
                    </a:lnTo>
                    <a:lnTo>
                      <a:pt x="20891" y="195227"/>
                    </a:lnTo>
                    <a:lnTo>
                      <a:pt x="18972" y="192162"/>
                    </a:lnTo>
                    <a:lnTo>
                      <a:pt x="7373" y="185631"/>
                    </a:lnTo>
                    <a:lnTo>
                      <a:pt x="1505" y="179446"/>
                    </a:lnTo>
                    <a:lnTo>
                      <a:pt x="0" y="173837"/>
                    </a:lnTo>
                    <a:lnTo>
                      <a:pt x="759" y="165118"/>
                    </a:lnTo>
                    <a:lnTo>
                      <a:pt x="7127" y="161542"/>
                    </a:lnTo>
                    <a:lnTo>
                      <a:pt x="8688" y="157157"/>
                    </a:lnTo>
                    <a:lnTo>
                      <a:pt x="21492" y="139588"/>
                    </a:lnTo>
                    <a:lnTo>
                      <a:pt x="22727" y="134575"/>
                    </a:lnTo>
                    <a:lnTo>
                      <a:pt x="33223" y="135174"/>
                    </a:lnTo>
                    <a:lnTo>
                      <a:pt x="37119" y="130022"/>
                    </a:lnTo>
                    <a:lnTo>
                      <a:pt x="43828" y="126524"/>
                    </a:lnTo>
                    <a:lnTo>
                      <a:pt x="49031" y="130157"/>
                    </a:lnTo>
                    <a:lnTo>
                      <a:pt x="53417" y="129130"/>
                    </a:lnTo>
                    <a:lnTo>
                      <a:pt x="54689" y="127094"/>
                    </a:lnTo>
                    <a:lnTo>
                      <a:pt x="55389" y="120714"/>
                    </a:lnTo>
                    <a:lnTo>
                      <a:pt x="52812" y="114594"/>
                    </a:lnTo>
                    <a:lnTo>
                      <a:pt x="54047" y="110328"/>
                    </a:lnTo>
                    <a:lnTo>
                      <a:pt x="53756" y="99610"/>
                    </a:lnTo>
                    <a:lnTo>
                      <a:pt x="52214" y="96040"/>
                    </a:lnTo>
                    <a:lnTo>
                      <a:pt x="45821" y="91459"/>
                    </a:lnTo>
                    <a:lnTo>
                      <a:pt x="44421" y="88400"/>
                    </a:lnTo>
                    <a:lnTo>
                      <a:pt x="58443" y="75756"/>
                    </a:lnTo>
                    <a:lnTo>
                      <a:pt x="58369" y="71195"/>
                    </a:lnTo>
                    <a:lnTo>
                      <a:pt x="55515" y="62433"/>
                    </a:lnTo>
                    <a:lnTo>
                      <a:pt x="59597" y="55573"/>
                    </a:lnTo>
                    <a:lnTo>
                      <a:pt x="66619" y="50677"/>
                    </a:lnTo>
                    <a:lnTo>
                      <a:pt x="77861" y="51017"/>
                    </a:lnTo>
                    <a:lnTo>
                      <a:pt x="83501" y="45920"/>
                    </a:lnTo>
                    <a:lnTo>
                      <a:pt x="86460" y="47407"/>
                    </a:lnTo>
                    <a:lnTo>
                      <a:pt x="90112" y="49631"/>
                    </a:lnTo>
                    <a:lnTo>
                      <a:pt x="98681" y="42460"/>
                    </a:lnTo>
                    <a:lnTo>
                      <a:pt x="110623" y="37767"/>
                    </a:lnTo>
                    <a:lnTo>
                      <a:pt x="119253" y="40359"/>
                    </a:lnTo>
                    <a:lnTo>
                      <a:pt x="130674" y="47017"/>
                    </a:lnTo>
                    <a:lnTo>
                      <a:pt x="136347" y="46798"/>
                    </a:lnTo>
                    <a:lnTo>
                      <a:pt x="153829" y="36539"/>
                    </a:lnTo>
                    <a:lnTo>
                      <a:pt x="153972" y="31658"/>
                    </a:lnTo>
                    <a:lnTo>
                      <a:pt x="156954" y="27343"/>
                    </a:lnTo>
                    <a:lnTo>
                      <a:pt x="159502" y="27918"/>
                    </a:lnTo>
                    <a:lnTo>
                      <a:pt x="167943" y="35781"/>
                    </a:lnTo>
                    <a:lnTo>
                      <a:pt x="169495" y="28318"/>
                    </a:lnTo>
                    <a:lnTo>
                      <a:pt x="172091" y="23377"/>
                    </a:lnTo>
                    <a:lnTo>
                      <a:pt x="172021" y="17751"/>
                    </a:lnTo>
                    <a:lnTo>
                      <a:pt x="176002" y="16915"/>
                    </a:lnTo>
                    <a:lnTo>
                      <a:pt x="181408" y="18908"/>
                    </a:lnTo>
                    <a:lnTo>
                      <a:pt x="183826" y="16300"/>
                    </a:lnTo>
                    <a:lnTo>
                      <a:pt x="190881" y="16324"/>
                    </a:lnTo>
                    <a:lnTo>
                      <a:pt x="195214" y="16334"/>
                    </a:lnTo>
                    <a:lnTo>
                      <a:pt x="199713" y="19084"/>
                    </a:lnTo>
                    <a:lnTo>
                      <a:pt x="201393" y="24247"/>
                    </a:lnTo>
                    <a:lnTo>
                      <a:pt x="202575" y="24750"/>
                    </a:lnTo>
                    <a:lnTo>
                      <a:pt x="209118" y="22990"/>
                    </a:lnTo>
                    <a:lnTo>
                      <a:pt x="211259" y="24416"/>
                    </a:lnTo>
                    <a:lnTo>
                      <a:pt x="214343" y="31565"/>
                    </a:lnTo>
                    <a:lnTo>
                      <a:pt x="224638" y="40634"/>
                    </a:lnTo>
                    <a:lnTo>
                      <a:pt x="227337" y="40027"/>
                    </a:lnTo>
                    <a:lnTo>
                      <a:pt x="226020" y="34650"/>
                    </a:lnTo>
                    <a:lnTo>
                      <a:pt x="232818" y="35196"/>
                    </a:lnTo>
                    <a:lnTo>
                      <a:pt x="235251" y="38111"/>
                    </a:lnTo>
                    <a:lnTo>
                      <a:pt x="238202" y="46840"/>
                    </a:lnTo>
                    <a:lnTo>
                      <a:pt x="240922" y="49214"/>
                    </a:lnTo>
                    <a:lnTo>
                      <a:pt x="243360" y="48078"/>
                    </a:lnTo>
                    <a:lnTo>
                      <a:pt x="243971" y="45513"/>
                    </a:lnTo>
                    <a:lnTo>
                      <a:pt x="239072" y="33541"/>
                    </a:lnTo>
                    <a:lnTo>
                      <a:pt x="238883" y="29199"/>
                    </a:lnTo>
                    <a:lnTo>
                      <a:pt x="240503" y="27455"/>
                    </a:lnTo>
                    <a:lnTo>
                      <a:pt x="243280" y="27693"/>
                    </a:lnTo>
                    <a:lnTo>
                      <a:pt x="245765" y="30389"/>
                    </a:lnTo>
                    <a:lnTo>
                      <a:pt x="246789" y="33934"/>
                    </a:lnTo>
                    <a:lnTo>
                      <a:pt x="250215" y="35142"/>
                    </a:lnTo>
                    <a:lnTo>
                      <a:pt x="251906" y="29462"/>
                    </a:lnTo>
                    <a:lnTo>
                      <a:pt x="256445" y="30713"/>
                    </a:lnTo>
                    <a:lnTo>
                      <a:pt x="257717" y="28878"/>
                    </a:lnTo>
                    <a:lnTo>
                      <a:pt x="260515" y="30594"/>
                    </a:lnTo>
                    <a:lnTo>
                      <a:pt x="262475" y="38707"/>
                    </a:lnTo>
                    <a:lnTo>
                      <a:pt x="268830" y="38518"/>
                    </a:lnTo>
                    <a:lnTo>
                      <a:pt x="270369" y="40496"/>
                    </a:lnTo>
                    <a:lnTo>
                      <a:pt x="286915" y="30627"/>
                    </a:lnTo>
                    <a:lnTo>
                      <a:pt x="287461" y="30314"/>
                    </a:lnTo>
                    <a:lnTo>
                      <a:pt x="290273" y="25543"/>
                    </a:lnTo>
                    <a:lnTo>
                      <a:pt x="297586" y="22982"/>
                    </a:lnTo>
                    <a:lnTo>
                      <a:pt x="302526" y="23574"/>
                    </a:lnTo>
                    <a:lnTo>
                      <a:pt x="317089" y="25315"/>
                    </a:lnTo>
                    <a:lnTo>
                      <a:pt x="325807" y="22376"/>
                    </a:lnTo>
                    <a:lnTo>
                      <a:pt x="336013" y="26812"/>
                    </a:lnTo>
                    <a:lnTo>
                      <a:pt x="347679" y="23543"/>
                    </a:lnTo>
                    <a:lnTo>
                      <a:pt x="352336" y="24329"/>
                    </a:lnTo>
                    <a:lnTo>
                      <a:pt x="357531" y="28294"/>
                    </a:lnTo>
                    <a:lnTo>
                      <a:pt x="368866" y="24368"/>
                    </a:lnTo>
                    <a:lnTo>
                      <a:pt x="378413" y="27320"/>
                    </a:lnTo>
                    <a:lnTo>
                      <a:pt x="378131" y="16382"/>
                    </a:lnTo>
                    <a:lnTo>
                      <a:pt x="379781" y="10906"/>
                    </a:lnTo>
                    <a:lnTo>
                      <a:pt x="382900" y="6758"/>
                    </a:lnTo>
                    <a:lnTo>
                      <a:pt x="388636" y="3994"/>
                    </a:lnTo>
                    <a:lnTo>
                      <a:pt x="390469" y="309"/>
                    </a:lnTo>
                    <a:lnTo>
                      <a:pt x="390602" y="37"/>
                    </a:lnTo>
                    <a:lnTo>
                      <a:pt x="390601" y="27"/>
                    </a:lnTo>
                    <a:lnTo>
                      <a:pt x="390600" y="0"/>
                    </a:lnTo>
                    <a:lnTo>
                      <a:pt x="439636" y="28685"/>
                    </a:lnTo>
                    <a:lnTo>
                      <a:pt x="446175" y="34673"/>
                    </a:lnTo>
                    <a:lnTo>
                      <a:pt x="449012" y="39878"/>
                    </a:lnTo>
                    <a:lnTo>
                      <a:pt x="449390" y="43317"/>
                    </a:lnTo>
                    <a:lnTo>
                      <a:pt x="449115" y="46316"/>
                    </a:lnTo>
                    <a:lnTo>
                      <a:pt x="449981" y="50172"/>
                    </a:lnTo>
                    <a:lnTo>
                      <a:pt x="452429" y="53323"/>
                    </a:lnTo>
                    <a:lnTo>
                      <a:pt x="460036" y="58499"/>
                    </a:lnTo>
                    <a:lnTo>
                      <a:pt x="463288" y="61505"/>
                    </a:lnTo>
                    <a:lnTo>
                      <a:pt x="466881" y="67391"/>
                    </a:lnTo>
                    <a:lnTo>
                      <a:pt x="471087" y="76348"/>
                    </a:lnTo>
                    <a:lnTo>
                      <a:pt x="474197" y="85879"/>
                    </a:lnTo>
                    <a:lnTo>
                      <a:pt x="474616" y="93552"/>
                    </a:lnTo>
                    <a:lnTo>
                      <a:pt x="475504" y="96049"/>
                    </a:lnTo>
                    <a:lnTo>
                      <a:pt x="476844" y="98498"/>
                    </a:lnTo>
                    <a:lnTo>
                      <a:pt x="478669" y="100381"/>
                    </a:lnTo>
                    <a:lnTo>
                      <a:pt x="481034" y="101087"/>
                    </a:lnTo>
                    <a:lnTo>
                      <a:pt x="480279" y="105088"/>
                    </a:lnTo>
                    <a:lnTo>
                      <a:pt x="479745" y="106622"/>
                    </a:lnTo>
                    <a:lnTo>
                      <a:pt x="481681" y="108499"/>
                    </a:lnTo>
                    <a:lnTo>
                      <a:pt x="486143" y="114562"/>
                    </a:lnTo>
                    <a:lnTo>
                      <a:pt x="487944" y="116475"/>
                    </a:lnTo>
                    <a:lnTo>
                      <a:pt x="497147" y="118531"/>
                    </a:lnTo>
                    <a:lnTo>
                      <a:pt x="499473" y="120123"/>
                    </a:lnTo>
                    <a:lnTo>
                      <a:pt x="502223" y="122662"/>
                    </a:lnTo>
                    <a:lnTo>
                      <a:pt x="507481" y="125074"/>
                    </a:lnTo>
                    <a:lnTo>
                      <a:pt x="509324" y="128851"/>
                    </a:lnTo>
                    <a:lnTo>
                      <a:pt x="511351" y="138923"/>
                    </a:lnTo>
                    <a:lnTo>
                      <a:pt x="511912" y="140471"/>
                    </a:lnTo>
                    <a:lnTo>
                      <a:pt x="518116" y="14650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75" name="Freeform 140">
                <a:extLst>
                  <a:ext uri="{FF2B5EF4-FFF2-40B4-BE49-F238E27FC236}">
                    <a16:creationId xmlns:a16="http://schemas.microsoft.com/office/drawing/2014/main" id="{173452E9-2BE0-271C-D29F-8CD6777E8806}"/>
                  </a:ext>
                </a:extLst>
              </p:cNvPr>
              <p:cNvSpPr>
                <a:spLocks noChangeAspect="1"/>
              </p:cNvSpPr>
              <p:nvPr>
                <p:custDataLst>
                  <p:tags r:id="rId111"/>
                </p:custDataLst>
              </p:nvPr>
            </p:nvSpPr>
            <p:spPr>
              <a:xfrm>
                <a:off x="4351824" y="5512162"/>
                <a:ext cx="36659" cy="32667"/>
              </a:xfrm>
              <a:custGeom>
                <a:avLst/>
                <a:gdLst/>
                <a:ahLst/>
                <a:cxnLst/>
                <a:rect l="0" t="0" r="0" b="0"/>
                <a:pathLst>
                  <a:path w="37639" h="33540">
                    <a:moveTo>
                      <a:pt x="18143" y="33539"/>
                    </a:moveTo>
                    <a:lnTo>
                      <a:pt x="17488" y="32005"/>
                    </a:lnTo>
                    <a:lnTo>
                      <a:pt x="20911" y="24860"/>
                    </a:lnTo>
                    <a:lnTo>
                      <a:pt x="11933" y="25394"/>
                    </a:lnTo>
                    <a:lnTo>
                      <a:pt x="9259" y="24745"/>
                    </a:lnTo>
                    <a:lnTo>
                      <a:pt x="6165" y="22538"/>
                    </a:lnTo>
                    <a:lnTo>
                      <a:pt x="4742" y="20069"/>
                    </a:lnTo>
                    <a:lnTo>
                      <a:pt x="3721" y="16982"/>
                    </a:lnTo>
                    <a:lnTo>
                      <a:pt x="1798" y="13061"/>
                    </a:lnTo>
                    <a:lnTo>
                      <a:pt x="0" y="6718"/>
                    </a:lnTo>
                    <a:lnTo>
                      <a:pt x="1125" y="3546"/>
                    </a:lnTo>
                    <a:lnTo>
                      <a:pt x="1143" y="3546"/>
                    </a:lnTo>
                    <a:lnTo>
                      <a:pt x="1627" y="3572"/>
                    </a:lnTo>
                    <a:lnTo>
                      <a:pt x="1711" y="3316"/>
                    </a:lnTo>
                    <a:lnTo>
                      <a:pt x="5510" y="3119"/>
                    </a:lnTo>
                    <a:lnTo>
                      <a:pt x="9072" y="0"/>
                    </a:lnTo>
                    <a:lnTo>
                      <a:pt x="12596" y="36"/>
                    </a:lnTo>
                    <a:lnTo>
                      <a:pt x="16373" y="74"/>
                    </a:lnTo>
                    <a:lnTo>
                      <a:pt x="21136" y="2882"/>
                    </a:lnTo>
                    <a:lnTo>
                      <a:pt x="26895" y="6488"/>
                    </a:lnTo>
                    <a:lnTo>
                      <a:pt x="31901" y="10085"/>
                    </a:lnTo>
                    <a:lnTo>
                      <a:pt x="36407" y="14072"/>
                    </a:lnTo>
                    <a:lnTo>
                      <a:pt x="37638" y="17634"/>
                    </a:lnTo>
                    <a:lnTo>
                      <a:pt x="37621" y="19607"/>
                    </a:lnTo>
                    <a:lnTo>
                      <a:pt x="37097" y="21970"/>
                    </a:lnTo>
                    <a:lnTo>
                      <a:pt x="33303" y="23515"/>
                    </a:lnTo>
                    <a:lnTo>
                      <a:pt x="27723" y="26621"/>
                    </a:lnTo>
                    <a:lnTo>
                      <a:pt x="21896" y="28935"/>
                    </a:lnTo>
                    <a:lnTo>
                      <a:pt x="18146" y="3353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76" name="Freeform 141">
                <a:extLst>
                  <a:ext uri="{FF2B5EF4-FFF2-40B4-BE49-F238E27FC236}">
                    <a16:creationId xmlns:a16="http://schemas.microsoft.com/office/drawing/2014/main" id="{1B266339-DA0C-DA88-5B1E-69F6630E24A6}"/>
                  </a:ext>
                </a:extLst>
              </p:cNvPr>
              <p:cNvSpPr>
                <a:spLocks noChangeAspect="1"/>
              </p:cNvSpPr>
              <p:nvPr>
                <p:custDataLst>
                  <p:tags r:id="rId112"/>
                </p:custDataLst>
              </p:nvPr>
            </p:nvSpPr>
            <p:spPr>
              <a:xfrm>
                <a:off x="4480664" y="5485661"/>
                <a:ext cx="38255" cy="49410"/>
              </a:xfrm>
              <a:custGeom>
                <a:avLst/>
                <a:gdLst/>
                <a:ahLst/>
                <a:cxnLst/>
                <a:rect l="0" t="0" r="0" b="0"/>
                <a:pathLst>
                  <a:path w="39278" h="50731">
                    <a:moveTo>
                      <a:pt x="33732" y="428"/>
                    </a:moveTo>
                    <a:lnTo>
                      <a:pt x="34932" y="361"/>
                    </a:lnTo>
                    <a:lnTo>
                      <a:pt x="34937" y="359"/>
                    </a:lnTo>
                    <a:lnTo>
                      <a:pt x="35015" y="3015"/>
                    </a:lnTo>
                    <a:lnTo>
                      <a:pt x="39277" y="18974"/>
                    </a:lnTo>
                    <a:lnTo>
                      <a:pt x="33848" y="19326"/>
                    </a:lnTo>
                    <a:lnTo>
                      <a:pt x="28397" y="20732"/>
                    </a:lnTo>
                    <a:lnTo>
                      <a:pt x="24181" y="23880"/>
                    </a:lnTo>
                    <a:lnTo>
                      <a:pt x="22507" y="29377"/>
                    </a:lnTo>
                    <a:lnTo>
                      <a:pt x="24191" y="35686"/>
                    </a:lnTo>
                    <a:lnTo>
                      <a:pt x="28412" y="37744"/>
                    </a:lnTo>
                    <a:lnTo>
                      <a:pt x="39261" y="37244"/>
                    </a:lnTo>
                    <a:lnTo>
                      <a:pt x="39260" y="39840"/>
                    </a:lnTo>
                    <a:lnTo>
                      <a:pt x="36813" y="46486"/>
                    </a:lnTo>
                    <a:lnTo>
                      <a:pt x="36613" y="47884"/>
                    </a:lnTo>
                    <a:lnTo>
                      <a:pt x="34410" y="48224"/>
                    </a:lnTo>
                    <a:lnTo>
                      <a:pt x="32543" y="49308"/>
                    </a:lnTo>
                    <a:lnTo>
                      <a:pt x="31625" y="50730"/>
                    </a:lnTo>
                    <a:lnTo>
                      <a:pt x="31619" y="50729"/>
                    </a:lnTo>
                    <a:lnTo>
                      <a:pt x="29924" y="50104"/>
                    </a:lnTo>
                    <a:lnTo>
                      <a:pt x="20933" y="46183"/>
                    </a:lnTo>
                    <a:lnTo>
                      <a:pt x="13453" y="41461"/>
                    </a:lnTo>
                    <a:lnTo>
                      <a:pt x="6966" y="39107"/>
                    </a:lnTo>
                    <a:lnTo>
                      <a:pt x="2983" y="33610"/>
                    </a:lnTo>
                    <a:lnTo>
                      <a:pt x="0" y="28905"/>
                    </a:lnTo>
                    <a:lnTo>
                      <a:pt x="520" y="23432"/>
                    </a:lnTo>
                    <a:lnTo>
                      <a:pt x="1540" y="17170"/>
                    </a:lnTo>
                    <a:lnTo>
                      <a:pt x="5050" y="10146"/>
                    </a:lnTo>
                    <a:lnTo>
                      <a:pt x="9555" y="3893"/>
                    </a:lnTo>
                    <a:lnTo>
                      <a:pt x="15044" y="0"/>
                    </a:lnTo>
                    <a:lnTo>
                      <a:pt x="22019" y="15"/>
                    </a:lnTo>
                    <a:lnTo>
                      <a:pt x="29001" y="2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77" name="Freeform 142">
                <a:extLst>
                  <a:ext uri="{FF2B5EF4-FFF2-40B4-BE49-F238E27FC236}">
                    <a16:creationId xmlns:a16="http://schemas.microsoft.com/office/drawing/2014/main" id="{00C74A24-9A4C-FC1C-8B8E-3209507C04E5}"/>
                  </a:ext>
                </a:extLst>
              </p:cNvPr>
              <p:cNvSpPr>
                <a:spLocks noChangeAspect="1"/>
              </p:cNvSpPr>
              <p:nvPr>
                <p:custDataLst>
                  <p:tags r:id="rId113"/>
                </p:custDataLst>
              </p:nvPr>
            </p:nvSpPr>
            <p:spPr>
              <a:xfrm>
                <a:off x="5321540" y="4875101"/>
                <a:ext cx="295014" cy="212763"/>
              </a:xfrm>
              <a:custGeom>
                <a:avLst/>
                <a:gdLst/>
                <a:ahLst/>
                <a:cxnLst/>
                <a:rect l="0" t="0" r="0" b="0"/>
                <a:pathLst>
                  <a:path w="302900" h="218450">
                    <a:moveTo>
                      <a:pt x="87983" y="19695"/>
                    </a:moveTo>
                    <a:lnTo>
                      <a:pt x="90256" y="16803"/>
                    </a:lnTo>
                    <a:lnTo>
                      <a:pt x="88123" y="13518"/>
                    </a:lnTo>
                    <a:lnTo>
                      <a:pt x="91690" y="10379"/>
                    </a:lnTo>
                    <a:lnTo>
                      <a:pt x="110297" y="5599"/>
                    </a:lnTo>
                    <a:lnTo>
                      <a:pt x="113506" y="11373"/>
                    </a:lnTo>
                    <a:lnTo>
                      <a:pt x="119146" y="13084"/>
                    </a:lnTo>
                    <a:lnTo>
                      <a:pt x="144642" y="1421"/>
                    </a:lnTo>
                    <a:lnTo>
                      <a:pt x="154506" y="0"/>
                    </a:lnTo>
                    <a:lnTo>
                      <a:pt x="160051" y="3403"/>
                    </a:lnTo>
                    <a:lnTo>
                      <a:pt x="163886" y="12128"/>
                    </a:lnTo>
                    <a:lnTo>
                      <a:pt x="162747" y="16003"/>
                    </a:lnTo>
                    <a:lnTo>
                      <a:pt x="165334" y="23296"/>
                    </a:lnTo>
                    <a:lnTo>
                      <a:pt x="166099" y="24320"/>
                    </a:lnTo>
                    <a:lnTo>
                      <a:pt x="169786" y="22392"/>
                    </a:lnTo>
                    <a:lnTo>
                      <a:pt x="172706" y="31148"/>
                    </a:lnTo>
                    <a:lnTo>
                      <a:pt x="180407" y="44101"/>
                    </a:lnTo>
                    <a:lnTo>
                      <a:pt x="182910" y="45217"/>
                    </a:lnTo>
                    <a:lnTo>
                      <a:pt x="201148" y="42317"/>
                    </a:lnTo>
                    <a:lnTo>
                      <a:pt x="212361" y="38218"/>
                    </a:lnTo>
                    <a:lnTo>
                      <a:pt x="225071" y="39132"/>
                    </a:lnTo>
                    <a:lnTo>
                      <a:pt x="237457" y="43469"/>
                    </a:lnTo>
                    <a:lnTo>
                      <a:pt x="246579" y="43447"/>
                    </a:lnTo>
                    <a:lnTo>
                      <a:pt x="251301" y="42512"/>
                    </a:lnTo>
                    <a:lnTo>
                      <a:pt x="251345" y="42503"/>
                    </a:lnTo>
                    <a:lnTo>
                      <a:pt x="255452" y="44134"/>
                    </a:lnTo>
                    <a:lnTo>
                      <a:pt x="294775" y="44089"/>
                    </a:lnTo>
                    <a:lnTo>
                      <a:pt x="299276" y="40938"/>
                    </a:lnTo>
                    <a:lnTo>
                      <a:pt x="298919" y="48113"/>
                    </a:lnTo>
                    <a:lnTo>
                      <a:pt x="281590" y="68504"/>
                    </a:lnTo>
                    <a:lnTo>
                      <a:pt x="284727" y="70602"/>
                    </a:lnTo>
                    <a:lnTo>
                      <a:pt x="288511" y="71989"/>
                    </a:lnTo>
                    <a:lnTo>
                      <a:pt x="297199" y="72707"/>
                    </a:lnTo>
                    <a:lnTo>
                      <a:pt x="299475" y="70140"/>
                    </a:lnTo>
                    <a:lnTo>
                      <a:pt x="300982" y="66112"/>
                    </a:lnTo>
                    <a:lnTo>
                      <a:pt x="301989" y="65624"/>
                    </a:lnTo>
                    <a:lnTo>
                      <a:pt x="302899" y="73636"/>
                    </a:lnTo>
                    <a:lnTo>
                      <a:pt x="300494" y="79841"/>
                    </a:lnTo>
                    <a:lnTo>
                      <a:pt x="287847" y="93299"/>
                    </a:lnTo>
                    <a:lnTo>
                      <a:pt x="276246" y="102332"/>
                    </a:lnTo>
                    <a:lnTo>
                      <a:pt x="268811" y="106072"/>
                    </a:lnTo>
                    <a:lnTo>
                      <a:pt x="252450" y="109582"/>
                    </a:lnTo>
                    <a:lnTo>
                      <a:pt x="247972" y="109197"/>
                    </a:lnTo>
                    <a:lnTo>
                      <a:pt x="245643" y="107382"/>
                    </a:lnTo>
                    <a:lnTo>
                      <a:pt x="241399" y="99846"/>
                    </a:lnTo>
                    <a:lnTo>
                      <a:pt x="233073" y="89761"/>
                    </a:lnTo>
                    <a:lnTo>
                      <a:pt x="230652" y="84819"/>
                    </a:lnTo>
                    <a:lnTo>
                      <a:pt x="230442" y="92091"/>
                    </a:lnTo>
                    <a:lnTo>
                      <a:pt x="227163" y="96438"/>
                    </a:lnTo>
                    <a:lnTo>
                      <a:pt x="218710" y="101261"/>
                    </a:lnTo>
                    <a:lnTo>
                      <a:pt x="211845" y="108552"/>
                    </a:lnTo>
                    <a:lnTo>
                      <a:pt x="210173" y="109605"/>
                    </a:lnTo>
                    <a:lnTo>
                      <a:pt x="210163" y="111692"/>
                    </a:lnTo>
                    <a:lnTo>
                      <a:pt x="209745" y="116296"/>
                    </a:lnTo>
                    <a:lnTo>
                      <a:pt x="208941" y="120924"/>
                    </a:lnTo>
                    <a:lnTo>
                      <a:pt x="207836" y="123079"/>
                    </a:lnTo>
                    <a:lnTo>
                      <a:pt x="205107" y="123914"/>
                    </a:lnTo>
                    <a:lnTo>
                      <a:pt x="201519" y="127496"/>
                    </a:lnTo>
                    <a:lnTo>
                      <a:pt x="199166" y="128806"/>
                    </a:lnTo>
                    <a:lnTo>
                      <a:pt x="196279" y="128934"/>
                    </a:lnTo>
                    <a:lnTo>
                      <a:pt x="190937" y="127012"/>
                    </a:lnTo>
                    <a:lnTo>
                      <a:pt x="188616" y="126590"/>
                    </a:lnTo>
                    <a:lnTo>
                      <a:pt x="182829" y="127589"/>
                    </a:lnTo>
                    <a:lnTo>
                      <a:pt x="172156" y="132534"/>
                    </a:lnTo>
                    <a:lnTo>
                      <a:pt x="167064" y="135946"/>
                    </a:lnTo>
                    <a:lnTo>
                      <a:pt x="170861" y="137546"/>
                    </a:lnTo>
                    <a:lnTo>
                      <a:pt x="175203" y="137867"/>
                    </a:lnTo>
                    <a:lnTo>
                      <a:pt x="179303" y="139650"/>
                    </a:lnTo>
                    <a:lnTo>
                      <a:pt x="182365" y="145510"/>
                    </a:lnTo>
                    <a:lnTo>
                      <a:pt x="188674" y="138454"/>
                    </a:lnTo>
                    <a:lnTo>
                      <a:pt x="203597" y="134207"/>
                    </a:lnTo>
                    <a:lnTo>
                      <a:pt x="210627" y="130727"/>
                    </a:lnTo>
                    <a:lnTo>
                      <a:pt x="217098" y="124723"/>
                    </a:lnTo>
                    <a:lnTo>
                      <a:pt x="221222" y="123675"/>
                    </a:lnTo>
                    <a:lnTo>
                      <a:pt x="225122" y="127218"/>
                    </a:lnTo>
                    <a:lnTo>
                      <a:pt x="225760" y="130419"/>
                    </a:lnTo>
                    <a:lnTo>
                      <a:pt x="225313" y="134184"/>
                    </a:lnTo>
                    <a:lnTo>
                      <a:pt x="224505" y="137101"/>
                    </a:lnTo>
                    <a:lnTo>
                      <a:pt x="224004" y="137754"/>
                    </a:lnTo>
                    <a:lnTo>
                      <a:pt x="224668" y="140750"/>
                    </a:lnTo>
                    <a:lnTo>
                      <a:pt x="225754" y="143689"/>
                    </a:lnTo>
                    <a:lnTo>
                      <a:pt x="227883" y="148213"/>
                    </a:lnTo>
                    <a:lnTo>
                      <a:pt x="225621" y="150410"/>
                    </a:lnTo>
                    <a:lnTo>
                      <a:pt x="224932" y="153723"/>
                    </a:lnTo>
                    <a:lnTo>
                      <a:pt x="225507" y="162581"/>
                    </a:lnTo>
                    <a:lnTo>
                      <a:pt x="224822" y="164679"/>
                    </a:lnTo>
                    <a:lnTo>
                      <a:pt x="223048" y="166689"/>
                    </a:lnTo>
                    <a:lnTo>
                      <a:pt x="219588" y="169612"/>
                    </a:lnTo>
                    <a:lnTo>
                      <a:pt x="225960" y="168783"/>
                    </a:lnTo>
                    <a:lnTo>
                      <a:pt x="228314" y="169961"/>
                    </a:lnTo>
                    <a:lnTo>
                      <a:pt x="229305" y="171628"/>
                    </a:lnTo>
                    <a:lnTo>
                      <a:pt x="223488" y="182968"/>
                    </a:lnTo>
                    <a:lnTo>
                      <a:pt x="212011" y="194714"/>
                    </a:lnTo>
                    <a:lnTo>
                      <a:pt x="201733" y="202080"/>
                    </a:lnTo>
                    <a:lnTo>
                      <a:pt x="201729" y="202083"/>
                    </a:lnTo>
                    <a:lnTo>
                      <a:pt x="201644" y="201804"/>
                    </a:lnTo>
                    <a:lnTo>
                      <a:pt x="199786" y="199937"/>
                    </a:lnTo>
                    <a:lnTo>
                      <a:pt x="183627" y="194969"/>
                    </a:lnTo>
                    <a:lnTo>
                      <a:pt x="175402" y="193082"/>
                    </a:lnTo>
                    <a:lnTo>
                      <a:pt x="167144" y="190598"/>
                    </a:lnTo>
                    <a:lnTo>
                      <a:pt x="158488" y="194066"/>
                    </a:lnTo>
                    <a:lnTo>
                      <a:pt x="155745" y="204309"/>
                    </a:lnTo>
                    <a:lnTo>
                      <a:pt x="158334" y="206592"/>
                    </a:lnTo>
                    <a:lnTo>
                      <a:pt x="158770" y="207104"/>
                    </a:lnTo>
                    <a:lnTo>
                      <a:pt x="158769" y="207104"/>
                    </a:lnTo>
                    <a:lnTo>
                      <a:pt x="158157" y="207249"/>
                    </a:lnTo>
                    <a:lnTo>
                      <a:pt x="157881" y="207856"/>
                    </a:lnTo>
                    <a:lnTo>
                      <a:pt x="153529" y="212497"/>
                    </a:lnTo>
                    <a:lnTo>
                      <a:pt x="150096" y="213861"/>
                    </a:lnTo>
                    <a:lnTo>
                      <a:pt x="146916" y="214183"/>
                    </a:lnTo>
                    <a:lnTo>
                      <a:pt x="143887" y="215149"/>
                    </a:lnTo>
                    <a:lnTo>
                      <a:pt x="140871" y="218449"/>
                    </a:lnTo>
                    <a:lnTo>
                      <a:pt x="136842" y="215003"/>
                    </a:lnTo>
                    <a:lnTo>
                      <a:pt x="135533" y="215170"/>
                    </a:lnTo>
                    <a:lnTo>
                      <a:pt x="135524" y="215171"/>
                    </a:lnTo>
                    <a:lnTo>
                      <a:pt x="134697" y="210844"/>
                    </a:lnTo>
                    <a:lnTo>
                      <a:pt x="130551" y="209298"/>
                    </a:lnTo>
                    <a:lnTo>
                      <a:pt x="119318" y="206365"/>
                    </a:lnTo>
                    <a:lnTo>
                      <a:pt x="106344" y="205297"/>
                    </a:lnTo>
                    <a:lnTo>
                      <a:pt x="89239" y="202664"/>
                    </a:lnTo>
                    <a:lnTo>
                      <a:pt x="80747" y="202781"/>
                    </a:lnTo>
                    <a:lnTo>
                      <a:pt x="79750" y="201213"/>
                    </a:lnTo>
                    <a:lnTo>
                      <a:pt x="77588" y="194961"/>
                    </a:lnTo>
                    <a:lnTo>
                      <a:pt x="71821" y="193348"/>
                    </a:lnTo>
                    <a:lnTo>
                      <a:pt x="68340" y="189814"/>
                    </a:lnTo>
                    <a:lnTo>
                      <a:pt x="63278" y="181143"/>
                    </a:lnTo>
                    <a:lnTo>
                      <a:pt x="62357" y="177158"/>
                    </a:lnTo>
                    <a:lnTo>
                      <a:pt x="58363" y="176723"/>
                    </a:lnTo>
                    <a:lnTo>
                      <a:pt x="47486" y="181010"/>
                    </a:lnTo>
                    <a:lnTo>
                      <a:pt x="38943" y="182186"/>
                    </a:lnTo>
                    <a:lnTo>
                      <a:pt x="30380" y="183358"/>
                    </a:lnTo>
                    <a:lnTo>
                      <a:pt x="26661" y="188426"/>
                    </a:lnTo>
                    <a:lnTo>
                      <a:pt x="23936" y="189214"/>
                    </a:lnTo>
                    <a:lnTo>
                      <a:pt x="10986" y="182203"/>
                    </a:lnTo>
                    <a:lnTo>
                      <a:pt x="10133" y="180170"/>
                    </a:lnTo>
                    <a:lnTo>
                      <a:pt x="8455" y="176259"/>
                    </a:lnTo>
                    <a:lnTo>
                      <a:pt x="3238" y="173134"/>
                    </a:lnTo>
                    <a:lnTo>
                      <a:pt x="2603" y="172829"/>
                    </a:lnTo>
                    <a:lnTo>
                      <a:pt x="120" y="171684"/>
                    </a:lnTo>
                    <a:lnTo>
                      <a:pt x="1218" y="165465"/>
                    </a:lnTo>
                    <a:lnTo>
                      <a:pt x="0" y="161254"/>
                    </a:lnTo>
                    <a:lnTo>
                      <a:pt x="1654" y="139809"/>
                    </a:lnTo>
                    <a:lnTo>
                      <a:pt x="9415" y="125971"/>
                    </a:lnTo>
                    <a:lnTo>
                      <a:pt x="26432" y="121610"/>
                    </a:lnTo>
                    <a:lnTo>
                      <a:pt x="37926" y="116049"/>
                    </a:lnTo>
                    <a:lnTo>
                      <a:pt x="38880" y="110149"/>
                    </a:lnTo>
                    <a:lnTo>
                      <a:pt x="45039" y="105683"/>
                    </a:lnTo>
                    <a:lnTo>
                      <a:pt x="40802" y="102618"/>
                    </a:lnTo>
                    <a:lnTo>
                      <a:pt x="40497" y="93808"/>
                    </a:lnTo>
                    <a:lnTo>
                      <a:pt x="46192" y="86825"/>
                    </a:lnTo>
                    <a:lnTo>
                      <a:pt x="45601" y="84306"/>
                    </a:lnTo>
                    <a:lnTo>
                      <a:pt x="42709" y="81785"/>
                    </a:lnTo>
                    <a:lnTo>
                      <a:pt x="43549" y="77611"/>
                    </a:lnTo>
                    <a:lnTo>
                      <a:pt x="32293" y="80615"/>
                    </a:lnTo>
                    <a:lnTo>
                      <a:pt x="29173" y="72074"/>
                    </a:lnTo>
                    <a:lnTo>
                      <a:pt x="27634" y="62150"/>
                    </a:lnTo>
                    <a:lnTo>
                      <a:pt x="24548" y="55189"/>
                    </a:lnTo>
                    <a:lnTo>
                      <a:pt x="23341" y="46749"/>
                    </a:lnTo>
                    <a:lnTo>
                      <a:pt x="16495" y="43375"/>
                    </a:lnTo>
                    <a:lnTo>
                      <a:pt x="15689" y="36092"/>
                    </a:lnTo>
                    <a:lnTo>
                      <a:pt x="21747" y="26223"/>
                    </a:lnTo>
                    <a:lnTo>
                      <a:pt x="20771" y="15764"/>
                    </a:lnTo>
                    <a:lnTo>
                      <a:pt x="22913" y="15321"/>
                    </a:lnTo>
                    <a:lnTo>
                      <a:pt x="28707" y="20346"/>
                    </a:lnTo>
                    <a:lnTo>
                      <a:pt x="37471" y="17569"/>
                    </a:lnTo>
                    <a:lnTo>
                      <a:pt x="41200" y="13978"/>
                    </a:lnTo>
                    <a:lnTo>
                      <a:pt x="40893" y="6541"/>
                    </a:lnTo>
                    <a:lnTo>
                      <a:pt x="43797" y="4375"/>
                    </a:lnTo>
                    <a:lnTo>
                      <a:pt x="55417" y="5590"/>
                    </a:lnTo>
                    <a:lnTo>
                      <a:pt x="62489" y="2136"/>
                    </a:lnTo>
                    <a:lnTo>
                      <a:pt x="67300" y="3047"/>
                    </a:lnTo>
                    <a:lnTo>
                      <a:pt x="71769" y="5776"/>
                    </a:lnTo>
                    <a:lnTo>
                      <a:pt x="81810" y="1672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78" name="Freeform 143">
                <a:extLst>
                  <a:ext uri="{FF2B5EF4-FFF2-40B4-BE49-F238E27FC236}">
                    <a16:creationId xmlns:a16="http://schemas.microsoft.com/office/drawing/2014/main" id="{CB424B9B-1F2D-2410-ABF3-6AE8BD8FFF89}"/>
                  </a:ext>
                </a:extLst>
              </p:cNvPr>
              <p:cNvSpPr>
                <a:spLocks noChangeAspect="1"/>
              </p:cNvSpPr>
              <p:nvPr>
                <p:custDataLst>
                  <p:tags r:id="rId114"/>
                </p:custDataLst>
              </p:nvPr>
            </p:nvSpPr>
            <p:spPr>
              <a:xfrm>
                <a:off x="5393431" y="4687360"/>
                <a:ext cx="317028" cy="231782"/>
              </a:xfrm>
              <a:custGeom>
                <a:avLst/>
                <a:gdLst/>
                <a:ahLst/>
                <a:cxnLst/>
                <a:rect l="0" t="0" r="0" b="0"/>
                <a:pathLst>
                  <a:path w="325503" h="237978">
                    <a:moveTo>
                      <a:pt x="317487" y="3525"/>
                    </a:moveTo>
                    <a:lnTo>
                      <a:pt x="318349" y="3368"/>
                    </a:lnTo>
                    <a:lnTo>
                      <a:pt x="318732" y="2613"/>
                    </a:lnTo>
                    <a:lnTo>
                      <a:pt x="325502" y="20076"/>
                    </a:lnTo>
                    <a:lnTo>
                      <a:pt x="324806" y="23558"/>
                    </a:lnTo>
                    <a:lnTo>
                      <a:pt x="322124" y="27435"/>
                    </a:lnTo>
                    <a:lnTo>
                      <a:pt x="317709" y="47591"/>
                    </a:lnTo>
                    <a:lnTo>
                      <a:pt x="318183" y="51268"/>
                    </a:lnTo>
                    <a:lnTo>
                      <a:pt x="317917" y="54966"/>
                    </a:lnTo>
                    <a:lnTo>
                      <a:pt x="309575" y="83076"/>
                    </a:lnTo>
                    <a:lnTo>
                      <a:pt x="303139" y="97105"/>
                    </a:lnTo>
                    <a:lnTo>
                      <a:pt x="300832" y="100077"/>
                    </a:lnTo>
                    <a:lnTo>
                      <a:pt x="298671" y="104582"/>
                    </a:lnTo>
                    <a:lnTo>
                      <a:pt x="298829" y="114392"/>
                    </a:lnTo>
                    <a:lnTo>
                      <a:pt x="300648" y="131517"/>
                    </a:lnTo>
                    <a:lnTo>
                      <a:pt x="299915" y="139006"/>
                    </a:lnTo>
                    <a:lnTo>
                      <a:pt x="296613" y="152430"/>
                    </a:lnTo>
                    <a:lnTo>
                      <a:pt x="296183" y="159397"/>
                    </a:lnTo>
                    <a:lnTo>
                      <a:pt x="293552" y="169935"/>
                    </a:lnTo>
                    <a:lnTo>
                      <a:pt x="293539" y="175235"/>
                    </a:lnTo>
                    <a:lnTo>
                      <a:pt x="292446" y="177417"/>
                    </a:lnTo>
                    <a:lnTo>
                      <a:pt x="274568" y="186534"/>
                    </a:lnTo>
                    <a:lnTo>
                      <a:pt x="270931" y="191370"/>
                    </a:lnTo>
                    <a:lnTo>
                      <a:pt x="267272" y="188866"/>
                    </a:lnTo>
                    <a:lnTo>
                      <a:pt x="266265" y="192085"/>
                    </a:lnTo>
                    <a:lnTo>
                      <a:pt x="265912" y="197035"/>
                    </a:lnTo>
                    <a:lnTo>
                      <a:pt x="264194" y="199693"/>
                    </a:lnTo>
                    <a:lnTo>
                      <a:pt x="262682" y="201154"/>
                    </a:lnTo>
                    <a:lnTo>
                      <a:pt x="257607" y="210357"/>
                    </a:lnTo>
                    <a:lnTo>
                      <a:pt x="242393" y="229707"/>
                    </a:lnTo>
                    <a:lnTo>
                      <a:pt x="240018" y="234154"/>
                    </a:lnTo>
                    <a:lnTo>
                      <a:pt x="237449" y="235386"/>
                    </a:lnTo>
                    <a:lnTo>
                      <a:pt x="220143" y="215761"/>
                    </a:lnTo>
                    <a:lnTo>
                      <a:pt x="213061" y="213955"/>
                    </a:lnTo>
                    <a:lnTo>
                      <a:pt x="200800" y="205273"/>
                    </a:lnTo>
                    <a:lnTo>
                      <a:pt x="194300" y="204388"/>
                    </a:lnTo>
                    <a:lnTo>
                      <a:pt x="194467" y="206995"/>
                    </a:lnTo>
                    <a:lnTo>
                      <a:pt x="203343" y="214408"/>
                    </a:lnTo>
                    <a:lnTo>
                      <a:pt x="208464" y="217656"/>
                    </a:lnTo>
                    <a:lnTo>
                      <a:pt x="219407" y="219471"/>
                    </a:lnTo>
                    <a:lnTo>
                      <a:pt x="221954" y="220563"/>
                    </a:lnTo>
                    <a:lnTo>
                      <a:pt x="223099" y="222216"/>
                    </a:lnTo>
                    <a:lnTo>
                      <a:pt x="223329" y="228371"/>
                    </a:lnTo>
                    <a:lnTo>
                      <a:pt x="222636" y="230116"/>
                    </a:lnTo>
                    <a:lnTo>
                      <a:pt x="217796" y="229223"/>
                    </a:lnTo>
                    <a:lnTo>
                      <a:pt x="215047" y="229779"/>
                    </a:lnTo>
                    <a:lnTo>
                      <a:pt x="210143" y="231755"/>
                    </a:lnTo>
                    <a:lnTo>
                      <a:pt x="207373" y="232279"/>
                    </a:lnTo>
                    <a:lnTo>
                      <a:pt x="204377" y="231681"/>
                    </a:lnTo>
                    <a:lnTo>
                      <a:pt x="197536" y="227720"/>
                    </a:lnTo>
                    <a:lnTo>
                      <a:pt x="192340" y="228431"/>
                    </a:lnTo>
                    <a:lnTo>
                      <a:pt x="181166" y="233015"/>
                    </a:lnTo>
                    <a:lnTo>
                      <a:pt x="175258" y="234358"/>
                    </a:lnTo>
                    <a:lnTo>
                      <a:pt x="177533" y="235263"/>
                    </a:lnTo>
                    <a:lnTo>
                      <a:pt x="177489" y="235272"/>
                    </a:lnTo>
                    <a:lnTo>
                      <a:pt x="172767" y="236207"/>
                    </a:lnTo>
                    <a:lnTo>
                      <a:pt x="163645" y="236229"/>
                    </a:lnTo>
                    <a:lnTo>
                      <a:pt x="151259" y="231892"/>
                    </a:lnTo>
                    <a:lnTo>
                      <a:pt x="138549" y="230978"/>
                    </a:lnTo>
                    <a:lnTo>
                      <a:pt x="127336" y="235077"/>
                    </a:lnTo>
                    <a:lnTo>
                      <a:pt x="109098" y="237977"/>
                    </a:lnTo>
                    <a:lnTo>
                      <a:pt x="106595" y="236861"/>
                    </a:lnTo>
                    <a:lnTo>
                      <a:pt x="98894" y="223908"/>
                    </a:lnTo>
                    <a:lnTo>
                      <a:pt x="95974" y="215152"/>
                    </a:lnTo>
                    <a:lnTo>
                      <a:pt x="92287" y="217080"/>
                    </a:lnTo>
                    <a:lnTo>
                      <a:pt x="91522" y="216056"/>
                    </a:lnTo>
                    <a:lnTo>
                      <a:pt x="88935" y="208763"/>
                    </a:lnTo>
                    <a:lnTo>
                      <a:pt x="90074" y="204888"/>
                    </a:lnTo>
                    <a:lnTo>
                      <a:pt x="86239" y="196163"/>
                    </a:lnTo>
                    <a:lnTo>
                      <a:pt x="80694" y="192760"/>
                    </a:lnTo>
                    <a:lnTo>
                      <a:pt x="70830" y="194181"/>
                    </a:lnTo>
                    <a:lnTo>
                      <a:pt x="45334" y="205844"/>
                    </a:lnTo>
                    <a:lnTo>
                      <a:pt x="39694" y="204133"/>
                    </a:lnTo>
                    <a:lnTo>
                      <a:pt x="36485" y="198359"/>
                    </a:lnTo>
                    <a:lnTo>
                      <a:pt x="17878" y="203139"/>
                    </a:lnTo>
                    <a:lnTo>
                      <a:pt x="14410" y="186085"/>
                    </a:lnTo>
                    <a:lnTo>
                      <a:pt x="20801" y="176266"/>
                    </a:lnTo>
                    <a:lnTo>
                      <a:pt x="21458" y="170180"/>
                    </a:lnTo>
                    <a:lnTo>
                      <a:pt x="26146" y="164189"/>
                    </a:lnTo>
                    <a:lnTo>
                      <a:pt x="28085" y="162579"/>
                    </a:lnTo>
                    <a:lnTo>
                      <a:pt x="33480" y="164614"/>
                    </a:lnTo>
                    <a:lnTo>
                      <a:pt x="36804" y="163262"/>
                    </a:lnTo>
                    <a:lnTo>
                      <a:pt x="36389" y="157016"/>
                    </a:lnTo>
                    <a:lnTo>
                      <a:pt x="40116" y="144053"/>
                    </a:lnTo>
                    <a:lnTo>
                      <a:pt x="39693" y="141210"/>
                    </a:lnTo>
                    <a:lnTo>
                      <a:pt x="36820" y="137435"/>
                    </a:lnTo>
                    <a:lnTo>
                      <a:pt x="31319" y="137850"/>
                    </a:lnTo>
                    <a:lnTo>
                      <a:pt x="26651" y="133649"/>
                    </a:lnTo>
                    <a:lnTo>
                      <a:pt x="23577" y="135935"/>
                    </a:lnTo>
                    <a:lnTo>
                      <a:pt x="18431" y="134734"/>
                    </a:lnTo>
                    <a:lnTo>
                      <a:pt x="14882" y="140147"/>
                    </a:lnTo>
                    <a:lnTo>
                      <a:pt x="10654" y="140149"/>
                    </a:lnTo>
                    <a:lnTo>
                      <a:pt x="0" y="128188"/>
                    </a:lnTo>
                    <a:lnTo>
                      <a:pt x="3501" y="115671"/>
                    </a:lnTo>
                    <a:lnTo>
                      <a:pt x="6979" y="117600"/>
                    </a:lnTo>
                    <a:lnTo>
                      <a:pt x="7325" y="120468"/>
                    </a:lnTo>
                    <a:lnTo>
                      <a:pt x="18958" y="128653"/>
                    </a:lnTo>
                    <a:lnTo>
                      <a:pt x="33906" y="123578"/>
                    </a:lnTo>
                    <a:lnTo>
                      <a:pt x="37153" y="119678"/>
                    </a:lnTo>
                    <a:lnTo>
                      <a:pt x="37056" y="117014"/>
                    </a:lnTo>
                    <a:lnTo>
                      <a:pt x="27624" y="107335"/>
                    </a:lnTo>
                    <a:lnTo>
                      <a:pt x="18655" y="107294"/>
                    </a:lnTo>
                    <a:lnTo>
                      <a:pt x="18441" y="104439"/>
                    </a:lnTo>
                    <a:lnTo>
                      <a:pt x="21356" y="98426"/>
                    </a:lnTo>
                    <a:lnTo>
                      <a:pt x="20949" y="95581"/>
                    </a:lnTo>
                    <a:lnTo>
                      <a:pt x="14215" y="89900"/>
                    </a:lnTo>
                    <a:lnTo>
                      <a:pt x="6645" y="77142"/>
                    </a:lnTo>
                    <a:lnTo>
                      <a:pt x="6088" y="72684"/>
                    </a:lnTo>
                    <a:lnTo>
                      <a:pt x="6998" y="70300"/>
                    </a:lnTo>
                    <a:lnTo>
                      <a:pt x="19178" y="60391"/>
                    </a:lnTo>
                    <a:lnTo>
                      <a:pt x="29589" y="60142"/>
                    </a:lnTo>
                    <a:lnTo>
                      <a:pt x="44730" y="53546"/>
                    </a:lnTo>
                    <a:lnTo>
                      <a:pt x="63524" y="55024"/>
                    </a:lnTo>
                    <a:lnTo>
                      <a:pt x="72164" y="51764"/>
                    </a:lnTo>
                    <a:lnTo>
                      <a:pt x="75098" y="54144"/>
                    </a:lnTo>
                    <a:lnTo>
                      <a:pt x="80110" y="54918"/>
                    </a:lnTo>
                    <a:lnTo>
                      <a:pt x="71533" y="62223"/>
                    </a:lnTo>
                    <a:lnTo>
                      <a:pt x="70578" y="64929"/>
                    </a:lnTo>
                    <a:lnTo>
                      <a:pt x="71722" y="70174"/>
                    </a:lnTo>
                    <a:lnTo>
                      <a:pt x="77373" y="73572"/>
                    </a:lnTo>
                    <a:lnTo>
                      <a:pt x="86836" y="73550"/>
                    </a:lnTo>
                    <a:lnTo>
                      <a:pt x="91112" y="76481"/>
                    </a:lnTo>
                    <a:lnTo>
                      <a:pt x="99534" y="75128"/>
                    </a:lnTo>
                    <a:lnTo>
                      <a:pt x="110847" y="69236"/>
                    </a:lnTo>
                    <a:lnTo>
                      <a:pt x="121287" y="73397"/>
                    </a:lnTo>
                    <a:lnTo>
                      <a:pt x="132945" y="72877"/>
                    </a:lnTo>
                    <a:lnTo>
                      <a:pt x="143234" y="80754"/>
                    </a:lnTo>
                    <a:lnTo>
                      <a:pt x="157268" y="74441"/>
                    </a:lnTo>
                    <a:lnTo>
                      <a:pt x="167299" y="77205"/>
                    </a:lnTo>
                    <a:lnTo>
                      <a:pt x="178239" y="76720"/>
                    </a:lnTo>
                    <a:lnTo>
                      <a:pt x="187130" y="79329"/>
                    </a:lnTo>
                    <a:lnTo>
                      <a:pt x="196747" y="79659"/>
                    </a:lnTo>
                    <a:lnTo>
                      <a:pt x="204092" y="76631"/>
                    </a:lnTo>
                    <a:lnTo>
                      <a:pt x="212797" y="67849"/>
                    </a:lnTo>
                    <a:lnTo>
                      <a:pt x="224203" y="66441"/>
                    </a:lnTo>
                    <a:lnTo>
                      <a:pt x="226825" y="63730"/>
                    </a:lnTo>
                    <a:lnTo>
                      <a:pt x="232399" y="51002"/>
                    </a:lnTo>
                    <a:lnTo>
                      <a:pt x="243271" y="44716"/>
                    </a:lnTo>
                    <a:lnTo>
                      <a:pt x="249972" y="43195"/>
                    </a:lnTo>
                    <a:lnTo>
                      <a:pt x="250597" y="42092"/>
                    </a:lnTo>
                    <a:lnTo>
                      <a:pt x="245965" y="37830"/>
                    </a:lnTo>
                    <a:lnTo>
                      <a:pt x="246962" y="35099"/>
                    </a:lnTo>
                    <a:lnTo>
                      <a:pt x="249794" y="34903"/>
                    </a:lnTo>
                    <a:lnTo>
                      <a:pt x="255217" y="38367"/>
                    </a:lnTo>
                    <a:lnTo>
                      <a:pt x="260972" y="35411"/>
                    </a:lnTo>
                    <a:lnTo>
                      <a:pt x="267996" y="37573"/>
                    </a:lnTo>
                    <a:lnTo>
                      <a:pt x="273557" y="34627"/>
                    </a:lnTo>
                    <a:lnTo>
                      <a:pt x="279965" y="37261"/>
                    </a:lnTo>
                    <a:lnTo>
                      <a:pt x="280287" y="32557"/>
                    </a:lnTo>
                    <a:lnTo>
                      <a:pt x="282593" y="29314"/>
                    </a:lnTo>
                    <a:lnTo>
                      <a:pt x="285775" y="29294"/>
                    </a:lnTo>
                    <a:lnTo>
                      <a:pt x="296065" y="34624"/>
                    </a:lnTo>
                    <a:lnTo>
                      <a:pt x="300546" y="32162"/>
                    </a:lnTo>
                    <a:lnTo>
                      <a:pt x="306237" y="25374"/>
                    </a:lnTo>
                    <a:lnTo>
                      <a:pt x="307734" y="27424"/>
                    </a:lnTo>
                    <a:lnTo>
                      <a:pt x="309797" y="24582"/>
                    </a:lnTo>
                    <a:lnTo>
                      <a:pt x="309005" y="20589"/>
                    </a:lnTo>
                    <a:lnTo>
                      <a:pt x="303185" y="19102"/>
                    </a:lnTo>
                    <a:lnTo>
                      <a:pt x="297420" y="12600"/>
                    </a:lnTo>
                    <a:lnTo>
                      <a:pt x="299220" y="4382"/>
                    </a:lnTo>
                    <a:lnTo>
                      <a:pt x="301652" y="1334"/>
                    </a:lnTo>
                    <a:lnTo>
                      <a:pt x="305313"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79" name="Freeform 144">
                <a:extLst>
                  <a:ext uri="{FF2B5EF4-FFF2-40B4-BE49-F238E27FC236}">
                    <a16:creationId xmlns:a16="http://schemas.microsoft.com/office/drawing/2014/main" id="{7E24D5CC-94B5-F28F-744C-4BDA2AF81706}"/>
                  </a:ext>
                </a:extLst>
              </p:cNvPr>
              <p:cNvSpPr>
                <a:spLocks noChangeAspect="1"/>
              </p:cNvSpPr>
              <p:nvPr>
                <p:custDataLst>
                  <p:tags r:id="rId115"/>
                </p:custDataLst>
              </p:nvPr>
            </p:nvSpPr>
            <p:spPr>
              <a:xfrm>
                <a:off x="5341923" y="4537205"/>
                <a:ext cx="361943" cy="228808"/>
              </a:xfrm>
              <a:custGeom>
                <a:avLst/>
                <a:gdLst/>
                <a:ahLst/>
                <a:cxnLst/>
                <a:rect l="0" t="0" r="0" b="0"/>
                <a:pathLst>
                  <a:path w="371618" h="234924">
                    <a:moveTo>
                      <a:pt x="371617" y="156782"/>
                    </a:moveTo>
                    <a:lnTo>
                      <a:pt x="371234" y="157537"/>
                    </a:lnTo>
                    <a:lnTo>
                      <a:pt x="370372" y="157694"/>
                    </a:lnTo>
                    <a:lnTo>
                      <a:pt x="358198" y="154169"/>
                    </a:lnTo>
                    <a:lnTo>
                      <a:pt x="354537" y="155503"/>
                    </a:lnTo>
                    <a:lnTo>
                      <a:pt x="352105" y="158551"/>
                    </a:lnTo>
                    <a:lnTo>
                      <a:pt x="350305" y="166769"/>
                    </a:lnTo>
                    <a:lnTo>
                      <a:pt x="356070" y="173271"/>
                    </a:lnTo>
                    <a:lnTo>
                      <a:pt x="361890" y="174758"/>
                    </a:lnTo>
                    <a:lnTo>
                      <a:pt x="362682" y="178751"/>
                    </a:lnTo>
                    <a:lnTo>
                      <a:pt x="360619" y="181593"/>
                    </a:lnTo>
                    <a:lnTo>
                      <a:pt x="359122" y="179543"/>
                    </a:lnTo>
                    <a:lnTo>
                      <a:pt x="353431" y="186331"/>
                    </a:lnTo>
                    <a:lnTo>
                      <a:pt x="348950" y="188793"/>
                    </a:lnTo>
                    <a:lnTo>
                      <a:pt x="338660" y="183463"/>
                    </a:lnTo>
                    <a:lnTo>
                      <a:pt x="335478" y="183483"/>
                    </a:lnTo>
                    <a:lnTo>
                      <a:pt x="333172" y="186726"/>
                    </a:lnTo>
                    <a:lnTo>
                      <a:pt x="332850" y="191430"/>
                    </a:lnTo>
                    <a:lnTo>
                      <a:pt x="326442" y="188796"/>
                    </a:lnTo>
                    <a:lnTo>
                      <a:pt x="320881" y="191742"/>
                    </a:lnTo>
                    <a:lnTo>
                      <a:pt x="313857" y="189580"/>
                    </a:lnTo>
                    <a:lnTo>
                      <a:pt x="308102" y="192536"/>
                    </a:lnTo>
                    <a:lnTo>
                      <a:pt x="302679" y="189072"/>
                    </a:lnTo>
                    <a:lnTo>
                      <a:pt x="299847" y="189268"/>
                    </a:lnTo>
                    <a:lnTo>
                      <a:pt x="298850" y="191999"/>
                    </a:lnTo>
                    <a:lnTo>
                      <a:pt x="303482" y="196261"/>
                    </a:lnTo>
                    <a:lnTo>
                      <a:pt x="302857" y="197364"/>
                    </a:lnTo>
                    <a:lnTo>
                      <a:pt x="296156" y="198885"/>
                    </a:lnTo>
                    <a:lnTo>
                      <a:pt x="285284" y="205171"/>
                    </a:lnTo>
                    <a:lnTo>
                      <a:pt x="279710" y="217899"/>
                    </a:lnTo>
                    <a:lnTo>
                      <a:pt x="277088" y="220610"/>
                    </a:lnTo>
                    <a:lnTo>
                      <a:pt x="265682" y="222018"/>
                    </a:lnTo>
                    <a:lnTo>
                      <a:pt x="256977" y="230800"/>
                    </a:lnTo>
                    <a:lnTo>
                      <a:pt x="249632" y="233828"/>
                    </a:lnTo>
                    <a:lnTo>
                      <a:pt x="240015" y="233498"/>
                    </a:lnTo>
                    <a:lnTo>
                      <a:pt x="231124" y="230889"/>
                    </a:lnTo>
                    <a:lnTo>
                      <a:pt x="220184" y="231374"/>
                    </a:lnTo>
                    <a:lnTo>
                      <a:pt x="210153" y="228610"/>
                    </a:lnTo>
                    <a:lnTo>
                      <a:pt x="196119" y="234923"/>
                    </a:lnTo>
                    <a:lnTo>
                      <a:pt x="185830" y="227046"/>
                    </a:lnTo>
                    <a:lnTo>
                      <a:pt x="174172" y="227566"/>
                    </a:lnTo>
                    <a:lnTo>
                      <a:pt x="163732" y="223405"/>
                    </a:lnTo>
                    <a:lnTo>
                      <a:pt x="152419" y="229297"/>
                    </a:lnTo>
                    <a:lnTo>
                      <a:pt x="143997" y="230650"/>
                    </a:lnTo>
                    <a:lnTo>
                      <a:pt x="139721" y="227719"/>
                    </a:lnTo>
                    <a:lnTo>
                      <a:pt x="130258" y="227741"/>
                    </a:lnTo>
                    <a:lnTo>
                      <a:pt x="124607" y="224343"/>
                    </a:lnTo>
                    <a:lnTo>
                      <a:pt x="123463" y="219098"/>
                    </a:lnTo>
                    <a:lnTo>
                      <a:pt x="124418" y="216392"/>
                    </a:lnTo>
                    <a:lnTo>
                      <a:pt x="132995" y="209087"/>
                    </a:lnTo>
                    <a:lnTo>
                      <a:pt x="127983" y="208313"/>
                    </a:lnTo>
                    <a:lnTo>
                      <a:pt x="125049" y="205933"/>
                    </a:lnTo>
                    <a:lnTo>
                      <a:pt x="116409" y="209193"/>
                    </a:lnTo>
                    <a:lnTo>
                      <a:pt x="97615" y="207715"/>
                    </a:lnTo>
                    <a:lnTo>
                      <a:pt x="82474" y="214311"/>
                    </a:lnTo>
                    <a:lnTo>
                      <a:pt x="72063" y="214560"/>
                    </a:lnTo>
                    <a:lnTo>
                      <a:pt x="60154" y="206391"/>
                    </a:lnTo>
                    <a:lnTo>
                      <a:pt x="51764" y="195999"/>
                    </a:lnTo>
                    <a:lnTo>
                      <a:pt x="51168" y="193382"/>
                    </a:lnTo>
                    <a:lnTo>
                      <a:pt x="43029" y="188924"/>
                    </a:lnTo>
                    <a:lnTo>
                      <a:pt x="33162" y="190723"/>
                    </a:lnTo>
                    <a:lnTo>
                      <a:pt x="27867" y="195885"/>
                    </a:lnTo>
                    <a:lnTo>
                      <a:pt x="25796" y="195894"/>
                    </a:lnTo>
                    <a:lnTo>
                      <a:pt x="20973" y="188710"/>
                    </a:lnTo>
                    <a:lnTo>
                      <a:pt x="21255" y="185504"/>
                    </a:lnTo>
                    <a:lnTo>
                      <a:pt x="18166" y="183222"/>
                    </a:lnTo>
                    <a:lnTo>
                      <a:pt x="16635" y="175016"/>
                    </a:lnTo>
                    <a:lnTo>
                      <a:pt x="18626" y="168210"/>
                    </a:lnTo>
                    <a:lnTo>
                      <a:pt x="15881" y="163885"/>
                    </a:lnTo>
                    <a:lnTo>
                      <a:pt x="16218" y="159299"/>
                    </a:lnTo>
                    <a:lnTo>
                      <a:pt x="21719" y="154229"/>
                    </a:lnTo>
                    <a:lnTo>
                      <a:pt x="21901" y="152519"/>
                    </a:lnTo>
                    <a:lnTo>
                      <a:pt x="7168" y="142328"/>
                    </a:lnTo>
                    <a:lnTo>
                      <a:pt x="6914" y="139692"/>
                    </a:lnTo>
                    <a:lnTo>
                      <a:pt x="10702" y="134297"/>
                    </a:lnTo>
                    <a:lnTo>
                      <a:pt x="9522" y="130305"/>
                    </a:lnTo>
                    <a:lnTo>
                      <a:pt x="0" y="127313"/>
                    </a:lnTo>
                    <a:lnTo>
                      <a:pt x="2505" y="106465"/>
                    </a:lnTo>
                    <a:lnTo>
                      <a:pt x="8863" y="107166"/>
                    </a:lnTo>
                    <a:lnTo>
                      <a:pt x="25902" y="93002"/>
                    </a:lnTo>
                    <a:lnTo>
                      <a:pt x="26359" y="90635"/>
                    </a:lnTo>
                    <a:lnTo>
                      <a:pt x="22314" y="85755"/>
                    </a:lnTo>
                    <a:lnTo>
                      <a:pt x="25010" y="76162"/>
                    </a:lnTo>
                    <a:lnTo>
                      <a:pt x="25495" y="74446"/>
                    </a:lnTo>
                    <a:lnTo>
                      <a:pt x="25503" y="74418"/>
                    </a:lnTo>
                    <a:lnTo>
                      <a:pt x="27075" y="74103"/>
                    </a:lnTo>
                    <a:lnTo>
                      <a:pt x="36322" y="74531"/>
                    </a:lnTo>
                    <a:lnTo>
                      <a:pt x="40192" y="76520"/>
                    </a:lnTo>
                    <a:lnTo>
                      <a:pt x="47165" y="85487"/>
                    </a:lnTo>
                    <a:lnTo>
                      <a:pt x="50641" y="87074"/>
                    </a:lnTo>
                    <a:lnTo>
                      <a:pt x="50502" y="84466"/>
                    </a:lnTo>
                    <a:lnTo>
                      <a:pt x="48963" y="78570"/>
                    </a:lnTo>
                    <a:lnTo>
                      <a:pt x="53238" y="71191"/>
                    </a:lnTo>
                    <a:lnTo>
                      <a:pt x="58895" y="64047"/>
                    </a:lnTo>
                    <a:lnTo>
                      <a:pt x="61639" y="58789"/>
                    </a:lnTo>
                    <a:lnTo>
                      <a:pt x="62373" y="49436"/>
                    </a:lnTo>
                    <a:lnTo>
                      <a:pt x="64737" y="38997"/>
                    </a:lnTo>
                    <a:lnTo>
                      <a:pt x="67824" y="29467"/>
                    </a:lnTo>
                    <a:lnTo>
                      <a:pt x="70537" y="22792"/>
                    </a:lnTo>
                    <a:lnTo>
                      <a:pt x="78030" y="14041"/>
                    </a:lnTo>
                    <a:lnTo>
                      <a:pt x="89064" y="8045"/>
                    </a:lnTo>
                    <a:lnTo>
                      <a:pt x="101285" y="4916"/>
                    </a:lnTo>
                    <a:lnTo>
                      <a:pt x="112453" y="4736"/>
                    </a:lnTo>
                    <a:lnTo>
                      <a:pt x="110570" y="1995"/>
                    </a:lnTo>
                    <a:lnTo>
                      <a:pt x="115143" y="0"/>
                    </a:lnTo>
                    <a:lnTo>
                      <a:pt x="120277" y="913"/>
                    </a:lnTo>
                    <a:lnTo>
                      <a:pt x="125544" y="2799"/>
                    </a:lnTo>
                    <a:lnTo>
                      <a:pt x="130510" y="3673"/>
                    </a:lnTo>
                    <a:lnTo>
                      <a:pt x="150079" y="2498"/>
                    </a:lnTo>
                    <a:lnTo>
                      <a:pt x="159363" y="4332"/>
                    </a:lnTo>
                    <a:lnTo>
                      <a:pt x="170145" y="8840"/>
                    </a:lnTo>
                    <a:lnTo>
                      <a:pt x="181195" y="10896"/>
                    </a:lnTo>
                    <a:lnTo>
                      <a:pt x="191347" y="5412"/>
                    </a:lnTo>
                    <a:lnTo>
                      <a:pt x="188826" y="3811"/>
                    </a:lnTo>
                    <a:lnTo>
                      <a:pt x="186033" y="2942"/>
                    </a:lnTo>
                    <a:lnTo>
                      <a:pt x="183132" y="2766"/>
                    </a:lnTo>
                    <a:lnTo>
                      <a:pt x="180180" y="3262"/>
                    </a:lnTo>
                    <a:lnTo>
                      <a:pt x="180019" y="655"/>
                    </a:lnTo>
                    <a:lnTo>
                      <a:pt x="252011" y="13325"/>
                    </a:lnTo>
                    <a:lnTo>
                      <a:pt x="280868" y="25832"/>
                    </a:lnTo>
                    <a:lnTo>
                      <a:pt x="341078" y="65881"/>
                    </a:lnTo>
                    <a:lnTo>
                      <a:pt x="348344" y="73073"/>
                    </a:lnTo>
                    <a:lnTo>
                      <a:pt x="354480" y="82075"/>
                    </a:lnTo>
                    <a:lnTo>
                      <a:pt x="360117" y="99781"/>
                    </a:lnTo>
                    <a:lnTo>
                      <a:pt x="365150" y="110576"/>
                    </a:lnTo>
                    <a:lnTo>
                      <a:pt x="368991" y="121566"/>
                    </a:lnTo>
                    <a:lnTo>
                      <a:pt x="368072" y="129789"/>
                    </a:lnTo>
                    <a:lnTo>
                      <a:pt x="369909" y="135548"/>
                    </a:lnTo>
                    <a:lnTo>
                      <a:pt x="370888" y="14303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80" name="Freeform 145">
                <a:extLst>
                  <a:ext uri="{FF2B5EF4-FFF2-40B4-BE49-F238E27FC236}">
                    <a16:creationId xmlns:a16="http://schemas.microsoft.com/office/drawing/2014/main" id="{F6A3D228-ECEC-1B67-24EF-4C839598B9D7}"/>
                  </a:ext>
                </a:extLst>
              </p:cNvPr>
              <p:cNvSpPr>
                <a:spLocks noChangeAspect="1"/>
              </p:cNvSpPr>
              <p:nvPr>
                <p:custDataLst>
                  <p:tags r:id="rId116"/>
                </p:custDataLst>
              </p:nvPr>
            </p:nvSpPr>
            <p:spPr>
              <a:xfrm>
                <a:off x="5284250" y="5325772"/>
                <a:ext cx="59704" cy="37659"/>
              </a:xfrm>
              <a:custGeom>
                <a:avLst/>
                <a:gdLst/>
                <a:ahLst/>
                <a:cxnLst/>
                <a:rect l="0" t="0" r="0" b="0"/>
                <a:pathLst>
                  <a:path w="61300" h="38666">
                    <a:moveTo>
                      <a:pt x="24305" y="4386"/>
                    </a:moveTo>
                    <a:lnTo>
                      <a:pt x="24314" y="3071"/>
                    </a:lnTo>
                    <a:lnTo>
                      <a:pt x="32308" y="9247"/>
                    </a:lnTo>
                    <a:lnTo>
                      <a:pt x="42918" y="15403"/>
                    </a:lnTo>
                    <a:lnTo>
                      <a:pt x="53647" y="23958"/>
                    </a:lnTo>
                    <a:lnTo>
                      <a:pt x="60257" y="34525"/>
                    </a:lnTo>
                    <a:lnTo>
                      <a:pt x="61299" y="38665"/>
                    </a:lnTo>
                    <a:lnTo>
                      <a:pt x="61296" y="38663"/>
                    </a:lnTo>
                    <a:lnTo>
                      <a:pt x="14494" y="23998"/>
                    </a:lnTo>
                    <a:lnTo>
                      <a:pt x="6509" y="23585"/>
                    </a:lnTo>
                    <a:lnTo>
                      <a:pt x="5857" y="23972"/>
                    </a:lnTo>
                    <a:lnTo>
                      <a:pt x="5852" y="23975"/>
                    </a:lnTo>
                    <a:lnTo>
                      <a:pt x="233" y="13985"/>
                    </a:lnTo>
                    <a:lnTo>
                      <a:pt x="0" y="9964"/>
                    </a:lnTo>
                    <a:lnTo>
                      <a:pt x="4022" y="6918"/>
                    </a:lnTo>
                    <a:lnTo>
                      <a:pt x="11698" y="7516"/>
                    </a:lnTo>
                    <a:lnTo>
                      <a:pt x="13822" y="2539"/>
                    </a:lnTo>
                    <a:lnTo>
                      <a:pt x="16660" y="175"/>
                    </a:lnTo>
                    <a:lnTo>
                      <a:pt x="18336" y="0"/>
                    </a:lnTo>
                    <a:lnTo>
                      <a:pt x="21399" y="398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81" name="Freeform 146">
                <a:extLst>
                  <a:ext uri="{FF2B5EF4-FFF2-40B4-BE49-F238E27FC236}">
                    <a16:creationId xmlns:a16="http://schemas.microsoft.com/office/drawing/2014/main" id="{BAA52672-6E19-1DB9-16E4-F2FC4D4F9368}"/>
                  </a:ext>
                </a:extLst>
              </p:cNvPr>
              <p:cNvSpPr>
                <a:spLocks noChangeAspect="1"/>
              </p:cNvSpPr>
              <p:nvPr>
                <p:custDataLst>
                  <p:tags r:id="rId117"/>
                </p:custDataLst>
              </p:nvPr>
            </p:nvSpPr>
            <p:spPr>
              <a:xfrm>
                <a:off x="5359470" y="5047223"/>
                <a:ext cx="44815" cy="54904"/>
              </a:xfrm>
              <a:custGeom>
                <a:avLst/>
                <a:gdLst/>
                <a:ahLst/>
                <a:cxnLst/>
                <a:rect l="0" t="0" r="0" b="0"/>
                <a:pathLst>
                  <a:path w="46013" h="56372">
                    <a:moveTo>
                      <a:pt x="41804" y="26058"/>
                    </a:moveTo>
                    <a:lnTo>
                      <a:pt x="46012" y="32713"/>
                    </a:lnTo>
                    <a:lnTo>
                      <a:pt x="32939" y="38405"/>
                    </a:lnTo>
                    <a:lnTo>
                      <a:pt x="31428" y="42419"/>
                    </a:lnTo>
                    <a:lnTo>
                      <a:pt x="25422" y="41448"/>
                    </a:lnTo>
                    <a:lnTo>
                      <a:pt x="24518" y="49579"/>
                    </a:lnTo>
                    <a:lnTo>
                      <a:pt x="20532" y="53541"/>
                    </a:lnTo>
                    <a:lnTo>
                      <a:pt x="16686" y="55677"/>
                    </a:lnTo>
                    <a:lnTo>
                      <a:pt x="12589" y="56371"/>
                    </a:lnTo>
                    <a:lnTo>
                      <a:pt x="12008" y="55966"/>
                    </a:lnTo>
                    <a:lnTo>
                      <a:pt x="6995" y="50252"/>
                    </a:lnTo>
                    <a:lnTo>
                      <a:pt x="6392" y="50016"/>
                    </a:lnTo>
                    <a:lnTo>
                      <a:pt x="6254" y="44024"/>
                    </a:lnTo>
                    <a:lnTo>
                      <a:pt x="6635" y="41910"/>
                    </a:lnTo>
                    <a:lnTo>
                      <a:pt x="6815" y="41456"/>
                    </a:lnTo>
                    <a:lnTo>
                      <a:pt x="6978" y="40410"/>
                    </a:lnTo>
                    <a:lnTo>
                      <a:pt x="11823" y="30883"/>
                    </a:lnTo>
                    <a:lnTo>
                      <a:pt x="11897" y="30405"/>
                    </a:lnTo>
                    <a:lnTo>
                      <a:pt x="11846" y="29142"/>
                    </a:lnTo>
                    <a:lnTo>
                      <a:pt x="11774" y="28928"/>
                    </a:lnTo>
                    <a:lnTo>
                      <a:pt x="11437" y="28352"/>
                    </a:lnTo>
                    <a:lnTo>
                      <a:pt x="10340" y="27064"/>
                    </a:lnTo>
                    <a:lnTo>
                      <a:pt x="10072" y="26485"/>
                    </a:lnTo>
                    <a:lnTo>
                      <a:pt x="10051" y="26327"/>
                    </a:lnTo>
                    <a:lnTo>
                      <a:pt x="10075" y="25457"/>
                    </a:lnTo>
                    <a:lnTo>
                      <a:pt x="10027" y="25222"/>
                    </a:lnTo>
                    <a:lnTo>
                      <a:pt x="9930" y="25010"/>
                    </a:lnTo>
                    <a:lnTo>
                      <a:pt x="9695" y="24726"/>
                    </a:lnTo>
                    <a:lnTo>
                      <a:pt x="9361" y="24575"/>
                    </a:lnTo>
                    <a:lnTo>
                      <a:pt x="9048" y="24591"/>
                    </a:lnTo>
                    <a:lnTo>
                      <a:pt x="5285" y="26789"/>
                    </a:lnTo>
                    <a:lnTo>
                      <a:pt x="4627" y="26782"/>
                    </a:lnTo>
                    <a:lnTo>
                      <a:pt x="4215" y="26527"/>
                    </a:lnTo>
                    <a:lnTo>
                      <a:pt x="3696" y="25980"/>
                    </a:lnTo>
                    <a:lnTo>
                      <a:pt x="2583" y="23743"/>
                    </a:lnTo>
                    <a:lnTo>
                      <a:pt x="1991" y="21599"/>
                    </a:lnTo>
                    <a:lnTo>
                      <a:pt x="650" y="19335"/>
                    </a:lnTo>
                    <a:lnTo>
                      <a:pt x="589" y="19100"/>
                    </a:lnTo>
                    <a:lnTo>
                      <a:pt x="537" y="18055"/>
                    </a:lnTo>
                    <a:lnTo>
                      <a:pt x="587" y="17560"/>
                    </a:lnTo>
                    <a:lnTo>
                      <a:pt x="843" y="16538"/>
                    </a:lnTo>
                    <a:lnTo>
                      <a:pt x="1281" y="12483"/>
                    </a:lnTo>
                    <a:lnTo>
                      <a:pt x="611" y="7142"/>
                    </a:lnTo>
                    <a:lnTo>
                      <a:pt x="0" y="5463"/>
                    </a:lnTo>
                    <a:lnTo>
                      <a:pt x="8543" y="4287"/>
                    </a:lnTo>
                    <a:lnTo>
                      <a:pt x="19420" y="0"/>
                    </a:lnTo>
                    <a:lnTo>
                      <a:pt x="23414" y="435"/>
                    </a:lnTo>
                    <a:lnTo>
                      <a:pt x="24335" y="4420"/>
                    </a:lnTo>
                    <a:lnTo>
                      <a:pt x="29397" y="13091"/>
                    </a:lnTo>
                    <a:lnTo>
                      <a:pt x="32878" y="16625"/>
                    </a:lnTo>
                    <a:lnTo>
                      <a:pt x="38645" y="18238"/>
                    </a:lnTo>
                    <a:lnTo>
                      <a:pt x="40807" y="2449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82" name="Freeform 147">
                <a:extLst>
                  <a:ext uri="{FF2B5EF4-FFF2-40B4-BE49-F238E27FC236}">
                    <a16:creationId xmlns:a16="http://schemas.microsoft.com/office/drawing/2014/main" id="{33039F32-DE50-6D9F-1BC9-7F5C1BFA76D0}"/>
                  </a:ext>
                </a:extLst>
              </p:cNvPr>
              <p:cNvSpPr>
                <a:spLocks noChangeAspect="1"/>
              </p:cNvSpPr>
              <p:nvPr>
                <p:custDataLst>
                  <p:tags r:id="rId118"/>
                </p:custDataLst>
              </p:nvPr>
            </p:nvSpPr>
            <p:spPr>
              <a:xfrm>
                <a:off x="5377824" y="5072489"/>
                <a:ext cx="75713" cy="41118"/>
              </a:xfrm>
              <a:custGeom>
                <a:avLst/>
                <a:gdLst/>
                <a:ahLst/>
                <a:cxnLst/>
                <a:rect l="0" t="0" r="0" b="0"/>
                <a:pathLst>
                  <a:path w="77737" h="42217">
                    <a:moveTo>
                      <a:pt x="77736" y="12507"/>
                    </a:moveTo>
                    <a:lnTo>
                      <a:pt x="72583" y="13107"/>
                    </a:lnTo>
                    <a:lnTo>
                      <a:pt x="56349" y="18350"/>
                    </a:lnTo>
                    <a:lnTo>
                      <a:pt x="55261" y="21198"/>
                    </a:lnTo>
                    <a:lnTo>
                      <a:pt x="54790" y="25068"/>
                    </a:lnTo>
                    <a:lnTo>
                      <a:pt x="53510" y="29420"/>
                    </a:lnTo>
                    <a:lnTo>
                      <a:pt x="50578" y="33377"/>
                    </a:lnTo>
                    <a:lnTo>
                      <a:pt x="47259" y="35552"/>
                    </a:lnTo>
                    <a:lnTo>
                      <a:pt x="43788" y="37078"/>
                    </a:lnTo>
                    <a:lnTo>
                      <a:pt x="40411" y="39285"/>
                    </a:lnTo>
                    <a:lnTo>
                      <a:pt x="40435" y="39279"/>
                    </a:lnTo>
                    <a:lnTo>
                      <a:pt x="40405" y="39294"/>
                    </a:lnTo>
                    <a:lnTo>
                      <a:pt x="36620" y="41158"/>
                    </a:lnTo>
                    <a:lnTo>
                      <a:pt x="33846" y="42216"/>
                    </a:lnTo>
                    <a:lnTo>
                      <a:pt x="29313" y="41568"/>
                    </a:lnTo>
                    <a:lnTo>
                      <a:pt x="27197" y="38697"/>
                    </a:lnTo>
                    <a:lnTo>
                      <a:pt x="25344" y="34801"/>
                    </a:lnTo>
                    <a:lnTo>
                      <a:pt x="21536" y="35023"/>
                    </a:lnTo>
                    <a:lnTo>
                      <a:pt x="14145" y="38081"/>
                    </a:lnTo>
                    <a:lnTo>
                      <a:pt x="1586" y="34148"/>
                    </a:lnTo>
                    <a:lnTo>
                      <a:pt x="0" y="31996"/>
                    </a:lnTo>
                    <a:lnTo>
                      <a:pt x="374" y="28913"/>
                    </a:lnTo>
                    <a:lnTo>
                      <a:pt x="1687" y="27600"/>
                    </a:lnTo>
                    <a:lnTo>
                      <a:pt x="5673" y="23638"/>
                    </a:lnTo>
                    <a:lnTo>
                      <a:pt x="6577" y="15507"/>
                    </a:lnTo>
                    <a:lnTo>
                      <a:pt x="12583" y="16478"/>
                    </a:lnTo>
                    <a:lnTo>
                      <a:pt x="14094" y="12464"/>
                    </a:lnTo>
                    <a:lnTo>
                      <a:pt x="27167" y="6772"/>
                    </a:lnTo>
                    <a:lnTo>
                      <a:pt x="22959" y="117"/>
                    </a:lnTo>
                    <a:lnTo>
                      <a:pt x="31451" y="0"/>
                    </a:lnTo>
                    <a:lnTo>
                      <a:pt x="48556" y="2633"/>
                    </a:lnTo>
                    <a:lnTo>
                      <a:pt x="61530" y="3701"/>
                    </a:lnTo>
                    <a:lnTo>
                      <a:pt x="72763" y="6634"/>
                    </a:lnTo>
                    <a:lnTo>
                      <a:pt x="76909" y="818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83" name="Freeform 148">
                <a:extLst>
                  <a:ext uri="{FF2B5EF4-FFF2-40B4-BE49-F238E27FC236}">
                    <a16:creationId xmlns:a16="http://schemas.microsoft.com/office/drawing/2014/main" id="{18748709-D6BA-2567-EC04-B9599DF49AA8}"/>
                  </a:ext>
                </a:extLst>
              </p:cNvPr>
              <p:cNvSpPr>
                <a:spLocks noChangeAspect="1"/>
              </p:cNvSpPr>
              <p:nvPr>
                <p:custDataLst>
                  <p:tags r:id="rId119"/>
                </p:custDataLst>
              </p:nvPr>
            </p:nvSpPr>
            <p:spPr>
              <a:xfrm>
                <a:off x="5307931" y="5228612"/>
                <a:ext cx="233840" cy="146324"/>
              </a:xfrm>
              <a:custGeom>
                <a:avLst/>
                <a:gdLst/>
                <a:ahLst/>
                <a:cxnLst/>
                <a:rect l="0" t="0" r="0" b="0"/>
                <a:pathLst>
                  <a:path w="240091" h="150235">
                    <a:moveTo>
                      <a:pt x="60546" y="12295"/>
                    </a:moveTo>
                    <a:lnTo>
                      <a:pt x="79733" y="7393"/>
                    </a:lnTo>
                    <a:lnTo>
                      <a:pt x="90870" y="11281"/>
                    </a:lnTo>
                    <a:lnTo>
                      <a:pt x="106122" y="6762"/>
                    </a:lnTo>
                    <a:lnTo>
                      <a:pt x="107107" y="7560"/>
                    </a:lnTo>
                    <a:lnTo>
                      <a:pt x="107383" y="11676"/>
                    </a:lnTo>
                    <a:lnTo>
                      <a:pt x="113154" y="13502"/>
                    </a:lnTo>
                    <a:lnTo>
                      <a:pt x="113044" y="19242"/>
                    </a:lnTo>
                    <a:lnTo>
                      <a:pt x="118782" y="17766"/>
                    </a:lnTo>
                    <a:lnTo>
                      <a:pt x="123604" y="20373"/>
                    </a:lnTo>
                    <a:lnTo>
                      <a:pt x="127652" y="26527"/>
                    </a:lnTo>
                    <a:lnTo>
                      <a:pt x="141956" y="32436"/>
                    </a:lnTo>
                    <a:lnTo>
                      <a:pt x="143507" y="39052"/>
                    </a:lnTo>
                    <a:lnTo>
                      <a:pt x="157500" y="42841"/>
                    </a:lnTo>
                    <a:lnTo>
                      <a:pt x="165752" y="49394"/>
                    </a:lnTo>
                    <a:lnTo>
                      <a:pt x="186678" y="42881"/>
                    </a:lnTo>
                    <a:lnTo>
                      <a:pt x="190888" y="44239"/>
                    </a:lnTo>
                    <a:lnTo>
                      <a:pt x="196133" y="49351"/>
                    </a:lnTo>
                    <a:lnTo>
                      <a:pt x="212306" y="47767"/>
                    </a:lnTo>
                    <a:lnTo>
                      <a:pt x="218113" y="50823"/>
                    </a:lnTo>
                    <a:lnTo>
                      <a:pt x="227365" y="67157"/>
                    </a:lnTo>
                    <a:lnTo>
                      <a:pt x="231261" y="67258"/>
                    </a:lnTo>
                    <a:lnTo>
                      <a:pt x="233981" y="64326"/>
                    </a:lnTo>
                    <a:lnTo>
                      <a:pt x="238330" y="66613"/>
                    </a:lnTo>
                    <a:lnTo>
                      <a:pt x="240090" y="71490"/>
                    </a:lnTo>
                    <a:lnTo>
                      <a:pt x="239503" y="73695"/>
                    </a:lnTo>
                    <a:lnTo>
                      <a:pt x="222952" y="69308"/>
                    </a:lnTo>
                    <a:lnTo>
                      <a:pt x="213565" y="73043"/>
                    </a:lnTo>
                    <a:lnTo>
                      <a:pt x="191279" y="97527"/>
                    </a:lnTo>
                    <a:lnTo>
                      <a:pt x="181843" y="102506"/>
                    </a:lnTo>
                    <a:lnTo>
                      <a:pt x="130217" y="116621"/>
                    </a:lnTo>
                    <a:lnTo>
                      <a:pt x="121459" y="121123"/>
                    </a:lnTo>
                    <a:lnTo>
                      <a:pt x="120238" y="121111"/>
                    </a:lnTo>
                    <a:lnTo>
                      <a:pt x="117774" y="124822"/>
                    </a:lnTo>
                    <a:lnTo>
                      <a:pt x="115608" y="128985"/>
                    </a:lnTo>
                    <a:lnTo>
                      <a:pt x="115174" y="130502"/>
                    </a:lnTo>
                    <a:lnTo>
                      <a:pt x="107204" y="136355"/>
                    </a:lnTo>
                    <a:lnTo>
                      <a:pt x="98897" y="149629"/>
                    </a:lnTo>
                    <a:lnTo>
                      <a:pt x="89938" y="150234"/>
                    </a:lnTo>
                    <a:lnTo>
                      <a:pt x="85124" y="149751"/>
                    </a:lnTo>
                    <a:lnTo>
                      <a:pt x="73850" y="146157"/>
                    </a:lnTo>
                    <a:lnTo>
                      <a:pt x="71193" y="145825"/>
                    </a:lnTo>
                    <a:lnTo>
                      <a:pt x="62667" y="146347"/>
                    </a:lnTo>
                    <a:lnTo>
                      <a:pt x="60423" y="145185"/>
                    </a:lnTo>
                    <a:lnTo>
                      <a:pt x="55995" y="141235"/>
                    </a:lnTo>
                    <a:lnTo>
                      <a:pt x="51452" y="139951"/>
                    </a:lnTo>
                    <a:lnTo>
                      <a:pt x="41150" y="139711"/>
                    </a:lnTo>
                    <a:lnTo>
                      <a:pt x="36985" y="138422"/>
                    </a:lnTo>
                    <a:lnTo>
                      <a:pt x="35943" y="134282"/>
                    </a:lnTo>
                    <a:lnTo>
                      <a:pt x="29333" y="123715"/>
                    </a:lnTo>
                    <a:lnTo>
                      <a:pt x="18604" y="115160"/>
                    </a:lnTo>
                    <a:lnTo>
                      <a:pt x="7994" y="109004"/>
                    </a:lnTo>
                    <a:lnTo>
                      <a:pt x="0" y="102828"/>
                    </a:lnTo>
                    <a:lnTo>
                      <a:pt x="29" y="99882"/>
                    </a:lnTo>
                    <a:lnTo>
                      <a:pt x="67" y="95644"/>
                    </a:lnTo>
                    <a:lnTo>
                      <a:pt x="2037" y="85771"/>
                    </a:lnTo>
                    <a:lnTo>
                      <a:pt x="7191" y="76934"/>
                    </a:lnTo>
                    <a:lnTo>
                      <a:pt x="4025" y="69120"/>
                    </a:lnTo>
                    <a:lnTo>
                      <a:pt x="12764" y="59895"/>
                    </a:lnTo>
                    <a:lnTo>
                      <a:pt x="14367" y="59819"/>
                    </a:lnTo>
                    <a:lnTo>
                      <a:pt x="18594" y="64399"/>
                    </a:lnTo>
                    <a:lnTo>
                      <a:pt x="25382" y="63639"/>
                    </a:lnTo>
                    <a:lnTo>
                      <a:pt x="26782" y="59125"/>
                    </a:lnTo>
                    <a:lnTo>
                      <a:pt x="26865" y="48066"/>
                    </a:lnTo>
                    <a:lnTo>
                      <a:pt x="28292" y="44173"/>
                    </a:lnTo>
                    <a:lnTo>
                      <a:pt x="32557" y="37070"/>
                    </a:lnTo>
                    <a:lnTo>
                      <a:pt x="31196" y="35120"/>
                    </a:lnTo>
                    <a:lnTo>
                      <a:pt x="27858" y="34986"/>
                    </a:lnTo>
                    <a:lnTo>
                      <a:pt x="26277" y="29925"/>
                    </a:lnTo>
                    <a:lnTo>
                      <a:pt x="20539" y="27336"/>
                    </a:lnTo>
                    <a:lnTo>
                      <a:pt x="22171" y="22278"/>
                    </a:lnTo>
                    <a:lnTo>
                      <a:pt x="27213" y="21323"/>
                    </a:lnTo>
                    <a:lnTo>
                      <a:pt x="30631" y="19004"/>
                    </a:lnTo>
                    <a:lnTo>
                      <a:pt x="31016" y="14301"/>
                    </a:lnTo>
                    <a:lnTo>
                      <a:pt x="35654" y="13660"/>
                    </a:lnTo>
                    <a:lnTo>
                      <a:pt x="31542" y="4474"/>
                    </a:lnTo>
                    <a:lnTo>
                      <a:pt x="41459" y="3988"/>
                    </a:lnTo>
                    <a:lnTo>
                      <a:pt x="49566" y="3290"/>
                    </a:lnTo>
                    <a:lnTo>
                      <a:pt x="58018" y="0"/>
                    </a:lnTo>
                    <a:lnTo>
                      <a:pt x="63338" y="158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84" name="Freeform 149">
                <a:extLst>
                  <a:ext uri="{FF2B5EF4-FFF2-40B4-BE49-F238E27FC236}">
                    <a16:creationId xmlns:a16="http://schemas.microsoft.com/office/drawing/2014/main" id="{7AFC9515-39D6-D88A-A558-A1622D545B02}"/>
                  </a:ext>
                </a:extLst>
              </p:cNvPr>
              <p:cNvSpPr>
                <a:spLocks noChangeAspect="1"/>
              </p:cNvSpPr>
              <p:nvPr>
                <p:custDataLst>
                  <p:tags r:id="rId120"/>
                </p:custDataLst>
              </p:nvPr>
            </p:nvSpPr>
            <p:spPr>
              <a:xfrm>
                <a:off x="5433429" y="5094505"/>
                <a:ext cx="62323" cy="65951"/>
              </a:xfrm>
              <a:custGeom>
                <a:avLst/>
                <a:gdLst/>
                <a:ahLst/>
                <a:cxnLst/>
                <a:rect l="0" t="0" r="0" b="0"/>
                <a:pathLst>
                  <a:path w="63989" h="67714">
                    <a:moveTo>
                      <a:pt x="52322" y="36558"/>
                    </a:moveTo>
                    <a:lnTo>
                      <a:pt x="52320" y="36572"/>
                    </a:lnTo>
                    <a:lnTo>
                      <a:pt x="52036" y="39397"/>
                    </a:lnTo>
                    <a:lnTo>
                      <a:pt x="51110" y="43108"/>
                    </a:lnTo>
                    <a:lnTo>
                      <a:pt x="48586" y="57491"/>
                    </a:lnTo>
                    <a:lnTo>
                      <a:pt x="42937" y="62561"/>
                    </a:lnTo>
                    <a:lnTo>
                      <a:pt x="35806" y="67713"/>
                    </a:lnTo>
                    <a:lnTo>
                      <a:pt x="28823" y="62178"/>
                    </a:lnTo>
                    <a:lnTo>
                      <a:pt x="21474" y="56660"/>
                    </a:lnTo>
                    <a:lnTo>
                      <a:pt x="14356" y="55278"/>
                    </a:lnTo>
                    <a:lnTo>
                      <a:pt x="10355" y="56687"/>
                    </a:lnTo>
                    <a:lnTo>
                      <a:pt x="6417" y="59276"/>
                    </a:lnTo>
                    <a:lnTo>
                      <a:pt x="3849" y="60012"/>
                    </a:lnTo>
                    <a:lnTo>
                      <a:pt x="496" y="59602"/>
                    </a:lnTo>
                    <a:lnTo>
                      <a:pt x="0" y="57258"/>
                    </a:lnTo>
                    <a:lnTo>
                      <a:pt x="2206" y="50019"/>
                    </a:lnTo>
                    <a:lnTo>
                      <a:pt x="9025" y="38968"/>
                    </a:lnTo>
                    <a:lnTo>
                      <a:pt x="12861" y="34602"/>
                    </a:lnTo>
                    <a:lnTo>
                      <a:pt x="14191" y="25039"/>
                    </a:lnTo>
                    <a:lnTo>
                      <a:pt x="12522" y="21572"/>
                    </a:lnTo>
                    <a:lnTo>
                      <a:pt x="7696" y="21248"/>
                    </a:lnTo>
                    <a:lnTo>
                      <a:pt x="5997" y="17189"/>
                    </a:lnTo>
                    <a:lnTo>
                      <a:pt x="6446" y="11826"/>
                    </a:lnTo>
                    <a:lnTo>
                      <a:pt x="9779" y="5117"/>
                    </a:lnTo>
                    <a:lnTo>
                      <a:pt x="11802" y="2899"/>
                    </a:lnTo>
                    <a:lnTo>
                      <a:pt x="12557" y="2738"/>
                    </a:lnTo>
                    <a:lnTo>
                      <a:pt x="12828" y="1843"/>
                    </a:lnTo>
                    <a:lnTo>
                      <a:pt x="12831" y="1836"/>
                    </a:lnTo>
                    <a:lnTo>
                      <a:pt x="18260" y="0"/>
                    </a:lnTo>
                    <a:lnTo>
                      <a:pt x="56593" y="3411"/>
                    </a:lnTo>
                    <a:lnTo>
                      <a:pt x="60216" y="5690"/>
                    </a:lnTo>
                    <a:lnTo>
                      <a:pt x="63488" y="10949"/>
                    </a:lnTo>
                    <a:lnTo>
                      <a:pt x="63988" y="14578"/>
                    </a:lnTo>
                    <a:lnTo>
                      <a:pt x="61727" y="16812"/>
                    </a:lnTo>
                    <a:lnTo>
                      <a:pt x="56829" y="17753"/>
                    </a:lnTo>
                    <a:lnTo>
                      <a:pt x="48184" y="16339"/>
                    </a:lnTo>
                    <a:lnTo>
                      <a:pt x="44495" y="16692"/>
                    </a:lnTo>
                    <a:lnTo>
                      <a:pt x="37391" y="24386"/>
                    </a:lnTo>
                    <a:lnTo>
                      <a:pt x="28794" y="26993"/>
                    </a:lnTo>
                    <a:lnTo>
                      <a:pt x="24611" y="30062"/>
                    </a:lnTo>
                    <a:lnTo>
                      <a:pt x="26569" y="32100"/>
                    </a:lnTo>
                    <a:lnTo>
                      <a:pt x="28343" y="34662"/>
                    </a:lnTo>
                    <a:lnTo>
                      <a:pt x="30233" y="36844"/>
                    </a:lnTo>
                    <a:lnTo>
                      <a:pt x="32535" y="3769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85" name="Freeform 150">
                <a:extLst>
                  <a:ext uri="{FF2B5EF4-FFF2-40B4-BE49-F238E27FC236}">
                    <a16:creationId xmlns:a16="http://schemas.microsoft.com/office/drawing/2014/main" id="{455CB529-BB45-BA60-CD4B-E4D2CCF2F50B}"/>
                  </a:ext>
                </a:extLst>
              </p:cNvPr>
              <p:cNvSpPr>
                <a:spLocks noChangeAspect="1"/>
              </p:cNvSpPr>
              <p:nvPr>
                <p:custDataLst>
                  <p:tags r:id="rId121"/>
                </p:custDataLst>
              </p:nvPr>
            </p:nvSpPr>
            <p:spPr>
              <a:xfrm>
                <a:off x="5473231" y="5060737"/>
                <a:ext cx="44788" cy="17021"/>
              </a:xfrm>
              <a:custGeom>
                <a:avLst/>
                <a:gdLst/>
                <a:ahLst/>
                <a:cxnLst/>
                <a:rect l="0" t="0" r="0" b="0"/>
                <a:pathLst>
                  <a:path w="45985" h="17476">
                    <a:moveTo>
                      <a:pt x="45984" y="11485"/>
                    </a:moveTo>
                    <a:lnTo>
                      <a:pt x="43235" y="13438"/>
                    </a:lnTo>
                    <a:lnTo>
                      <a:pt x="32753" y="17475"/>
                    </a:lnTo>
                    <a:lnTo>
                      <a:pt x="13781" y="15508"/>
                    </a:lnTo>
                    <a:lnTo>
                      <a:pt x="7241" y="16372"/>
                    </a:lnTo>
                    <a:lnTo>
                      <a:pt x="7076" y="16195"/>
                    </a:lnTo>
                    <a:lnTo>
                      <a:pt x="3942" y="16282"/>
                    </a:lnTo>
                    <a:lnTo>
                      <a:pt x="3025" y="16506"/>
                    </a:lnTo>
                    <a:lnTo>
                      <a:pt x="2589" y="15994"/>
                    </a:lnTo>
                    <a:lnTo>
                      <a:pt x="0" y="13711"/>
                    </a:lnTo>
                    <a:lnTo>
                      <a:pt x="2743" y="3468"/>
                    </a:lnTo>
                    <a:lnTo>
                      <a:pt x="11399" y="0"/>
                    </a:lnTo>
                    <a:lnTo>
                      <a:pt x="19657" y="2484"/>
                    </a:lnTo>
                    <a:lnTo>
                      <a:pt x="27882" y="4371"/>
                    </a:lnTo>
                    <a:lnTo>
                      <a:pt x="44041" y="9339"/>
                    </a:lnTo>
                    <a:lnTo>
                      <a:pt x="45899" y="1120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86" name="Freeform 151">
                <a:extLst>
                  <a:ext uri="{FF2B5EF4-FFF2-40B4-BE49-F238E27FC236}">
                    <a16:creationId xmlns:a16="http://schemas.microsoft.com/office/drawing/2014/main" id="{1005534C-7525-5075-E8C8-2BFB3C1108F0}"/>
                  </a:ext>
                </a:extLst>
              </p:cNvPr>
              <p:cNvSpPr>
                <a:spLocks noChangeAspect="1"/>
              </p:cNvSpPr>
              <p:nvPr>
                <p:custDataLst>
                  <p:tags r:id="rId122"/>
                </p:custDataLst>
              </p:nvPr>
            </p:nvSpPr>
            <p:spPr>
              <a:xfrm>
                <a:off x="4532128" y="2191827"/>
                <a:ext cx="198004" cy="234362"/>
              </a:xfrm>
              <a:custGeom>
                <a:avLst/>
                <a:gdLst/>
                <a:ahLst/>
                <a:cxnLst/>
                <a:rect l="l" t="t" r="r" b="b"/>
                <a:pathLst>
                  <a:path w="203297" h="240627">
                    <a:moveTo>
                      <a:pt x="95032" y="198905"/>
                    </a:moveTo>
                    <a:lnTo>
                      <a:pt x="104133" y="199569"/>
                    </a:lnTo>
                    <a:lnTo>
                      <a:pt x="108764" y="201788"/>
                    </a:lnTo>
                    <a:lnTo>
                      <a:pt x="108463" y="206422"/>
                    </a:lnTo>
                    <a:lnTo>
                      <a:pt x="102909" y="210115"/>
                    </a:lnTo>
                    <a:lnTo>
                      <a:pt x="101761" y="211662"/>
                    </a:lnTo>
                    <a:lnTo>
                      <a:pt x="101448" y="215083"/>
                    </a:lnTo>
                    <a:lnTo>
                      <a:pt x="102531" y="217686"/>
                    </a:lnTo>
                    <a:lnTo>
                      <a:pt x="102903" y="219905"/>
                    </a:lnTo>
                    <a:lnTo>
                      <a:pt x="100468" y="222114"/>
                    </a:lnTo>
                    <a:lnTo>
                      <a:pt x="102686" y="228578"/>
                    </a:lnTo>
                    <a:lnTo>
                      <a:pt x="103588" y="233716"/>
                    </a:lnTo>
                    <a:lnTo>
                      <a:pt x="102270" y="237673"/>
                    </a:lnTo>
                    <a:lnTo>
                      <a:pt x="97907" y="240627"/>
                    </a:lnTo>
                    <a:lnTo>
                      <a:pt x="88346" y="230495"/>
                    </a:lnTo>
                    <a:lnTo>
                      <a:pt x="88327" y="227651"/>
                    </a:lnTo>
                    <a:lnTo>
                      <a:pt x="90971" y="224883"/>
                    </a:lnTo>
                    <a:lnTo>
                      <a:pt x="88853" y="219148"/>
                    </a:lnTo>
                    <a:lnTo>
                      <a:pt x="82683" y="209426"/>
                    </a:lnTo>
                    <a:lnTo>
                      <a:pt x="85030" y="211121"/>
                    </a:lnTo>
                    <a:lnTo>
                      <a:pt x="87523" y="211697"/>
                    </a:lnTo>
                    <a:lnTo>
                      <a:pt x="89985" y="211090"/>
                    </a:lnTo>
                    <a:lnTo>
                      <a:pt x="92285" y="209366"/>
                    </a:lnTo>
                    <a:lnTo>
                      <a:pt x="92266" y="206538"/>
                    </a:lnTo>
                    <a:lnTo>
                      <a:pt x="78735" y="206621"/>
                    </a:lnTo>
                    <a:lnTo>
                      <a:pt x="78721" y="204228"/>
                    </a:lnTo>
                    <a:lnTo>
                      <a:pt x="86334" y="200763"/>
                    </a:lnTo>
                    <a:close/>
                    <a:moveTo>
                      <a:pt x="18984" y="165336"/>
                    </a:moveTo>
                    <a:lnTo>
                      <a:pt x="22006" y="167258"/>
                    </a:lnTo>
                    <a:lnTo>
                      <a:pt x="28781" y="174006"/>
                    </a:lnTo>
                    <a:lnTo>
                      <a:pt x="33155" y="175489"/>
                    </a:lnTo>
                    <a:lnTo>
                      <a:pt x="36986" y="177717"/>
                    </a:lnTo>
                    <a:lnTo>
                      <a:pt x="47490" y="193956"/>
                    </a:lnTo>
                    <a:lnTo>
                      <a:pt x="44689" y="196328"/>
                    </a:lnTo>
                    <a:lnTo>
                      <a:pt x="44698" y="199156"/>
                    </a:lnTo>
                    <a:lnTo>
                      <a:pt x="47041" y="199365"/>
                    </a:lnTo>
                    <a:lnTo>
                      <a:pt x="48687" y="200478"/>
                    </a:lnTo>
                    <a:lnTo>
                      <a:pt x="51576" y="204354"/>
                    </a:lnTo>
                    <a:lnTo>
                      <a:pt x="51585" y="206747"/>
                    </a:lnTo>
                    <a:lnTo>
                      <a:pt x="47809" y="207288"/>
                    </a:lnTo>
                    <a:lnTo>
                      <a:pt x="43126" y="208981"/>
                    </a:lnTo>
                    <a:lnTo>
                      <a:pt x="38939" y="212256"/>
                    </a:lnTo>
                    <a:lnTo>
                      <a:pt x="36631" y="217437"/>
                    </a:lnTo>
                    <a:lnTo>
                      <a:pt x="42555" y="217002"/>
                    </a:lnTo>
                    <a:lnTo>
                      <a:pt x="54092" y="211337"/>
                    </a:lnTo>
                    <a:lnTo>
                      <a:pt x="59726" y="211905"/>
                    </a:lnTo>
                    <a:lnTo>
                      <a:pt x="54881" y="219446"/>
                    </a:lnTo>
                    <a:lnTo>
                      <a:pt x="45063" y="222434"/>
                    </a:lnTo>
                    <a:lnTo>
                      <a:pt x="26557" y="222448"/>
                    </a:lnTo>
                    <a:lnTo>
                      <a:pt x="25570" y="220647"/>
                    </a:lnTo>
                    <a:lnTo>
                      <a:pt x="21750" y="210847"/>
                    </a:lnTo>
                    <a:lnTo>
                      <a:pt x="20891" y="207492"/>
                    </a:lnTo>
                    <a:lnTo>
                      <a:pt x="18939" y="205350"/>
                    </a:lnTo>
                    <a:lnTo>
                      <a:pt x="16650" y="203628"/>
                    </a:lnTo>
                    <a:lnTo>
                      <a:pt x="14852" y="201827"/>
                    </a:lnTo>
                    <a:lnTo>
                      <a:pt x="10789" y="194029"/>
                    </a:lnTo>
                    <a:lnTo>
                      <a:pt x="10570" y="191855"/>
                    </a:lnTo>
                    <a:lnTo>
                      <a:pt x="11341" y="190206"/>
                    </a:lnTo>
                    <a:lnTo>
                      <a:pt x="11823" y="188528"/>
                    </a:lnTo>
                    <a:lnTo>
                      <a:pt x="10784" y="186198"/>
                    </a:lnTo>
                    <a:lnTo>
                      <a:pt x="9408" y="185701"/>
                    </a:lnTo>
                    <a:lnTo>
                      <a:pt x="7061" y="187940"/>
                    </a:lnTo>
                    <a:lnTo>
                      <a:pt x="6128" y="187505"/>
                    </a:lnTo>
                    <a:lnTo>
                      <a:pt x="4221" y="185859"/>
                    </a:lnTo>
                    <a:lnTo>
                      <a:pt x="2203" y="186233"/>
                    </a:lnTo>
                    <a:lnTo>
                      <a:pt x="627" y="185921"/>
                    </a:lnTo>
                    <a:lnTo>
                      <a:pt x="0" y="182051"/>
                    </a:lnTo>
                    <a:lnTo>
                      <a:pt x="2942" y="174592"/>
                    </a:lnTo>
                    <a:lnTo>
                      <a:pt x="3359" y="173147"/>
                    </a:lnTo>
                    <a:lnTo>
                      <a:pt x="7921" y="168577"/>
                    </a:lnTo>
                    <a:lnTo>
                      <a:pt x="16575" y="165401"/>
                    </a:lnTo>
                    <a:close/>
                    <a:moveTo>
                      <a:pt x="39675" y="81384"/>
                    </a:moveTo>
                    <a:lnTo>
                      <a:pt x="49155" y="81835"/>
                    </a:lnTo>
                    <a:lnTo>
                      <a:pt x="54373" y="83697"/>
                    </a:lnTo>
                    <a:lnTo>
                      <a:pt x="61187" y="90645"/>
                    </a:lnTo>
                    <a:lnTo>
                      <a:pt x="63789" y="90540"/>
                    </a:lnTo>
                    <a:lnTo>
                      <a:pt x="66211" y="89333"/>
                    </a:lnTo>
                    <a:lnTo>
                      <a:pt x="68445" y="89073"/>
                    </a:lnTo>
                    <a:lnTo>
                      <a:pt x="70481" y="90679"/>
                    </a:lnTo>
                    <a:lnTo>
                      <a:pt x="73596" y="95246"/>
                    </a:lnTo>
                    <a:lnTo>
                      <a:pt x="75425" y="96635"/>
                    </a:lnTo>
                    <a:lnTo>
                      <a:pt x="72618" y="98981"/>
                    </a:lnTo>
                    <a:lnTo>
                      <a:pt x="71293" y="99267"/>
                    </a:lnTo>
                    <a:lnTo>
                      <a:pt x="75024" y="103490"/>
                    </a:lnTo>
                    <a:lnTo>
                      <a:pt x="86245" y="109857"/>
                    </a:lnTo>
                    <a:lnTo>
                      <a:pt x="84802" y="110458"/>
                    </a:lnTo>
                    <a:lnTo>
                      <a:pt x="84190" y="111036"/>
                    </a:lnTo>
                    <a:lnTo>
                      <a:pt x="83575" y="112454"/>
                    </a:lnTo>
                    <a:lnTo>
                      <a:pt x="84444" y="113257"/>
                    </a:lnTo>
                    <a:lnTo>
                      <a:pt x="85386" y="114370"/>
                    </a:lnTo>
                    <a:lnTo>
                      <a:pt x="86278" y="115048"/>
                    </a:lnTo>
                    <a:lnTo>
                      <a:pt x="74666" y="119870"/>
                    </a:lnTo>
                    <a:lnTo>
                      <a:pt x="72869" y="119040"/>
                    </a:lnTo>
                    <a:lnTo>
                      <a:pt x="71253" y="125172"/>
                    </a:lnTo>
                    <a:lnTo>
                      <a:pt x="67399" y="130800"/>
                    </a:lnTo>
                    <a:lnTo>
                      <a:pt x="62892" y="134846"/>
                    </a:lnTo>
                    <a:lnTo>
                      <a:pt x="59397" y="136057"/>
                    </a:lnTo>
                    <a:lnTo>
                      <a:pt x="62365" y="138671"/>
                    </a:lnTo>
                    <a:lnTo>
                      <a:pt x="66187" y="140238"/>
                    </a:lnTo>
                    <a:lnTo>
                      <a:pt x="73597" y="141210"/>
                    </a:lnTo>
                    <a:lnTo>
                      <a:pt x="76565" y="138677"/>
                    </a:lnTo>
                    <a:lnTo>
                      <a:pt x="79566" y="133952"/>
                    </a:lnTo>
                    <a:lnTo>
                      <a:pt x="82946" y="131228"/>
                    </a:lnTo>
                    <a:lnTo>
                      <a:pt x="90377" y="138175"/>
                    </a:lnTo>
                    <a:lnTo>
                      <a:pt x="93143" y="137364"/>
                    </a:lnTo>
                    <a:lnTo>
                      <a:pt x="95730" y="134907"/>
                    </a:lnTo>
                    <a:lnTo>
                      <a:pt x="98484" y="133458"/>
                    </a:lnTo>
                    <a:lnTo>
                      <a:pt x="101606" y="135393"/>
                    </a:lnTo>
                    <a:lnTo>
                      <a:pt x="103749" y="139045"/>
                    </a:lnTo>
                    <a:lnTo>
                      <a:pt x="105970" y="141141"/>
                    </a:lnTo>
                    <a:lnTo>
                      <a:pt x="109290" y="138364"/>
                    </a:lnTo>
                    <a:lnTo>
                      <a:pt x="108887" y="140139"/>
                    </a:lnTo>
                    <a:lnTo>
                      <a:pt x="108346" y="144604"/>
                    </a:lnTo>
                    <a:lnTo>
                      <a:pt x="107984" y="146440"/>
                    </a:lnTo>
                    <a:lnTo>
                      <a:pt x="112056" y="147279"/>
                    </a:lnTo>
                    <a:lnTo>
                      <a:pt x="115406" y="145168"/>
                    </a:lnTo>
                    <a:lnTo>
                      <a:pt x="118628" y="142313"/>
                    </a:lnTo>
                    <a:lnTo>
                      <a:pt x="122198" y="140867"/>
                    </a:lnTo>
                    <a:lnTo>
                      <a:pt x="126691" y="140500"/>
                    </a:lnTo>
                    <a:lnTo>
                      <a:pt x="128574" y="141229"/>
                    </a:lnTo>
                    <a:lnTo>
                      <a:pt x="129631" y="143643"/>
                    </a:lnTo>
                    <a:lnTo>
                      <a:pt x="128385" y="147477"/>
                    </a:lnTo>
                    <a:lnTo>
                      <a:pt x="120435" y="153423"/>
                    </a:lnTo>
                    <a:lnTo>
                      <a:pt x="117494" y="156572"/>
                    </a:lnTo>
                    <a:lnTo>
                      <a:pt x="119768" y="161510"/>
                    </a:lnTo>
                    <a:lnTo>
                      <a:pt x="122622" y="164639"/>
                    </a:lnTo>
                    <a:lnTo>
                      <a:pt x="126014" y="165774"/>
                    </a:lnTo>
                    <a:lnTo>
                      <a:pt x="129834" y="164745"/>
                    </a:lnTo>
                    <a:lnTo>
                      <a:pt x="126988" y="156674"/>
                    </a:lnTo>
                    <a:lnTo>
                      <a:pt x="125672" y="154092"/>
                    </a:lnTo>
                    <a:lnTo>
                      <a:pt x="129295" y="153748"/>
                    </a:lnTo>
                    <a:lnTo>
                      <a:pt x="135860" y="149224"/>
                    </a:lnTo>
                    <a:lnTo>
                      <a:pt x="139086" y="148539"/>
                    </a:lnTo>
                    <a:lnTo>
                      <a:pt x="141868" y="150049"/>
                    </a:lnTo>
                    <a:lnTo>
                      <a:pt x="143079" y="153052"/>
                    </a:lnTo>
                    <a:lnTo>
                      <a:pt x="143407" y="157446"/>
                    </a:lnTo>
                    <a:lnTo>
                      <a:pt x="143404" y="163180"/>
                    </a:lnTo>
                    <a:lnTo>
                      <a:pt x="141810" y="165854"/>
                    </a:lnTo>
                    <a:lnTo>
                      <a:pt x="138081" y="167929"/>
                    </a:lnTo>
                    <a:lnTo>
                      <a:pt x="130556" y="169695"/>
                    </a:lnTo>
                    <a:lnTo>
                      <a:pt x="127996" y="171630"/>
                    </a:lnTo>
                    <a:lnTo>
                      <a:pt x="123537" y="180342"/>
                    </a:lnTo>
                    <a:lnTo>
                      <a:pt x="120432" y="182840"/>
                    </a:lnTo>
                    <a:lnTo>
                      <a:pt x="117365" y="182447"/>
                    </a:lnTo>
                    <a:lnTo>
                      <a:pt x="102364" y="176272"/>
                    </a:lnTo>
                    <a:lnTo>
                      <a:pt x="100017" y="174098"/>
                    </a:lnTo>
                    <a:lnTo>
                      <a:pt x="97937" y="170912"/>
                    </a:lnTo>
                    <a:lnTo>
                      <a:pt x="90653" y="155468"/>
                    </a:lnTo>
                    <a:lnTo>
                      <a:pt x="89144" y="153070"/>
                    </a:lnTo>
                    <a:lnTo>
                      <a:pt x="86669" y="153582"/>
                    </a:lnTo>
                    <a:lnTo>
                      <a:pt x="83924" y="157329"/>
                    </a:lnTo>
                    <a:lnTo>
                      <a:pt x="80782" y="160611"/>
                    </a:lnTo>
                    <a:lnTo>
                      <a:pt x="77117" y="159668"/>
                    </a:lnTo>
                    <a:lnTo>
                      <a:pt x="75119" y="161295"/>
                    </a:lnTo>
                    <a:lnTo>
                      <a:pt x="73304" y="161071"/>
                    </a:lnTo>
                    <a:lnTo>
                      <a:pt x="71340" y="160149"/>
                    </a:lnTo>
                    <a:lnTo>
                      <a:pt x="68802" y="159712"/>
                    </a:lnTo>
                    <a:lnTo>
                      <a:pt x="71639" y="165168"/>
                    </a:lnTo>
                    <a:lnTo>
                      <a:pt x="65535" y="164653"/>
                    </a:lnTo>
                    <a:lnTo>
                      <a:pt x="63180" y="165985"/>
                    </a:lnTo>
                    <a:lnTo>
                      <a:pt x="62244" y="170169"/>
                    </a:lnTo>
                    <a:lnTo>
                      <a:pt x="57375" y="168092"/>
                    </a:lnTo>
                    <a:lnTo>
                      <a:pt x="45512" y="170156"/>
                    </a:lnTo>
                    <a:lnTo>
                      <a:pt x="40542" y="165292"/>
                    </a:lnTo>
                    <a:lnTo>
                      <a:pt x="38423" y="156814"/>
                    </a:lnTo>
                    <a:lnTo>
                      <a:pt x="39026" y="148544"/>
                    </a:lnTo>
                    <a:lnTo>
                      <a:pt x="41378" y="141359"/>
                    </a:lnTo>
                    <a:lnTo>
                      <a:pt x="44495" y="136112"/>
                    </a:lnTo>
                    <a:lnTo>
                      <a:pt x="44487" y="133735"/>
                    </a:lnTo>
                    <a:lnTo>
                      <a:pt x="43030" y="131378"/>
                    </a:lnTo>
                    <a:lnTo>
                      <a:pt x="41901" y="128848"/>
                    </a:lnTo>
                    <a:lnTo>
                      <a:pt x="41060" y="126146"/>
                    </a:lnTo>
                    <a:lnTo>
                      <a:pt x="40420" y="123337"/>
                    </a:lnTo>
                    <a:lnTo>
                      <a:pt x="38286" y="124648"/>
                    </a:lnTo>
                    <a:lnTo>
                      <a:pt x="36898" y="126423"/>
                    </a:lnTo>
                    <a:lnTo>
                      <a:pt x="36631" y="128583"/>
                    </a:lnTo>
                    <a:lnTo>
                      <a:pt x="37872" y="131143"/>
                    </a:lnTo>
                    <a:lnTo>
                      <a:pt x="37879" y="133754"/>
                    </a:lnTo>
                    <a:lnTo>
                      <a:pt x="36017" y="132547"/>
                    </a:lnTo>
                    <a:lnTo>
                      <a:pt x="34286" y="132038"/>
                    </a:lnTo>
                    <a:lnTo>
                      <a:pt x="32653" y="132462"/>
                    </a:lnTo>
                    <a:lnTo>
                      <a:pt x="31022" y="133770"/>
                    </a:lnTo>
                    <a:lnTo>
                      <a:pt x="32836" y="135351"/>
                    </a:lnTo>
                    <a:lnTo>
                      <a:pt x="33539" y="137727"/>
                    </a:lnTo>
                    <a:lnTo>
                      <a:pt x="33346" y="140727"/>
                    </a:lnTo>
                    <a:lnTo>
                      <a:pt x="33740" y="141363"/>
                    </a:lnTo>
                    <a:lnTo>
                      <a:pt x="34754" y="146348"/>
                    </a:lnTo>
                    <a:lnTo>
                      <a:pt x="33111" y="149849"/>
                    </a:lnTo>
                    <a:lnTo>
                      <a:pt x="28380" y="154630"/>
                    </a:lnTo>
                    <a:lnTo>
                      <a:pt x="28385" y="157038"/>
                    </a:lnTo>
                    <a:lnTo>
                      <a:pt x="21713" y="154455"/>
                    </a:lnTo>
                    <a:lnTo>
                      <a:pt x="15782" y="144673"/>
                    </a:lnTo>
                    <a:lnTo>
                      <a:pt x="13125" y="131965"/>
                    </a:lnTo>
                    <a:lnTo>
                      <a:pt x="16237" y="120525"/>
                    </a:lnTo>
                    <a:lnTo>
                      <a:pt x="17578" y="117943"/>
                    </a:lnTo>
                    <a:lnTo>
                      <a:pt x="16335" y="100697"/>
                    </a:lnTo>
                    <a:lnTo>
                      <a:pt x="21503" y="89441"/>
                    </a:lnTo>
                    <a:lnTo>
                      <a:pt x="30224" y="83272"/>
                    </a:lnTo>
                    <a:close/>
                    <a:moveTo>
                      <a:pt x="158322" y="75185"/>
                    </a:moveTo>
                    <a:lnTo>
                      <a:pt x="161086" y="75526"/>
                    </a:lnTo>
                    <a:lnTo>
                      <a:pt x="161115" y="77903"/>
                    </a:lnTo>
                    <a:lnTo>
                      <a:pt x="160483" y="79076"/>
                    </a:lnTo>
                    <a:lnTo>
                      <a:pt x="159925" y="80513"/>
                    </a:lnTo>
                    <a:lnTo>
                      <a:pt x="165356" y="80277"/>
                    </a:lnTo>
                    <a:lnTo>
                      <a:pt x="167742" y="80886"/>
                    </a:lnTo>
                    <a:lnTo>
                      <a:pt x="169441" y="82760"/>
                    </a:lnTo>
                    <a:lnTo>
                      <a:pt x="166896" y="82123"/>
                    </a:lnTo>
                    <a:lnTo>
                      <a:pt x="164855" y="84215"/>
                    </a:lnTo>
                    <a:lnTo>
                      <a:pt x="164442" y="87669"/>
                    </a:lnTo>
                    <a:lnTo>
                      <a:pt x="166752" y="91075"/>
                    </a:lnTo>
                    <a:lnTo>
                      <a:pt x="169123" y="91699"/>
                    </a:lnTo>
                    <a:lnTo>
                      <a:pt x="171645" y="90907"/>
                    </a:lnTo>
                    <a:lnTo>
                      <a:pt x="176208" y="88113"/>
                    </a:lnTo>
                    <a:lnTo>
                      <a:pt x="176337" y="90069"/>
                    </a:lnTo>
                    <a:lnTo>
                      <a:pt x="176001" y="90572"/>
                    </a:lnTo>
                    <a:lnTo>
                      <a:pt x="175449" y="90516"/>
                    </a:lnTo>
                    <a:lnTo>
                      <a:pt x="174928" y="90973"/>
                    </a:lnTo>
                    <a:lnTo>
                      <a:pt x="173716" y="95387"/>
                    </a:lnTo>
                    <a:lnTo>
                      <a:pt x="174936" y="97686"/>
                    </a:lnTo>
                    <a:lnTo>
                      <a:pt x="180407" y="101112"/>
                    </a:lnTo>
                    <a:lnTo>
                      <a:pt x="176951" y="105073"/>
                    </a:lnTo>
                    <a:lnTo>
                      <a:pt x="168440" y="106518"/>
                    </a:lnTo>
                    <a:lnTo>
                      <a:pt x="164291" y="109147"/>
                    </a:lnTo>
                    <a:lnTo>
                      <a:pt x="163761" y="100529"/>
                    </a:lnTo>
                    <a:lnTo>
                      <a:pt x="160785" y="96228"/>
                    </a:lnTo>
                    <a:lnTo>
                      <a:pt x="156841" y="95747"/>
                    </a:lnTo>
                    <a:lnTo>
                      <a:pt x="153454" y="98597"/>
                    </a:lnTo>
                    <a:lnTo>
                      <a:pt x="154051" y="104604"/>
                    </a:lnTo>
                    <a:lnTo>
                      <a:pt x="149832" y="106174"/>
                    </a:lnTo>
                    <a:lnTo>
                      <a:pt x="146778" y="103285"/>
                    </a:lnTo>
                    <a:lnTo>
                      <a:pt x="150741" y="96016"/>
                    </a:lnTo>
                    <a:lnTo>
                      <a:pt x="153672" y="94585"/>
                    </a:lnTo>
                    <a:lnTo>
                      <a:pt x="156742" y="94177"/>
                    </a:lnTo>
                    <a:lnTo>
                      <a:pt x="159162" y="92736"/>
                    </a:lnTo>
                    <a:lnTo>
                      <a:pt x="160019" y="88312"/>
                    </a:lnTo>
                    <a:lnTo>
                      <a:pt x="158723" y="86089"/>
                    </a:lnTo>
                    <a:lnTo>
                      <a:pt x="152581" y="79509"/>
                    </a:lnTo>
                    <a:lnTo>
                      <a:pt x="150538" y="78024"/>
                    </a:lnTo>
                    <a:close/>
                    <a:moveTo>
                      <a:pt x="70335" y="62525"/>
                    </a:moveTo>
                    <a:lnTo>
                      <a:pt x="75236" y="62746"/>
                    </a:lnTo>
                    <a:lnTo>
                      <a:pt x="75455" y="63491"/>
                    </a:lnTo>
                    <a:lnTo>
                      <a:pt x="75814" y="65027"/>
                    </a:lnTo>
                    <a:lnTo>
                      <a:pt x="76557" y="66748"/>
                    </a:lnTo>
                    <a:lnTo>
                      <a:pt x="77935" y="67952"/>
                    </a:lnTo>
                    <a:lnTo>
                      <a:pt x="79196" y="68257"/>
                    </a:lnTo>
                    <a:lnTo>
                      <a:pt x="80623" y="68263"/>
                    </a:lnTo>
                    <a:lnTo>
                      <a:pt x="88645" y="66256"/>
                    </a:lnTo>
                    <a:lnTo>
                      <a:pt x="91179" y="66240"/>
                    </a:lnTo>
                    <a:lnTo>
                      <a:pt x="94115" y="67852"/>
                    </a:lnTo>
                    <a:lnTo>
                      <a:pt x="94224" y="69762"/>
                    </a:lnTo>
                    <a:lnTo>
                      <a:pt x="93957" y="70309"/>
                    </a:lnTo>
                    <a:lnTo>
                      <a:pt x="93383" y="70327"/>
                    </a:lnTo>
                    <a:lnTo>
                      <a:pt x="92684" y="70690"/>
                    </a:lnTo>
                    <a:lnTo>
                      <a:pt x="89423" y="75434"/>
                    </a:lnTo>
                    <a:lnTo>
                      <a:pt x="90078" y="81490"/>
                    </a:lnTo>
                    <a:lnTo>
                      <a:pt x="89873" y="86745"/>
                    </a:lnTo>
                    <a:lnTo>
                      <a:pt x="84092" y="88986"/>
                    </a:lnTo>
                    <a:lnTo>
                      <a:pt x="77879" y="88603"/>
                    </a:lnTo>
                    <a:lnTo>
                      <a:pt x="72154" y="86909"/>
                    </a:lnTo>
                    <a:lnTo>
                      <a:pt x="66996" y="83425"/>
                    </a:lnTo>
                    <a:lnTo>
                      <a:pt x="62484" y="77509"/>
                    </a:lnTo>
                    <a:lnTo>
                      <a:pt x="61320" y="70553"/>
                    </a:lnTo>
                    <a:lnTo>
                      <a:pt x="64827" y="65316"/>
                    </a:lnTo>
                    <a:close/>
                    <a:moveTo>
                      <a:pt x="128235" y="40943"/>
                    </a:moveTo>
                    <a:lnTo>
                      <a:pt x="131436" y="41223"/>
                    </a:lnTo>
                    <a:lnTo>
                      <a:pt x="131464" y="44082"/>
                    </a:lnTo>
                    <a:lnTo>
                      <a:pt x="129992" y="44096"/>
                    </a:lnTo>
                    <a:lnTo>
                      <a:pt x="130018" y="46674"/>
                    </a:lnTo>
                    <a:lnTo>
                      <a:pt x="132590" y="46060"/>
                    </a:lnTo>
                    <a:lnTo>
                      <a:pt x="134903" y="46534"/>
                    </a:lnTo>
                    <a:lnTo>
                      <a:pt x="136768" y="48333"/>
                    </a:lnTo>
                    <a:lnTo>
                      <a:pt x="138085" y="51816"/>
                    </a:lnTo>
                    <a:lnTo>
                      <a:pt x="136837" y="55138"/>
                    </a:lnTo>
                    <a:lnTo>
                      <a:pt x="132572" y="61847"/>
                    </a:lnTo>
                    <a:lnTo>
                      <a:pt x="131658" y="63752"/>
                    </a:lnTo>
                    <a:lnTo>
                      <a:pt x="131717" y="69780"/>
                    </a:lnTo>
                    <a:lnTo>
                      <a:pt x="132190" y="74779"/>
                    </a:lnTo>
                    <a:lnTo>
                      <a:pt x="133760" y="77871"/>
                    </a:lnTo>
                    <a:lnTo>
                      <a:pt x="137018" y="78165"/>
                    </a:lnTo>
                    <a:lnTo>
                      <a:pt x="137044" y="80761"/>
                    </a:lnTo>
                    <a:lnTo>
                      <a:pt x="131274" y="83023"/>
                    </a:lnTo>
                    <a:lnTo>
                      <a:pt x="127879" y="83521"/>
                    </a:lnTo>
                    <a:lnTo>
                      <a:pt x="126340" y="82044"/>
                    </a:lnTo>
                    <a:lnTo>
                      <a:pt x="125622" y="76969"/>
                    </a:lnTo>
                    <a:lnTo>
                      <a:pt x="123810" y="73350"/>
                    </a:lnTo>
                    <a:lnTo>
                      <a:pt x="121215" y="71182"/>
                    </a:lnTo>
                    <a:lnTo>
                      <a:pt x="118211" y="70494"/>
                    </a:lnTo>
                    <a:lnTo>
                      <a:pt x="118140" y="62445"/>
                    </a:lnTo>
                    <a:lnTo>
                      <a:pt x="120661" y="64567"/>
                    </a:lnTo>
                    <a:lnTo>
                      <a:pt x="122651" y="64332"/>
                    </a:lnTo>
                    <a:lnTo>
                      <a:pt x="124568" y="63087"/>
                    </a:lnTo>
                    <a:lnTo>
                      <a:pt x="126776" y="62368"/>
                    </a:lnTo>
                    <a:lnTo>
                      <a:pt x="126970" y="61030"/>
                    </a:lnTo>
                    <a:lnTo>
                      <a:pt x="125857" y="54451"/>
                    </a:lnTo>
                    <a:lnTo>
                      <a:pt x="126056" y="51932"/>
                    </a:lnTo>
                    <a:lnTo>
                      <a:pt x="125469" y="47059"/>
                    </a:lnTo>
                    <a:lnTo>
                      <a:pt x="126212" y="43136"/>
                    </a:lnTo>
                    <a:close/>
                    <a:moveTo>
                      <a:pt x="199480" y="14850"/>
                    </a:moveTo>
                    <a:lnTo>
                      <a:pt x="200694" y="15842"/>
                    </a:lnTo>
                    <a:lnTo>
                      <a:pt x="202653" y="23940"/>
                    </a:lnTo>
                    <a:lnTo>
                      <a:pt x="203297" y="27597"/>
                    </a:lnTo>
                    <a:lnTo>
                      <a:pt x="194062" y="28230"/>
                    </a:lnTo>
                    <a:lnTo>
                      <a:pt x="190348" y="30209"/>
                    </a:lnTo>
                    <a:lnTo>
                      <a:pt x="188849" y="34395"/>
                    </a:lnTo>
                    <a:lnTo>
                      <a:pt x="186747" y="36506"/>
                    </a:lnTo>
                    <a:lnTo>
                      <a:pt x="183055" y="45553"/>
                    </a:lnTo>
                    <a:lnTo>
                      <a:pt x="181693" y="47794"/>
                    </a:lnTo>
                    <a:lnTo>
                      <a:pt x="179703" y="48954"/>
                    </a:lnTo>
                    <a:lnTo>
                      <a:pt x="179296" y="40662"/>
                    </a:lnTo>
                    <a:lnTo>
                      <a:pt x="176008" y="41077"/>
                    </a:lnTo>
                    <a:lnTo>
                      <a:pt x="167595" y="51486"/>
                    </a:lnTo>
                    <a:lnTo>
                      <a:pt x="168532" y="47512"/>
                    </a:lnTo>
                    <a:lnTo>
                      <a:pt x="168978" y="46248"/>
                    </a:lnTo>
                    <a:lnTo>
                      <a:pt x="168945" y="43669"/>
                    </a:lnTo>
                    <a:lnTo>
                      <a:pt x="165218" y="45983"/>
                    </a:lnTo>
                    <a:lnTo>
                      <a:pt x="163616" y="45816"/>
                    </a:lnTo>
                    <a:lnTo>
                      <a:pt x="162150" y="43752"/>
                    </a:lnTo>
                    <a:lnTo>
                      <a:pt x="155021" y="54012"/>
                    </a:lnTo>
                    <a:lnTo>
                      <a:pt x="151031" y="58206"/>
                    </a:lnTo>
                    <a:lnTo>
                      <a:pt x="147611" y="57171"/>
                    </a:lnTo>
                    <a:lnTo>
                      <a:pt x="147158" y="62350"/>
                    </a:lnTo>
                    <a:lnTo>
                      <a:pt x="146053" y="64725"/>
                    </a:lnTo>
                    <a:lnTo>
                      <a:pt x="145072" y="63927"/>
                    </a:lnTo>
                    <a:lnTo>
                      <a:pt x="144960" y="59577"/>
                    </a:lnTo>
                    <a:lnTo>
                      <a:pt x="145873" y="54113"/>
                    </a:lnTo>
                    <a:lnTo>
                      <a:pt x="147212" y="52126"/>
                    </a:lnTo>
                    <a:lnTo>
                      <a:pt x="149058" y="51267"/>
                    </a:lnTo>
                    <a:lnTo>
                      <a:pt x="151527" y="49296"/>
                    </a:lnTo>
                    <a:lnTo>
                      <a:pt x="153273" y="46775"/>
                    </a:lnTo>
                    <a:lnTo>
                      <a:pt x="156443" y="40896"/>
                    </a:lnTo>
                    <a:lnTo>
                      <a:pt x="158087" y="38579"/>
                    </a:lnTo>
                    <a:lnTo>
                      <a:pt x="160418" y="37307"/>
                    </a:lnTo>
                    <a:lnTo>
                      <a:pt x="162343" y="37331"/>
                    </a:lnTo>
                    <a:lnTo>
                      <a:pt x="163734" y="36009"/>
                    </a:lnTo>
                    <a:lnTo>
                      <a:pt x="164535" y="30685"/>
                    </a:lnTo>
                    <a:lnTo>
                      <a:pt x="163440" y="29533"/>
                    </a:lnTo>
                    <a:lnTo>
                      <a:pt x="160479" y="25279"/>
                    </a:lnTo>
                    <a:lnTo>
                      <a:pt x="165134" y="25177"/>
                    </a:lnTo>
                    <a:lnTo>
                      <a:pt x="172976" y="20278"/>
                    </a:lnTo>
                    <a:lnTo>
                      <a:pt x="177871" y="19842"/>
                    </a:lnTo>
                    <a:lnTo>
                      <a:pt x="177910" y="22685"/>
                    </a:lnTo>
                    <a:lnTo>
                      <a:pt x="175035" y="24587"/>
                    </a:lnTo>
                    <a:lnTo>
                      <a:pt x="172170" y="27281"/>
                    </a:lnTo>
                    <a:lnTo>
                      <a:pt x="167368" y="33494"/>
                    </a:lnTo>
                    <a:lnTo>
                      <a:pt x="168837" y="33912"/>
                    </a:lnTo>
                    <a:lnTo>
                      <a:pt x="169440" y="34433"/>
                    </a:lnTo>
                    <a:lnTo>
                      <a:pt x="170054" y="35839"/>
                    </a:lnTo>
                    <a:lnTo>
                      <a:pt x="172292" y="33619"/>
                    </a:lnTo>
                    <a:lnTo>
                      <a:pt x="178689" y="32201"/>
                    </a:lnTo>
                    <a:lnTo>
                      <a:pt x="183760" y="26383"/>
                    </a:lnTo>
                    <a:lnTo>
                      <a:pt x="186724" y="25816"/>
                    </a:lnTo>
                    <a:lnTo>
                      <a:pt x="189855" y="25803"/>
                    </a:lnTo>
                    <a:lnTo>
                      <a:pt x="192726" y="24861"/>
                    </a:lnTo>
                    <a:lnTo>
                      <a:pt x="196814" y="18152"/>
                    </a:lnTo>
                    <a:close/>
                    <a:moveTo>
                      <a:pt x="91252" y="0"/>
                    </a:moveTo>
                    <a:lnTo>
                      <a:pt x="94879" y="2649"/>
                    </a:lnTo>
                    <a:lnTo>
                      <a:pt x="94955" y="4310"/>
                    </a:lnTo>
                    <a:lnTo>
                      <a:pt x="94704" y="4701"/>
                    </a:lnTo>
                    <a:lnTo>
                      <a:pt x="94212" y="4674"/>
                    </a:lnTo>
                    <a:lnTo>
                      <a:pt x="93675" y="5018"/>
                    </a:lnTo>
                    <a:lnTo>
                      <a:pt x="91552" y="7892"/>
                    </a:lnTo>
                    <a:lnTo>
                      <a:pt x="91454" y="9757"/>
                    </a:lnTo>
                    <a:lnTo>
                      <a:pt x="92287" y="13108"/>
                    </a:lnTo>
                    <a:lnTo>
                      <a:pt x="88272" y="13383"/>
                    </a:lnTo>
                    <a:lnTo>
                      <a:pt x="86937" y="13143"/>
                    </a:lnTo>
                    <a:lnTo>
                      <a:pt x="86954" y="15737"/>
                    </a:lnTo>
                    <a:lnTo>
                      <a:pt x="102258" y="20495"/>
                    </a:lnTo>
                    <a:lnTo>
                      <a:pt x="105010" y="22029"/>
                    </a:lnTo>
                    <a:lnTo>
                      <a:pt x="108792" y="31943"/>
                    </a:lnTo>
                    <a:lnTo>
                      <a:pt x="109899" y="34078"/>
                    </a:lnTo>
                    <a:lnTo>
                      <a:pt x="112129" y="35505"/>
                    </a:lnTo>
                    <a:lnTo>
                      <a:pt x="114231" y="35767"/>
                    </a:lnTo>
                    <a:lnTo>
                      <a:pt x="116160" y="36404"/>
                    </a:lnTo>
                    <a:lnTo>
                      <a:pt x="117933" y="38984"/>
                    </a:lnTo>
                    <a:lnTo>
                      <a:pt x="117954" y="41346"/>
                    </a:lnTo>
                    <a:lnTo>
                      <a:pt x="114040" y="41363"/>
                    </a:lnTo>
                    <a:lnTo>
                      <a:pt x="111693" y="43263"/>
                    </a:lnTo>
                    <a:lnTo>
                      <a:pt x="107210" y="49715"/>
                    </a:lnTo>
                    <a:lnTo>
                      <a:pt x="107445" y="46343"/>
                    </a:lnTo>
                    <a:lnTo>
                      <a:pt x="107774" y="43744"/>
                    </a:lnTo>
                    <a:lnTo>
                      <a:pt x="108504" y="41486"/>
                    </a:lnTo>
                    <a:lnTo>
                      <a:pt x="109940" y="39051"/>
                    </a:lnTo>
                    <a:lnTo>
                      <a:pt x="100221" y="29630"/>
                    </a:lnTo>
                    <a:lnTo>
                      <a:pt x="94907" y="26592"/>
                    </a:lnTo>
                    <a:lnTo>
                      <a:pt x="89579" y="25928"/>
                    </a:lnTo>
                    <a:lnTo>
                      <a:pt x="89598" y="28772"/>
                    </a:lnTo>
                    <a:lnTo>
                      <a:pt x="90561" y="30164"/>
                    </a:lnTo>
                    <a:lnTo>
                      <a:pt x="92432" y="34207"/>
                    </a:lnTo>
                    <a:lnTo>
                      <a:pt x="89615" y="31382"/>
                    </a:lnTo>
                    <a:lnTo>
                      <a:pt x="88127" y="34764"/>
                    </a:lnTo>
                    <a:lnTo>
                      <a:pt x="86719" y="35861"/>
                    </a:lnTo>
                    <a:lnTo>
                      <a:pt x="85126" y="35466"/>
                    </a:lnTo>
                    <a:lnTo>
                      <a:pt x="83091" y="34266"/>
                    </a:lnTo>
                    <a:lnTo>
                      <a:pt x="81723" y="32908"/>
                    </a:lnTo>
                    <a:lnTo>
                      <a:pt x="80709" y="30831"/>
                    </a:lnTo>
                    <a:lnTo>
                      <a:pt x="77849" y="22877"/>
                    </a:lnTo>
                    <a:lnTo>
                      <a:pt x="77440" y="20781"/>
                    </a:lnTo>
                    <a:lnTo>
                      <a:pt x="76793" y="18766"/>
                    </a:lnTo>
                    <a:lnTo>
                      <a:pt x="74974" y="15807"/>
                    </a:lnTo>
                    <a:lnTo>
                      <a:pt x="73109" y="14591"/>
                    </a:lnTo>
                    <a:lnTo>
                      <a:pt x="71491" y="14707"/>
                    </a:lnTo>
                    <a:lnTo>
                      <a:pt x="70249" y="14014"/>
                    </a:lnTo>
                    <a:lnTo>
                      <a:pt x="69507" y="10382"/>
                    </a:lnTo>
                    <a:lnTo>
                      <a:pt x="73562" y="10268"/>
                    </a:lnTo>
                    <a:lnTo>
                      <a:pt x="79800" y="11725"/>
                    </a:lnTo>
                    <a:lnTo>
                      <a:pt x="82943" y="10308"/>
                    </a:lnTo>
                    <a:lnTo>
                      <a:pt x="88318" y="225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87" name="Freeform 159">
                <a:extLst>
                  <a:ext uri="{FF2B5EF4-FFF2-40B4-BE49-F238E27FC236}">
                    <a16:creationId xmlns:a16="http://schemas.microsoft.com/office/drawing/2014/main" id="{1FFA2D20-767D-24C6-5D85-36482277357E}"/>
                  </a:ext>
                </a:extLst>
              </p:cNvPr>
              <p:cNvSpPr>
                <a:spLocks noChangeAspect="1"/>
              </p:cNvSpPr>
              <p:nvPr>
                <p:custDataLst>
                  <p:tags r:id="rId123"/>
                </p:custDataLst>
              </p:nvPr>
            </p:nvSpPr>
            <p:spPr>
              <a:xfrm>
                <a:off x="3861417" y="2446461"/>
                <a:ext cx="750966" cy="803717"/>
              </a:xfrm>
              <a:custGeom>
                <a:avLst/>
                <a:gdLst/>
                <a:ahLst/>
                <a:cxnLst/>
                <a:rect l="l" t="t" r="r" b="b"/>
                <a:pathLst>
                  <a:path w="771041" h="825202">
                    <a:moveTo>
                      <a:pt x="87762" y="605687"/>
                    </a:moveTo>
                    <a:lnTo>
                      <a:pt x="98318" y="613141"/>
                    </a:lnTo>
                    <a:lnTo>
                      <a:pt x="102668" y="618547"/>
                    </a:lnTo>
                    <a:lnTo>
                      <a:pt x="98594" y="621820"/>
                    </a:lnTo>
                    <a:lnTo>
                      <a:pt x="98477" y="624631"/>
                    </a:lnTo>
                    <a:lnTo>
                      <a:pt x="104018" y="624857"/>
                    </a:lnTo>
                    <a:lnTo>
                      <a:pt x="100636" y="638647"/>
                    </a:lnTo>
                    <a:lnTo>
                      <a:pt x="96295" y="646375"/>
                    </a:lnTo>
                    <a:lnTo>
                      <a:pt x="90405" y="649617"/>
                    </a:lnTo>
                    <a:lnTo>
                      <a:pt x="82405" y="650093"/>
                    </a:lnTo>
                    <a:lnTo>
                      <a:pt x="78765" y="647853"/>
                    </a:lnTo>
                    <a:lnTo>
                      <a:pt x="75750" y="638607"/>
                    </a:lnTo>
                    <a:lnTo>
                      <a:pt x="72894" y="636399"/>
                    </a:lnTo>
                    <a:lnTo>
                      <a:pt x="69817" y="634774"/>
                    </a:lnTo>
                    <a:lnTo>
                      <a:pt x="63591" y="627642"/>
                    </a:lnTo>
                    <a:lnTo>
                      <a:pt x="59792" y="625376"/>
                    </a:lnTo>
                    <a:lnTo>
                      <a:pt x="72940" y="611424"/>
                    </a:lnTo>
                    <a:lnTo>
                      <a:pt x="79604" y="606464"/>
                    </a:lnTo>
                    <a:close/>
                    <a:moveTo>
                      <a:pt x="43939" y="598342"/>
                    </a:moveTo>
                    <a:lnTo>
                      <a:pt x="46247" y="600625"/>
                    </a:lnTo>
                    <a:lnTo>
                      <a:pt x="51237" y="602169"/>
                    </a:lnTo>
                    <a:lnTo>
                      <a:pt x="53617" y="604221"/>
                    </a:lnTo>
                    <a:lnTo>
                      <a:pt x="48024" y="606991"/>
                    </a:lnTo>
                    <a:lnTo>
                      <a:pt x="41262" y="607872"/>
                    </a:lnTo>
                    <a:lnTo>
                      <a:pt x="34593" y="607258"/>
                    </a:lnTo>
                    <a:lnTo>
                      <a:pt x="29271" y="605740"/>
                    </a:lnTo>
                    <a:lnTo>
                      <a:pt x="32625" y="603123"/>
                    </a:lnTo>
                    <a:lnTo>
                      <a:pt x="39982" y="599191"/>
                    </a:lnTo>
                    <a:close/>
                    <a:moveTo>
                      <a:pt x="161178" y="506508"/>
                    </a:moveTo>
                    <a:lnTo>
                      <a:pt x="168187" y="508258"/>
                    </a:lnTo>
                    <a:lnTo>
                      <a:pt x="173423" y="513955"/>
                    </a:lnTo>
                    <a:lnTo>
                      <a:pt x="174012" y="519904"/>
                    </a:lnTo>
                    <a:lnTo>
                      <a:pt x="167067" y="522406"/>
                    </a:lnTo>
                    <a:lnTo>
                      <a:pt x="161734" y="519939"/>
                    </a:lnTo>
                    <a:lnTo>
                      <a:pt x="157189" y="514730"/>
                    </a:lnTo>
                    <a:lnTo>
                      <a:pt x="156129" y="509401"/>
                    </a:lnTo>
                    <a:close/>
                    <a:moveTo>
                      <a:pt x="159762" y="435515"/>
                    </a:moveTo>
                    <a:lnTo>
                      <a:pt x="161579" y="436096"/>
                    </a:lnTo>
                    <a:lnTo>
                      <a:pt x="163093" y="437179"/>
                    </a:lnTo>
                    <a:lnTo>
                      <a:pt x="164285" y="438810"/>
                    </a:lnTo>
                    <a:lnTo>
                      <a:pt x="165168" y="440912"/>
                    </a:lnTo>
                    <a:lnTo>
                      <a:pt x="164091" y="446690"/>
                    </a:lnTo>
                    <a:lnTo>
                      <a:pt x="160317" y="457797"/>
                    </a:lnTo>
                    <a:lnTo>
                      <a:pt x="156815" y="470907"/>
                    </a:lnTo>
                    <a:lnTo>
                      <a:pt x="156573" y="482597"/>
                    </a:lnTo>
                    <a:lnTo>
                      <a:pt x="158066" y="485483"/>
                    </a:lnTo>
                    <a:lnTo>
                      <a:pt x="160669" y="491880"/>
                    </a:lnTo>
                    <a:lnTo>
                      <a:pt x="161591" y="498185"/>
                    </a:lnTo>
                    <a:lnTo>
                      <a:pt x="157986" y="500929"/>
                    </a:lnTo>
                    <a:lnTo>
                      <a:pt x="154555" y="502154"/>
                    </a:lnTo>
                    <a:lnTo>
                      <a:pt x="151199" y="504502"/>
                    </a:lnTo>
                    <a:lnTo>
                      <a:pt x="147828" y="505667"/>
                    </a:lnTo>
                    <a:lnTo>
                      <a:pt x="144384" y="503263"/>
                    </a:lnTo>
                    <a:lnTo>
                      <a:pt x="145043" y="500535"/>
                    </a:lnTo>
                    <a:lnTo>
                      <a:pt x="145422" y="499429"/>
                    </a:lnTo>
                    <a:lnTo>
                      <a:pt x="146137" y="497885"/>
                    </a:lnTo>
                    <a:lnTo>
                      <a:pt x="143998" y="494567"/>
                    </a:lnTo>
                    <a:lnTo>
                      <a:pt x="143893" y="488169"/>
                    </a:lnTo>
                    <a:lnTo>
                      <a:pt x="146502" y="463672"/>
                    </a:lnTo>
                    <a:lnTo>
                      <a:pt x="148277" y="457392"/>
                    </a:lnTo>
                    <a:lnTo>
                      <a:pt x="151703" y="454488"/>
                    </a:lnTo>
                    <a:lnTo>
                      <a:pt x="157658" y="453950"/>
                    </a:lnTo>
                    <a:lnTo>
                      <a:pt x="157757" y="451355"/>
                    </a:lnTo>
                    <a:lnTo>
                      <a:pt x="156405" y="449484"/>
                    </a:lnTo>
                    <a:lnTo>
                      <a:pt x="155361" y="447454"/>
                    </a:lnTo>
                    <a:lnTo>
                      <a:pt x="153861" y="443368"/>
                    </a:lnTo>
                    <a:lnTo>
                      <a:pt x="156258" y="441047"/>
                    </a:lnTo>
                    <a:lnTo>
                      <a:pt x="158320" y="440922"/>
                    </a:lnTo>
                    <a:lnTo>
                      <a:pt x="162380" y="443686"/>
                    </a:lnTo>
                    <a:lnTo>
                      <a:pt x="162488" y="440813"/>
                    </a:lnTo>
                    <a:close/>
                    <a:moveTo>
                      <a:pt x="170534" y="410587"/>
                    </a:moveTo>
                    <a:lnTo>
                      <a:pt x="171841" y="412471"/>
                    </a:lnTo>
                    <a:lnTo>
                      <a:pt x="168667" y="427102"/>
                    </a:lnTo>
                    <a:lnTo>
                      <a:pt x="168389" y="433220"/>
                    </a:lnTo>
                    <a:lnTo>
                      <a:pt x="165282" y="431395"/>
                    </a:lnTo>
                    <a:lnTo>
                      <a:pt x="164149" y="427309"/>
                    </a:lnTo>
                    <a:lnTo>
                      <a:pt x="164890" y="422233"/>
                    </a:lnTo>
                    <a:lnTo>
                      <a:pt x="167446" y="417537"/>
                    </a:lnTo>
                    <a:lnTo>
                      <a:pt x="166583" y="416493"/>
                    </a:lnTo>
                    <a:lnTo>
                      <a:pt x="166539" y="416118"/>
                    </a:lnTo>
                    <a:lnTo>
                      <a:pt x="166152" y="414626"/>
                    </a:lnTo>
                    <a:lnTo>
                      <a:pt x="167638" y="412378"/>
                    </a:lnTo>
                    <a:lnTo>
                      <a:pt x="169140" y="410816"/>
                    </a:lnTo>
                    <a:close/>
                    <a:moveTo>
                      <a:pt x="101102" y="359876"/>
                    </a:moveTo>
                    <a:lnTo>
                      <a:pt x="102702" y="363942"/>
                    </a:lnTo>
                    <a:lnTo>
                      <a:pt x="104419" y="366440"/>
                    </a:lnTo>
                    <a:lnTo>
                      <a:pt x="109036" y="370645"/>
                    </a:lnTo>
                    <a:lnTo>
                      <a:pt x="110846" y="373347"/>
                    </a:lnTo>
                    <a:lnTo>
                      <a:pt x="115479" y="382125"/>
                    </a:lnTo>
                    <a:lnTo>
                      <a:pt x="116102" y="383970"/>
                    </a:lnTo>
                    <a:lnTo>
                      <a:pt x="124917" y="392166"/>
                    </a:lnTo>
                    <a:lnTo>
                      <a:pt x="128624" y="397401"/>
                    </a:lnTo>
                    <a:lnTo>
                      <a:pt x="130622" y="401213"/>
                    </a:lnTo>
                    <a:lnTo>
                      <a:pt x="131412" y="404418"/>
                    </a:lnTo>
                    <a:lnTo>
                      <a:pt x="132237" y="431041"/>
                    </a:lnTo>
                    <a:lnTo>
                      <a:pt x="133744" y="442550"/>
                    </a:lnTo>
                    <a:lnTo>
                      <a:pt x="133895" y="447829"/>
                    </a:lnTo>
                    <a:lnTo>
                      <a:pt x="133117" y="453510"/>
                    </a:lnTo>
                    <a:lnTo>
                      <a:pt x="130917" y="462105"/>
                    </a:lnTo>
                    <a:lnTo>
                      <a:pt x="130327" y="467247"/>
                    </a:lnTo>
                    <a:lnTo>
                      <a:pt x="129074" y="470091"/>
                    </a:lnTo>
                    <a:lnTo>
                      <a:pt x="123436" y="475222"/>
                    </a:lnTo>
                    <a:lnTo>
                      <a:pt x="121420" y="478657"/>
                    </a:lnTo>
                    <a:lnTo>
                      <a:pt x="124014" y="476286"/>
                    </a:lnTo>
                    <a:lnTo>
                      <a:pt x="127530" y="473921"/>
                    </a:lnTo>
                    <a:lnTo>
                      <a:pt x="131214" y="472759"/>
                    </a:lnTo>
                    <a:lnTo>
                      <a:pt x="134269" y="473935"/>
                    </a:lnTo>
                    <a:lnTo>
                      <a:pt x="135889" y="477919"/>
                    </a:lnTo>
                    <a:lnTo>
                      <a:pt x="134590" y="481509"/>
                    </a:lnTo>
                    <a:lnTo>
                      <a:pt x="132289" y="484563"/>
                    </a:lnTo>
                    <a:lnTo>
                      <a:pt x="130957" y="486845"/>
                    </a:lnTo>
                    <a:lnTo>
                      <a:pt x="131711" y="493206"/>
                    </a:lnTo>
                    <a:lnTo>
                      <a:pt x="134540" y="497253"/>
                    </a:lnTo>
                    <a:lnTo>
                      <a:pt x="137532" y="500200"/>
                    </a:lnTo>
                    <a:lnTo>
                      <a:pt x="138756" y="503048"/>
                    </a:lnTo>
                    <a:lnTo>
                      <a:pt x="137105" y="506376"/>
                    </a:lnTo>
                    <a:lnTo>
                      <a:pt x="129992" y="510315"/>
                    </a:lnTo>
                    <a:lnTo>
                      <a:pt x="127085" y="512815"/>
                    </a:lnTo>
                    <a:lnTo>
                      <a:pt x="144853" y="511122"/>
                    </a:lnTo>
                    <a:lnTo>
                      <a:pt x="149501" y="512652"/>
                    </a:lnTo>
                    <a:lnTo>
                      <a:pt x="150271" y="515808"/>
                    </a:lnTo>
                    <a:lnTo>
                      <a:pt x="147703" y="519197"/>
                    </a:lnTo>
                    <a:lnTo>
                      <a:pt x="142401" y="521484"/>
                    </a:lnTo>
                    <a:lnTo>
                      <a:pt x="142300" y="524094"/>
                    </a:lnTo>
                    <a:lnTo>
                      <a:pt x="147951" y="523702"/>
                    </a:lnTo>
                    <a:lnTo>
                      <a:pt x="152575" y="521542"/>
                    </a:lnTo>
                    <a:lnTo>
                      <a:pt x="156812" y="521157"/>
                    </a:lnTo>
                    <a:lnTo>
                      <a:pt x="161219" y="526081"/>
                    </a:lnTo>
                    <a:lnTo>
                      <a:pt x="163137" y="527675"/>
                    </a:lnTo>
                    <a:lnTo>
                      <a:pt x="165855" y="528102"/>
                    </a:lnTo>
                    <a:lnTo>
                      <a:pt x="171101" y="527749"/>
                    </a:lnTo>
                    <a:lnTo>
                      <a:pt x="174121" y="529382"/>
                    </a:lnTo>
                    <a:lnTo>
                      <a:pt x="175945" y="532901"/>
                    </a:lnTo>
                    <a:lnTo>
                      <a:pt x="177193" y="536539"/>
                    </a:lnTo>
                    <a:lnTo>
                      <a:pt x="178462" y="538717"/>
                    </a:lnTo>
                    <a:lnTo>
                      <a:pt x="181427" y="539133"/>
                    </a:lnTo>
                    <a:lnTo>
                      <a:pt x="183333" y="537396"/>
                    </a:lnTo>
                    <a:lnTo>
                      <a:pt x="184657" y="534984"/>
                    </a:lnTo>
                    <a:lnTo>
                      <a:pt x="185845" y="533532"/>
                    </a:lnTo>
                    <a:lnTo>
                      <a:pt x="194405" y="534204"/>
                    </a:lnTo>
                    <a:lnTo>
                      <a:pt x="200504" y="528440"/>
                    </a:lnTo>
                    <a:lnTo>
                      <a:pt x="206342" y="526492"/>
                    </a:lnTo>
                    <a:lnTo>
                      <a:pt x="212406" y="526742"/>
                    </a:lnTo>
                    <a:lnTo>
                      <a:pt x="215689" y="531689"/>
                    </a:lnTo>
                    <a:lnTo>
                      <a:pt x="231069" y="532190"/>
                    </a:lnTo>
                    <a:lnTo>
                      <a:pt x="227347" y="541558"/>
                    </a:lnTo>
                    <a:lnTo>
                      <a:pt x="227350" y="544047"/>
                    </a:lnTo>
                    <a:lnTo>
                      <a:pt x="228123" y="548209"/>
                    </a:lnTo>
                    <a:lnTo>
                      <a:pt x="227202" y="551912"/>
                    </a:lnTo>
                    <a:lnTo>
                      <a:pt x="225511" y="554938"/>
                    </a:lnTo>
                    <a:lnTo>
                      <a:pt x="221127" y="560582"/>
                    </a:lnTo>
                    <a:lnTo>
                      <a:pt x="213384" y="566720"/>
                    </a:lnTo>
                    <a:lnTo>
                      <a:pt x="210211" y="568280"/>
                    </a:lnTo>
                    <a:lnTo>
                      <a:pt x="201958" y="568842"/>
                    </a:lnTo>
                    <a:lnTo>
                      <a:pt x="200436" y="571372"/>
                    </a:lnTo>
                    <a:lnTo>
                      <a:pt x="199775" y="579796"/>
                    </a:lnTo>
                    <a:lnTo>
                      <a:pt x="197604" y="584949"/>
                    </a:lnTo>
                    <a:lnTo>
                      <a:pt x="193110" y="588341"/>
                    </a:lnTo>
                    <a:lnTo>
                      <a:pt x="188627" y="590659"/>
                    </a:lnTo>
                    <a:lnTo>
                      <a:pt x="186576" y="592501"/>
                    </a:lnTo>
                    <a:lnTo>
                      <a:pt x="184835" y="595350"/>
                    </a:lnTo>
                    <a:lnTo>
                      <a:pt x="172017" y="612194"/>
                    </a:lnTo>
                    <a:lnTo>
                      <a:pt x="168554" y="615476"/>
                    </a:lnTo>
                    <a:lnTo>
                      <a:pt x="164608" y="618040"/>
                    </a:lnTo>
                    <a:lnTo>
                      <a:pt x="153449" y="619823"/>
                    </a:lnTo>
                    <a:lnTo>
                      <a:pt x="150574" y="618379"/>
                    </a:lnTo>
                    <a:lnTo>
                      <a:pt x="148775" y="613333"/>
                    </a:lnTo>
                    <a:lnTo>
                      <a:pt x="149676" y="606770"/>
                    </a:lnTo>
                    <a:lnTo>
                      <a:pt x="155598" y="598666"/>
                    </a:lnTo>
                    <a:lnTo>
                      <a:pt x="155141" y="595289"/>
                    </a:lnTo>
                    <a:lnTo>
                      <a:pt x="155240" y="592679"/>
                    </a:lnTo>
                    <a:lnTo>
                      <a:pt x="156512" y="591886"/>
                    </a:lnTo>
                    <a:lnTo>
                      <a:pt x="157143" y="590836"/>
                    </a:lnTo>
                    <a:lnTo>
                      <a:pt x="158153" y="587326"/>
                    </a:lnTo>
                    <a:lnTo>
                      <a:pt x="158848" y="585671"/>
                    </a:lnTo>
                    <a:lnTo>
                      <a:pt x="160335" y="583859"/>
                    </a:lnTo>
                    <a:lnTo>
                      <a:pt x="164392" y="576727"/>
                    </a:lnTo>
                    <a:lnTo>
                      <a:pt x="166357" y="574248"/>
                    </a:lnTo>
                    <a:lnTo>
                      <a:pt x="168767" y="572064"/>
                    </a:lnTo>
                    <a:lnTo>
                      <a:pt x="189052" y="562579"/>
                    </a:lnTo>
                    <a:lnTo>
                      <a:pt x="189144" y="559969"/>
                    </a:lnTo>
                    <a:lnTo>
                      <a:pt x="183322" y="562939"/>
                    </a:lnTo>
                    <a:lnTo>
                      <a:pt x="177482" y="564444"/>
                    </a:lnTo>
                    <a:lnTo>
                      <a:pt x="159796" y="564143"/>
                    </a:lnTo>
                    <a:lnTo>
                      <a:pt x="158704" y="563123"/>
                    </a:lnTo>
                    <a:lnTo>
                      <a:pt x="158503" y="560829"/>
                    </a:lnTo>
                    <a:lnTo>
                      <a:pt x="158553" y="558155"/>
                    </a:lnTo>
                    <a:lnTo>
                      <a:pt x="158161" y="556009"/>
                    </a:lnTo>
                    <a:lnTo>
                      <a:pt x="153577" y="547484"/>
                    </a:lnTo>
                    <a:lnTo>
                      <a:pt x="151031" y="543981"/>
                    </a:lnTo>
                    <a:lnTo>
                      <a:pt x="148642" y="542584"/>
                    </a:lnTo>
                    <a:lnTo>
                      <a:pt x="149363" y="546641"/>
                    </a:lnTo>
                    <a:lnTo>
                      <a:pt x="150157" y="549689"/>
                    </a:lnTo>
                    <a:lnTo>
                      <a:pt x="152386" y="555794"/>
                    </a:lnTo>
                    <a:lnTo>
                      <a:pt x="149984" y="561305"/>
                    </a:lnTo>
                    <a:lnTo>
                      <a:pt x="148485" y="563908"/>
                    </a:lnTo>
                    <a:lnTo>
                      <a:pt x="146329" y="566006"/>
                    </a:lnTo>
                    <a:lnTo>
                      <a:pt x="147637" y="568887"/>
                    </a:lnTo>
                    <a:lnTo>
                      <a:pt x="144981" y="571897"/>
                    </a:lnTo>
                    <a:lnTo>
                      <a:pt x="143089" y="576089"/>
                    </a:lnTo>
                    <a:lnTo>
                      <a:pt x="141029" y="579822"/>
                    </a:lnTo>
                    <a:lnTo>
                      <a:pt x="137903" y="581368"/>
                    </a:lnTo>
                    <a:lnTo>
                      <a:pt x="135362" y="578298"/>
                    </a:lnTo>
                    <a:lnTo>
                      <a:pt x="134440" y="571448"/>
                    </a:lnTo>
                    <a:lnTo>
                      <a:pt x="133908" y="563679"/>
                    </a:lnTo>
                    <a:lnTo>
                      <a:pt x="133779" y="557932"/>
                    </a:lnTo>
                    <a:lnTo>
                      <a:pt x="132195" y="555771"/>
                    </a:lnTo>
                    <a:lnTo>
                      <a:pt x="131080" y="555183"/>
                    </a:lnTo>
                    <a:lnTo>
                      <a:pt x="129887" y="555914"/>
                    </a:lnTo>
                    <a:lnTo>
                      <a:pt x="128147" y="557713"/>
                    </a:lnTo>
                    <a:lnTo>
                      <a:pt x="126725" y="555277"/>
                    </a:lnTo>
                    <a:lnTo>
                      <a:pt x="125108" y="553549"/>
                    </a:lnTo>
                    <a:lnTo>
                      <a:pt x="123311" y="552529"/>
                    </a:lnTo>
                    <a:lnTo>
                      <a:pt x="121283" y="552215"/>
                    </a:lnTo>
                    <a:lnTo>
                      <a:pt x="121188" y="554592"/>
                    </a:lnTo>
                    <a:lnTo>
                      <a:pt x="124062" y="557802"/>
                    </a:lnTo>
                    <a:lnTo>
                      <a:pt x="120376" y="560114"/>
                    </a:lnTo>
                    <a:lnTo>
                      <a:pt x="90831" y="566632"/>
                    </a:lnTo>
                    <a:lnTo>
                      <a:pt x="90950" y="563805"/>
                    </a:lnTo>
                    <a:lnTo>
                      <a:pt x="93388" y="561820"/>
                    </a:lnTo>
                    <a:lnTo>
                      <a:pt x="100001" y="553737"/>
                    </a:lnTo>
                    <a:lnTo>
                      <a:pt x="100100" y="551361"/>
                    </a:lnTo>
                    <a:lnTo>
                      <a:pt x="96261" y="551048"/>
                    </a:lnTo>
                    <a:lnTo>
                      <a:pt x="92543" y="551842"/>
                    </a:lnTo>
                    <a:lnTo>
                      <a:pt x="88971" y="553560"/>
                    </a:lnTo>
                    <a:lnTo>
                      <a:pt x="85630" y="555988"/>
                    </a:lnTo>
                    <a:lnTo>
                      <a:pt x="81939" y="549623"/>
                    </a:lnTo>
                    <a:lnTo>
                      <a:pt x="79131" y="542408"/>
                    </a:lnTo>
                    <a:lnTo>
                      <a:pt x="81430" y="541478"/>
                    </a:lnTo>
                    <a:lnTo>
                      <a:pt x="83432" y="540162"/>
                    </a:lnTo>
                    <a:lnTo>
                      <a:pt x="85126" y="538180"/>
                    </a:lnTo>
                    <a:lnTo>
                      <a:pt x="86519" y="535143"/>
                    </a:lnTo>
                    <a:lnTo>
                      <a:pt x="77015" y="535642"/>
                    </a:lnTo>
                    <a:lnTo>
                      <a:pt x="73598" y="534421"/>
                    </a:lnTo>
                    <a:lnTo>
                      <a:pt x="64410" y="520904"/>
                    </a:lnTo>
                    <a:lnTo>
                      <a:pt x="63946" y="519609"/>
                    </a:lnTo>
                    <a:lnTo>
                      <a:pt x="63082" y="515960"/>
                    </a:lnTo>
                    <a:lnTo>
                      <a:pt x="62516" y="514285"/>
                    </a:lnTo>
                    <a:lnTo>
                      <a:pt x="61532" y="512608"/>
                    </a:lnTo>
                    <a:lnTo>
                      <a:pt x="60666" y="511653"/>
                    </a:lnTo>
                    <a:lnTo>
                      <a:pt x="59984" y="510346"/>
                    </a:lnTo>
                    <a:lnTo>
                      <a:pt x="59484" y="507616"/>
                    </a:lnTo>
                    <a:lnTo>
                      <a:pt x="69265" y="501197"/>
                    </a:lnTo>
                    <a:lnTo>
                      <a:pt x="73421" y="499540"/>
                    </a:lnTo>
                    <a:lnTo>
                      <a:pt x="77996" y="500577"/>
                    </a:lnTo>
                    <a:lnTo>
                      <a:pt x="81503" y="503994"/>
                    </a:lnTo>
                    <a:lnTo>
                      <a:pt x="84981" y="508717"/>
                    </a:lnTo>
                    <a:lnTo>
                      <a:pt x="89118" y="512844"/>
                    </a:lnTo>
                    <a:lnTo>
                      <a:pt x="94578" y="514348"/>
                    </a:lnTo>
                    <a:lnTo>
                      <a:pt x="92115" y="509173"/>
                    </a:lnTo>
                    <a:lnTo>
                      <a:pt x="79654" y="497800"/>
                    </a:lnTo>
                    <a:lnTo>
                      <a:pt x="77131" y="494378"/>
                    </a:lnTo>
                    <a:lnTo>
                      <a:pt x="75817" y="493139"/>
                    </a:lnTo>
                    <a:lnTo>
                      <a:pt x="73474" y="492572"/>
                    </a:lnTo>
                    <a:lnTo>
                      <a:pt x="71148" y="492953"/>
                    </a:lnTo>
                    <a:lnTo>
                      <a:pt x="66588" y="494669"/>
                    </a:lnTo>
                    <a:lnTo>
                      <a:pt x="64033" y="494526"/>
                    </a:lnTo>
                    <a:lnTo>
                      <a:pt x="67088" y="492295"/>
                    </a:lnTo>
                    <a:lnTo>
                      <a:pt x="67214" y="489437"/>
                    </a:lnTo>
                    <a:lnTo>
                      <a:pt x="65587" y="489023"/>
                    </a:lnTo>
                    <a:lnTo>
                      <a:pt x="61708" y="486581"/>
                    </a:lnTo>
                    <a:lnTo>
                      <a:pt x="63216" y="486087"/>
                    </a:lnTo>
                    <a:lnTo>
                      <a:pt x="63844" y="485554"/>
                    </a:lnTo>
                    <a:lnTo>
                      <a:pt x="64496" y="484089"/>
                    </a:lnTo>
                    <a:lnTo>
                      <a:pt x="62647" y="483012"/>
                    </a:lnTo>
                    <a:lnTo>
                      <a:pt x="61357" y="480901"/>
                    </a:lnTo>
                    <a:lnTo>
                      <a:pt x="61095" y="477761"/>
                    </a:lnTo>
                    <a:lnTo>
                      <a:pt x="62289" y="473565"/>
                    </a:lnTo>
                    <a:lnTo>
                      <a:pt x="59188" y="474269"/>
                    </a:lnTo>
                    <a:lnTo>
                      <a:pt x="54889" y="479214"/>
                    </a:lnTo>
                    <a:lnTo>
                      <a:pt x="52093" y="480926"/>
                    </a:lnTo>
                    <a:lnTo>
                      <a:pt x="53291" y="477618"/>
                    </a:lnTo>
                    <a:lnTo>
                      <a:pt x="53670" y="474071"/>
                    </a:lnTo>
                    <a:lnTo>
                      <a:pt x="53089" y="470606"/>
                    </a:lnTo>
                    <a:lnTo>
                      <a:pt x="51288" y="467615"/>
                    </a:lnTo>
                    <a:lnTo>
                      <a:pt x="49353" y="472555"/>
                    </a:lnTo>
                    <a:lnTo>
                      <a:pt x="46917" y="474095"/>
                    </a:lnTo>
                    <a:lnTo>
                      <a:pt x="44462" y="474964"/>
                    </a:lnTo>
                    <a:lnTo>
                      <a:pt x="42391" y="477875"/>
                    </a:lnTo>
                    <a:lnTo>
                      <a:pt x="41854" y="482239"/>
                    </a:lnTo>
                    <a:lnTo>
                      <a:pt x="43804" y="489315"/>
                    </a:lnTo>
                    <a:lnTo>
                      <a:pt x="43196" y="493599"/>
                    </a:lnTo>
                    <a:lnTo>
                      <a:pt x="39673" y="496411"/>
                    </a:lnTo>
                    <a:lnTo>
                      <a:pt x="21047" y="489000"/>
                    </a:lnTo>
                    <a:lnTo>
                      <a:pt x="16367" y="485542"/>
                    </a:lnTo>
                    <a:lnTo>
                      <a:pt x="12721" y="480701"/>
                    </a:lnTo>
                    <a:lnTo>
                      <a:pt x="11411" y="475159"/>
                    </a:lnTo>
                    <a:lnTo>
                      <a:pt x="9982" y="465130"/>
                    </a:lnTo>
                    <a:lnTo>
                      <a:pt x="1771" y="458199"/>
                    </a:lnTo>
                    <a:lnTo>
                      <a:pt x="0" y="449552"/>
                    </a:lnTo>
                    <a:lnTo>
                      <a:pt x="12616" y="450158"/>
                    </a:lnTo>
                    <a:lnTo>
                      <a:pt x="9920" y="446698"/>
                    </a:lnTo>
                    <a:lnTo>
                      <a:pt x="8290" y="442511"/>
                    </a:lnTo>
                    <a:lnTo>
                      <a:pt x="8121" y="437896"/>
                    </a:lnTo>
                    <a:lnTo>
                      <a:pt x="9874" y="433154"/>
                    </a:lnTo>
                    <a:lnTo>
                      <a:pt x="12828" y="429139"/>
                    </a:lnTo>
                    <a:lnTo>
                      <a:pt x="15007" y="428169"/>
                    </a:lnTo>
                    <a:lnTo>
                      <a:pt x="16890" y="429519"/>
                    </a:lnTo>
                    <a:lnTo>
                      <a:pt x="26975" y="446148"/>
                    </a:lnTo>
                    <a:lnTo>
                      <a:pt x="28088" y="449701"/>
                    </a:lnTo>
                    <a:lnTo>
                      <a:pt x="29872" y="452182"/>
                    </a:lnTo>
                    <a:lnTo>
                      <a:pt x="33444" y="455319"/>
                    </a:lnTo>
                    <a:lnTo>
                      <a:pt x="36132" y="456049"/>
                    </a:lnTo>
                    <a:lnTo>
                      <a:pt x="35177" y="451212"/>
                    </a:lnTo>
                    <a:lnTo>
                      <a:pt x="35287" y="448852"/>
                    </a:lnTo>
                    <a:lnTo>
                      <a:pt x="36199" y="448147"/>
                    </a:lnTo>
                    <a:lnTo>
                      <a:pt x="37099" y="446974"/>
                    </a:lnTo>
                    <a:lnTo>
                      <a:pt x="38089" y="446381"/>
                    </a:lnTo>
                    <a:lnTo>
                      <a:pt x="34760" y="441839"/>
                    </a:lnTo>
                    <a:lnTo>
                      <a:pt x="34248" y="440975"/>
                    </a:lnTo>
                    <a:lnTo>
                      <a:pt x="33723" y="439690"/>
                    </a:lnTo>
                    <a:lnTo>
                      <a:pt x="31998" y="436856"/>
                    </a:lnTo>
                    <a:lnTo>
                      <a:pt x="31700" y="435364"/>
                    </a:lnTo>
                    <a:lnTo>
                      <a:pt x="32278" y="433741"/>
                    </a:lnTo>
                    <a:lnTo>
                      <a:pt x="34202" y="433036"/>
                    </a:lnTo>
                    <a:lnTo>
                      <a:pt x="34680" y="431736"/>
                    </a:lnTo>
                    <a:lnTo>
                      <a:pt x="36394" y="429947"/>
                    </a:lnTo>
                    <a:lnTo>
                      <a:pt x="40027" y="430580"/>
                    </a:lnTo>
                    <a:lnTo>
                      <a:pt x="45947" y="433666"/>
                    </a:lnTo>
                    <a:lnTo>
                      <a:pt x="44246" y="426664"/>
                    </a:lnTo>
                    <a:lnTo>
                      <a:pt x="39322" y="420384"/>
                    </a:lnTo>
                    <a:lnTo>
                      <a:pt x="33266" y="415904"/>
                    </a:lnTo>
                    <a:lnTo>
                      <a:pt x="28228" y="414316"/>
                    </a:lnTo>
                    <a:lnTo>
                      <a:pt x="31106" y="410668"/>
                    </a:lnTo>
                    <a:lnTo>
                      <a:pt x="33539" y="405100"/>
                    </a:lnTo>
                    <a:lnTo>
                      <a:pt x="34229" y="399654"/>
                    </a:lnTo>
                    <a:lnTo>
                      <a:pt x="32020" y="396236"/>
                    </a:lnTo>
                    <a:lnTo>
                      <a:pt x="32155" y="393364"/>
                    </a:lnTo>
                    <a:lnTo>
                      <a:pt x="36380" y="393622"/>
                    </a:lnTo>
                    <a:lnTo>
                      <a:pt x="39140" y="396658"/>
                    </a:lnTo>
                    <a:lnTo>
                      <a:pt x="41295" y="400212"/>
                    </a:lnTo>
                    <a:lnTo>
                      <a:pt x="45666" y="403478"/>
                    </a:lnTo>
                    <a:lnTo>
                      <a:pt x="46304" y="406649"/>
                    </a:lnTo>
                    <a:lnTo>
                      <a:pt x="46459" y="410174"/>
                    </a:lnTo>
                    <a:lnTo>
                      <a:pt x="46916" y="412592"/>
                    </a:lnTo>
                    <a:lnTo>
                      <a:pt x="48755" y="415103"/>
                    </a:lnTo>
                    <a:lnTo>
                      <a:pt x="50104" y="416284"/>
                    </a:lnTo>
                    <a:lnTo>
                      <a:pt x="59399" y="422053"/>
                    </a:lnTo>
                    <a:lnTo>
                      <a:pt x="61527" y="424170"/>
                    </a:lnTo>
                    <a:lnTo>
                      <a:pt x="63687" y="427814"/>
                    </a:lnTo>
                    <a:lnTo>
                      <a:pt x="66446" y="431171"/>
                    </a:lnTo>
                    <a:lnTo>
                      <a:pt x="69180" y="430980"/>
                    </a:lnTo>
                    <a:lnTo>
                      <a:pt x="72117" y="429614"/>
                    </a:lnTo>
                    <a:lnTo>
                      <a:pt x="75590" y="429514"/>
                    </a:lnTo>
                    <a:lnTo>
                      <a:pt x="70432" y="440682"/>
                    </a:lnTo>
                    <a:lnTo>
                      <a:pt x="72450" y="441392"/>
                    </a:lnTo>
                    <a:lnTo>
                      <a:pt x="77091" y="435898"/>
                    </a:lnTo>
                    <a:lnTo>
                      <a:pt x="79846" y="428516"/>
                    </a:lnTo>
                    <a:lnTo>
                      <a:pt x="82513" y="430045"/>
                    </a:lnTo>
                    <a:lnTo>
                      <a:pt x="97227" y="451564"/>
                    </a:lnTo>
                    <a:lnTo>
                      <a:pt x="97336" y="448969"/>
                    </a:lnTo>
                    <a:lnTo>
                      <a:pt x="96388" y="447639"/>
                    </a:lnTo>
                    <a:lnTo>
                      <a:pt x="95433" y="445109"/>
                    </a:lnTo>
                    <a:lnTo>
                      <a:pt x="94625" y="443628"/>
                    </a:lnTo>
                    <a:lnTo>
                      <a:pt x="94965" y="438399"/>
                    </a:lnTo>
                    <a:lnTo>
                      <a:pt x="92315" y="433448"/>
                    </a:lnTo>
                    <a:lnTo>
                      <a:pt x="85619" y="424716"/>
                    </a:lnTo>
                    <a:lnTo>
                      <a:pt x="82562" y="416588"/>
                    </a:lnTo>
                    <a:lnTo>
                      <a:pt x="83489" y="412737"/>
                    </a:lnTo>
                    <a:lnTo>
                      <a:pt x="86403" y="409064"/>
                    </a:lnTo>
                    <a:lnTo>
                      <a:pt x="89311" y="401392"/>
                    </a:lnTo>
                    <a:lnTo>
                      <a:pt x="86820" y="401707"/>
                    </a:lnTo>
                    <a:lnTo>
                      <a:pt x="84498" y="401203"/>
                    </a:lnTo>
                    <a:lnTo>
                      <a:pt x="82545" y="400077"/>
                    </a:lnTo>
                    <a:lnTo>
                      <a:pt x="81157" y="398430"/>
                    </a:lnTo>
                    <a:lnTo>
                      <a:pt x="82283" y="393250"/>
                    </a:lnTo>
                    <a:lnTo>
                      <a:pt x="81344" y="390129"/>
                    </a:lnTo>
                    <a:lnTo>
                      <a:pt x="79719" y="387834"/>
                    </a:lnTo>
                    <a:lnTo>
                      <a:pt x="78806" y="385258"/>
                    </a:lnTo>
                    <a:lnTo>
                      <a:pt x="78772" y="380729"/>
                    </a:lnTo>
                    <a:lnTo>
                      <a:pt x="79286" y="379444"/>
                    </a:lnTo>
                    <a:lnTo>
                      <a:pt x="80701" y="379084"/>
                    </a:lnTo>
                    <a:lnTo>
                      <a:pt x="89110" y="374122"/>
                    </a:lnTo>
                    <a:lnTo>
                      <a:pt x="90545" y="372705"/>
                    </a:lnTo>
                    <a:lnTo>
                      <a:pt x="92511" y="368198"/>
                    </a:lnTo>
                    <a:lnTo>
                      <a:pt x="93913" y="363636"/>
                    </a:lnTo>
                    <a:lnTo>
                      <a:pt x="95521" y="361043"/>
                    </a:lnTo>
                    <a:lnTo>
                      <a:pt x="98077" y="362363"/>
                    </a:lnTo>
                    <a:lnTo>
                      <a:pt x="99674" y="361777"/>
                    </a:lnTo>
                    <a:lnTo>
                      <a:pt x="100354" y="361245"/>
                    </a:lnTo>
                    <a:close/>
                    <a:moveTo>
                      <a:pt x="700252" y="0"/>
                    </a:moveTo>
                    <a:lnTo>
                      <a:pt x="703552" y="603"/>
                    </a:lnTo>
                    <a:lnTo>
                      <a:pt x="704330" y="2639"/>
                    </a:lnTo>
                    <a:lnTo>
                      <a:pt x="704844" y="6196"/>
                    </a:lnTo>
                    <a:lnTo>
                      <a:pt x="705624" y="9552"/>
                    </a:lnTo>
                    <a:lnTo>
                      <a:pt x="707083" y="11042"/>
                    </a:lnTo>
                    <a:lnTo>
                      <a:pt x="713185" y="11034"/>
                    </a:lnTo>
                    <a:lnTo>
                      <a:pt x="726229" y="6856"/>
                    </a:lnTo>
                    <a:lnTo>
                      <a:pt x="734213" y="6026"/>
                    </a:lnTo>
                    <a:lnTo>
                      <a:pt x="744616" y="13572"/>
                    </a:lnTo>
                    <a:lnTo>
                      <a:pt x="751214" y="13607"/>
                    </a:lnTo>
                    <a:lnTo>
                      <a:pt x="764305" y="10854"/>
                    </a:lnTo>
                    <a:lnTo>
                      <a:pt x="771041" y="13800"/>
                    </a:lnTo>
                    <a:lnTo>
                      <a:pt x="769835" y="20754"/>
                    </a:lnTo>
                    <a:lnTo>
                      <a:pt x="766089" y="28607"/>
                    </a:lnTo>
                    <a:lnTo>
                      <a:pt x="765172" y="34300"/>
                    </a:lnTo>
                    <a:lnTo>
                      <a:pt x="762944" y="37483"/>
                    </a:lnTo>
                    <a:lnTo>
                      <a:pt x="759995" y="44398"/>
                    </a:lnTo>
                    <a:lnTo>
                      <a:pt x="758193" y="47624"/>
                    </a:lnTo>
                    <a:lnTo>
                      <a:pt x="752990" y="52731"/>
                    </a:lnTo>
                    <a:lnTo>
                      <a:pt x="751548" y="55255"/>
                    </a:lnTo>
                    <a:lnTo>
                      <a:pt x="749340" y="62678"/>
                    </a:lnTo>
                    <a:lnTo>
                      <a:pt x="749359" y="68879"/>
                    </a:lnTo>
                    <a:lnTo>
                      <a:pt x="751493" y="73439"/>
                    </a:lnTo>
                    <a:lnTo>
                      <a:pt x="755742" y="76077"/>
                    </a:lnTo>
                    <a:lnTo>
                      <a:pt x="758229" y="75770"/>
                    </a:lnTo>
                    <a:lnTo>
                      <a:pt x="760443" y="74454"/>
                    </a:lnTo>
                    <a:lnTo>
                      <a:pt x="762343" y="73946"/>
                    </a:lnTo>
                    <a:lnTo>
                      <a:pt x="763915" y="76036"/>
                    </a:lnTo>
                    <a:lnTo>
                      <a:pt x="764598" y="80508"/>
                    </a:lnTo>
                    <a:lnTo>
                      <a:pt x="763738" y="83916"/>
                    </a:lnTo>
                    <a:lnTo>
                      <a:pt x="761944" y="86102"/>
                    </a:lnTo>
                    <a:lnTo>
                      <a:pt x="759887" y="86733"/>
                    </a:lnTo>
                    <a:lnTo>
                      <a:pt x="758099" y="100233"/>
                    </a:lnTo>
                    <a:lnTo>
                      <a:pt x="749472" y="117431"/>
                    </a:lnTo>
                    <a:lnTo>
                      <a:pt x="738907" y="133075"/>
                    </a:lnTo>
                    <a:lnTo>
                      <a:pt x="731354" y="141835"/>
                    </a:lnTo>
                    <a:lnTo>
                      <a:pt x="722981" y="146800"/>
                    </a:lnTo>
                    <a:lnTo>
                      <a:pt x="705395" y="153140"/>
                    </a:lnTo>
                    <a:lnTo>
                      <a:pt x="698330" y="157544"/>
                    </a:lnTo>
                    <a:lnTo>
                      <a:pt x="687651" y="168456"/>
                    </a:lnTo>
                    <a:lnTo>
                      <a:pt x="685857" y="171999"/>
                    </a:lnTo>
                    <a:lnTo>
                      <a:pt x="684298" y="178340"/>
                    </a:lnTo>
                    <a:lnTo>
                      <a:pt x="680524" y="184726"/>
                    </a:lnTo>
                    <a:lnTo>
                      <a:pt x="672084" y="194276"/>
                    </a:lnTo>
                    <a:lnTo>
                      <a:pt x="627616" y="230907"/>
                    </a:lnTo>
                    <a:lnTo>
                      <a:pt x="612577" y="238572"/>
                    </a:lnTo>
                    <a:lnTo>
                      <a:pt x="608851" y="242312"/>
                    </a:lnTo>
                    <a:lnTo>
                      <a:pt x="607057" y="246358"/>
                    </a:lnTo>
                    <a:lnTo>
                      <a:pt x="605016" y="254086"/>
                    </a:lnTo>
                    <a:lnTo>
                      <a:pt x="603861" y="256862"/>
                    </a:lnTo>
                    <a:lnTo>
                      <a:pt x="602053" y="258747"/>
                    </a:lnTo>
                    <a:lnTo>
                      <a:pt x="596964" y="261589"/>
                    </a:lnTo>
                    <a:lnTo>
                      <a:pt x="590532" y="263053"/>
                    </a:lnTo>
                    <a:lnTo>
                      <a:pt x="577463" y="272078"/>
                    </a:lnTo>
                    <a:lnTo>
                      <a:pt x="575522" y="273275"/>
                    </a:lnTo>
                    <a:lnTo>
                      <a:pt x="574142" y="275548"/>
                    </a:lnTo>
                    <a:lnTo>
                      <a:pt x="573364" y="278713"/>
                    </a:lnTo>
                    <a:lnTo>
                      <a:pt x="573214" y="282722"/>
                    </a:lnTo>
                    <a:lnTo>
                      <a:pt x="569912" y="280782"/>
                    </a:lnTo>
                    <a:lnTo>
                      <a:pt x="568954" y="279841"/>
                    </a:lnTo>
                    <a:lnTo>
                      <a:pt x="570370" y="277475"/>
                    </a:lnTo>
                    <a:lnTo>
                      <a:pt x="567552" y="275959"/>
                    </a:lnTo>
                    <a:lnTo>
                      <a:pt x="562360" y="275229"/>
                    </a:lnTo>
                    <a:lnTo>
                      <a:pt x="556592" y="271662"/>
                    </a:lnTo>
                    <a:lnTo>
                      <a:pt x="555620" y="273191"/>
                    </a:lnTo>
                    <a:lnTo>
                      <a:pt x="556151" y="276353"/>
                    </a:lnTo>
                    <a:lnTo>
                      <a:pt x="557884" y="279741"/>
                    </a:lnTo>
                    <a:lnTo>
                      <a:pt x="560900" y="282101"/>
                    </a:lnTo>
                    <a:lnTo>
                      <a:pt x="567222" y="282454"/>
                    </a:lnTo>
                    <a:lnTo>
                      <a:pt x="570313" y="284003"/>
                    </a:lnTo>
                    <a:lnTo>
                      <a:pt x="571669" y="285740"/>
                    </a:lnTo>
                    <a:lnTo>
                      <a:pt x="575902" y="293189"/>
                    </a:lnTo>
                    <a:lnTo>
                      <a:pt x="571644" y="300289"/>
                    </a:lnTo>
                    <a:lnTo>
                      <a:pt x="570618" y="304198"/>
                    </a:lnTo>
                    <a:lnTo>
                      <a:pt x="571490" y="308574"/>
                    </a:lnTo>
                    <a:lnTo>
                      <a:pt x="568281" y="308484"/>
                    </a:lnTo>
                    <a:lnTo>
                      <a:pt x="562264" y="306036"/>
                    </a:lnTo>
                    <a:lnTo>
                      <a:pt x="559138" y="306070"/>
                    </a:lnTo>
                    <a:lnTo>
                      <a:pt x="557271" y="307545"/>
                    </a:lnTo>
                    <a:lnTo>
                      <a:pt x="553649" y="312437"/>
                    </a:lnTo>
                    <a:lnTo>
                      <a:pt x="551997" y="313820"/>
                    </a:lnTo>
                    <a:lnTo>
                      <a:pt x="546313" y="313593"/>
                    </a:lnTo>
                    <a:lnTo>
                      <a:pt x="534689" y="307391"/>
                    </a:lnTo>
                    <a:lnTo>
                      <a:pt x="529066" y="305758"/>
                    </a:lnTo>
                    <a:lnTo>
                      <a:pt x="512602" y="309913"/>
                    </a:lnTo>
                    <a:lnTo>
                      <a:pt x="508160" y="306700"/>
                    </a:lnTo>
                    <a:lnTo>
                      <a:pt x="501735" y="297381"/>
                    </a:lnTo>
                    <a:lnTo>
                      <a:pt x="497900" y="293785"/>
                    </a:lnTo>
                    <a:lnTo>
                      <a:pt x="493838" y="292283"/>
                    </a:lnTo>
                    <a:lnTo>
                      <a:pt x="504345" y="308687"/>
                    </a:lnTo>
                    <a:lnTo>
                      <a:pt x="510751" y="314210"/>
                    </a:lnTo>
                    <a:lnTo>
                      <a:pt x="518525" y="316063"/>
                    </a:lnTo>
                    <a:lnTo>
                      <a:pt x="526773" y="312198"/>
                    </a:lnTo>
                    <a:lnTo>
                      <a:pt x="531019" y="311500"/>
                    </a:lnTo>
                    <a:lnTo>
                      <a:pt x="534571" y="314944"/>
                    </a:lnTo>
                    <a:lnTo>
                      <a:pt x="538008" y="319288"/>
                    </a:lnTo>
                    <a:lnTo>
                      <a:pt x="542797" y="322852"/>
                    </a:lnTo>
                    <a:lnTo>
                      <a:pt x="546110" y="322761"/>
                    </a:lnTo>
                    <a:lnTo>
                      <a:pt x="545035" y="316362"/>
                    </a:lnTo>
                    <a:lnTo>
                      <a:pt x="557968" y="325536"/>
                    </a:lnTo>
                    <a:lnTo>
                      <a:pt x="565106" y="327513"/>
                    </a:lnTo>
                    <a:lnTo>
                      <a:pt x="576663" y="318377"/>
                    </a:lnTo>
                    <a:lnTo>
                      <a:pt x="583165" y="319967"/>
                    </a:lnTo>
                    <a:lnTo>
                      <a:pt x="586747" y="324829"/>
                    </a:lnTo>
                    <a:lnTo>
                      <a:pt x="583935" y="329766"/>
                    </a:lnTo>
                    <a:lnTo>
                      <a:pt x="590549" y="331726"/>
                    </a:lnTo>
                    <a:lnTo>
                      <a:pt x="598128" y="328326"/>
                    </a:lnTo>
                    <a:lnTo>
                      <a:pt x="605461" y="321424"/>
                    </a:lnTo>
                    <a:lnTo>
                      <a:pt x="611272" y="312971"/>
                    </a:lnTo>
                    <a:lnTo>
                      <a:pt x="614361" y="309397"/>
                    </a:lnTo>
                    <a:lnTo>
                      <a:pt x="616882" y="309831"/>
                    </a:lnTo>
                    <a:lnTo>
                      <a:pt x="618203" y="313568"/>
                    </a:lnTo>
                    <a:lnTo>
                      <a:pt x="617608" y="319767"/>
                    </a:lnTo>
                    <a:lnTo>
                      <a:pt x="616001" y="323085"/>
                    </a:lnTo>
                    <a:lnTo>
                      <a:pt x="588057" y="359548"/>
                    </a:lnTo>
                    <a:lnTo>
                      <a:pt x="583371" y="363291"/>
                    </a:lnTo>
                    <a:lnTo>
                      <a:pt x="577923" y="371519"/>
                    </a:lnTo>
                    <a:lnTo>
                      <a:pt x="575232" y="374279"/>
                    </a:lnTo>
                    <a:lnTo>
                      <a:pt x="571186" y="375085"/>
                    </a:lnTo>
                    <a:lnTo>
                      <a:pt x="568008" y="373519"/>
                    </a:lnTo>
                    <a:lnTo>
                      <a:pt x="567027" y="369733"/>
                    </a:lnTo>
                    <a:lnTo>
                      <a:pt x="569621" y="363787"/>
                    </a:lnTo>
                    <a:lnTo>
                      <a:pt x="564205" y="358408"/>
                    </a:lnTo>
                    <a:lnTo>
                      <a:pt x="557040" y="361015"/>
                    </a:lnTo>
                    <a:lnTo>
                      <a:pt x="541093" y="375267"/>
                    </a:lnTo>
                    <a:lnTo>
                      <a:pt x="538379" y="376436"/>
                    </a:lnTo>
                    <a:lnTo>
                      <a:pt x="533179" y="376720"/>
                    </a:lnTo>
                    <a:lnTo>
                      <a:pt x="519800" y="380328"/>
                    </a:lnTo>
                    <a:lnTo>
                      <a:pt x="516017" y="379551"/>
                    </a:lnTo>
                    <a:lnTo>
                      <a:pt x="512548" y="379680"/>
                    </a:lnTo>
                    <a:lnTo>
                      <a:pt x="510986" y="384074"/>
                    </a:lnTo>
                    <a:lnTo>
                      <a:pt x="509555" y="389310"/>
                    </a:lnTo>
                    <a:lnTo>
                      <a:pt x="506410" y="391788"/>
                    </a:lnTo>
                    <a:lnTo>
                      <a:pt x="503498" y="392963"/>
                    </a:lnTo>
                    <a:lnTo>
                      <a:pt x="490012" y="406367"/>
                    </a:lnTo>
                    <a:lnTo>
                      <a:pt x="488135" y="408843"/>
                    </a:lnTo>
                    <a:lnTo>
                      <a:pt x="486413" y="412642"/>
                    </a:lnTo>
                    <a:lnTo>
                      <a:pt x="484660" y="418510"/>
                    </a:lnTo>
                    <a:lnTo>
                      <a:pt x="485681" y="418804"/>
                    </a:lnTo>
                    <a:lnTo>
                      <a:pt x="488489" y="416683"/>
                    </a:lnTo>
                    <a:lnTo>
                      <a:pt x="494678" y="414143"/>
                    </a:lnTo>
                    <a:lnTo>
                      <a:pt x="497745" y="411168"/>
                    </a:lnTo>
                    <a:lnTo>
                      <a:pt x="500672" y="407336"/>
                    </a:lnTo>
                    <a:lnTo>
                      <a:pt x="502822" y="403619"/>
                    </a:lnTo>
                    <a:lnTo>
                      <a:pt x="505341" y="400169"/>
                    </a:lnTo>
                    <a:lnTo>
                      <a:pt x="514749" y="394506"/>
                    </a:lnTo>
                    <a:lnTo>
                      <a:pt x="522738" y="386347"/>
                    </a:lnTo>
                    <a:lnTo>
                      <a:pt x="531508" y="381878"/>
                    </a:lnTo>
                    <a:lnTo>
                      <a:pt x="533173" y="381696"/>
                    </a:lnTo>
                    <a:lnTo>
                      <a:pt x="535515" y="382762"/>
                    </a:lnTo>
                    <a:lnTo>
                      <a:pt x="538180" y="386242"/>
                    </a:lnTo>
                    <a:lnTo>
                      <a:pt x="548438" y="388665"/>
                    </a:lnTo>
                    <a:lnTo>
                      <a:pt x="552924" y="388553"/>
                    </a:lnTo>
                    <a:lnTo>
                      <a:pt x="556236" y="385957"/>
                    </a:lnTo>
                    <a:lnTo>
                      <a:pt x="558840" y="383184"/>
                    </a:lnTo>
                    <a:lnTo>
                      <a:pt x="567772" y="377574"/>
                    </a:lnTo>
                    <a:lnTo>
                      <a:pt x="570903" y="377088"/>
                    </a:lnTo>
                    <a:lnTo>
                      <a:pt x="571851" y="381899"/>
                    </a:lnTo>
                    <a:lnTo>
                      <a:pt x="567540" y="389791"/>
                    </a:lnTo>
                    <a:lnTo>
                      <a:pt x="561556" y="397185"/>
                    </a:lnTo>
                    <a:lnTo>
                      <a:pt x="555533" y="401853"/>
                    </a:lnTo>
                    <a:lnTo>
                      <a:pt x="548220" y="413395"/>
                    </a:lnTo>
                    <a:lnTo>
                      <a:pt x="548834" y="415359"/>
                    </a:lnTo>
                    <a:lnTo>
                      <a:pt x="549470" y="416781"/>
                    </a:lnTo>
                    <a:lnTo>
                      <a:pt x="550160" y="417814"/>
                    </a:lnTo>
                    <a:lnTo>
                      <a:pt x="550952" y="418645"/>
                    </a:lnTo>
                    <a:lnTo>
                      <a:pt x="541437" y="419481"/>
                    </a:lnTo>
                    <a:lnTo>
                      <a:pt x="537459" y="421771"/>
                    </a:lnTo>
                    <a:lnTo>
                      <a:pt x="533956" y="426289"/>
                    </a:lnTo>
                    <a:lnTo>
                      <a:pt x="535844" y="429853"/>
                    </a:lnTo>
                    <a:lnTo>
                      <a:pt x="534436" y="430366"/>
                    </a:lnTo>
                    <a:lnTo>
                      <a:pt x="529722" y="428821"/>
                    </a:lnTo>
                    <a:lnTo>
                      <a:pt x="518525" y="428690"/>
                    </a:lnTo>
                    <a:lnTo>
                      <a:pt x="518490" y="431551"/>
                    </a:lnTo>
                    <a:lnTo>
                      <a:pt x="524367" y="431418"/>
                    </a:lnTo>
                    <a:lnTo>
                      <a:pt x="527164" y="432103"/>
                    </a:lnTo>
                    <a:lnTo>
                      <a:pt x="529662" y="434044"/>
                    </a:lnTo>
                    <a:lnTo>
                      <a:pt x="525803" y="442768"/>
                    </a:lnTo>
                    <a:lnTo>
                      <a:pt x="523469" y="446611"/>
                    </a:lnTo>
                    <a:lnTo>
                      <a:pt x="521077" y="449584"/>
                    </a:lnTo>
                    <a:lnTo>
                      <a:pt x="528474" y="451691"/>
                    </a:lnTo>
                    <a:lnTo>
                      <a:pt x="532165" y="451950"/>
                    </a:lnTo>
                    <a:lnTo>
                      <a:pt x="536486" y="449759"/>
                    </a:lnTo>
                    <a:lnTo>
                      <a:pt x="539873" y="445581"/>
                    </a:lnTo>
                    <a:lnTo>
                      <a:pt x="541454" y="443095"/>
                    </a:lnTo>
                    <a:lnTo>
                      <a:pt x="541615" y="442009"/>
                    </a:lnTo>
                    <a:lnTo>
                      <a:pt x="546246" y="441683"/>
                    </a:lnTo>
                    <a:lnTo>
                      <a:pt x="548429" y="440586"/>
                    </a:lnTo>
                    <a:lnTo>
                      <a:pt x="552318" y="434934"/>
                    </a:lnTo>
                    <a:lnTo>
                      <a:pt x="555326" y="432010"/>
                    </a:lnTo>
                    <a:lnTo>
                      <a:pt x="558567" y="429926"/>
                    </a:lnTo>
                    <a:lnTo>
                      <a:pt x="561479" y="429144"/>
                    </a:lnTo>
                    <a:lnTo>
                      <a:pt x="565216" y="427344"/>
                    </a:lnTo>
                    <a:lnTo>
                      <a:pt x="562902" y="423126"/>
                    </a:lnTo>
                    <a:lnTo>
                      <a:pt x="555304" y="416075"/>
                    </a:lnTo>
                    <a:lnTo>
                      <a:pt x="561003" y="416501"/>
                    </a:lnTo>
                    <a:lnTo>
                      <a:pt x="579809" y="413675"/>
                    </a:lnTo>
                    <a:lnTo>
                      <a:pt x="599474" y="415759"/>
                    </a:lnTo>
                    <a:lnTo>
                      <a:pt x="605796" y="413853"/>
                    </a:lnTo>
                    <a:lnTo>
                      <a:pt x="622831" y="401197"/>
                    </a:lnTo>
                    <a:lnTo>
                      <a:pt x="622834" y="401209"/>
                    </a:lnTo>
                    <a:lnTo>
                      <a:pt x="622953" y="401683"/>
                    </a:lnTo>
                    <a:lnTo>
                      <a:pt x="626230" y="408963"/>
                    </a:lnTo>
                    <a:lnTo>
                      <a:pt x="628014" y="417026"/>
                    </a:lnTo>
                    <a:lnTo>
                      <a:pt x="632105" y="419905"/>
                    </a:lnTo>
                    <a:lnTo>
                      <a:pt x="631965" y="424268"/>
                    </a:lnTo>
                    <a:lnTo>
                      <a:pt x="630588" y="426809"/>
                    </a:lnTo>
                    <a:lnTo>
                      <a:pt x="631769" y="430634"/>
                    </a:lnTo>
                    <a:lnTo>
                      <a:pt x="631456" y="437118"/>
                    </a:lnTo>
                    <a:lnTo>
                      <a:pt x="636462" y="440947"/>
                    </a:lnTo>
                    <a:lnTo>
                      <a:pt x="637640" y="446361"/>
                    </a:lnTo>
                    <a:lnTo>
                      <a:pt x="638074" y="452188"/>
                    </a:lnTo>
                    <a:lnTo>
                      <a:pt x="636436" y="464283"/>
                    </a:lnTo>
                    <a:lnTo>
                      <a:pt x="636871" y="470127"/>
                    </a:lnTo>
                    <a:lnTo>
                      <a:pt x="629738" y="479014"/>
                    </a:lnTo>
                    <a:lnTo>
                      <a:pt x="628692" y="483461"/>
                    </a:lnTo>
                    <a:lnTo>
                      <a:pt x="629880" y="485598"/>
                    </a:lnTo>
                    <a:lnTo>
                      <a:pt x="633325" y="484664"/>
                    </a:lnTo>
                    <a:lnTo>
                      <a:pt x="640612" y="475985"/>
                    </a:lnTo>
                    <a:lnTo>
                      <a:pt x="652157" y="474639"/>
                    </a:lnTo>
                    <a:lnTo>
                      <a:pt x="655202" y="470718"/>
                    </a:lnTo>
                    <a:lnTo>
                      <a:pt x="658750" y="469127"/>
                    </a:lnTo>
                    <a:lnTo>
                      <a:pt x="675263" y="465866"/>
                    </a:lnTo>
                    <a:lnTo>
                      <a:pt x="687479" y="477868"/>
                    </a:lnTo>
                    <a:lnTo>
                      <a:pt x="695875" y="479664"/>
                    </a:lnTo>
                    <a:lnTo>
                      <a:pt x="698638" y="494943"/>
                    </a:lnTo>
                    <a:lnTo>
                      <a:pt x="697325" y="499188"/>
                    </a:lnTo>
                    <a:lnTo>
                      <a:pt x="691655" y="503987"/>
                    </a:lnTo>
                    <a:lnTo>
                      <a:pt x="686096" y="514806"/>
                    </a:lnTo>
                    <a:lnTo>
                      <a:pt x="680368" y="519462"/>
                    </a:lnTo>
                    <a:lnTo>
                      <a:pt x="677548" y="524020"/>
                    </a:lnTo>
                    <a:lnTo>
                      <a:pt x="678351" y="526469"/>
                    </a:lnTo>
                    <a:lnTo>
                      <a:pt x="686091" y="531468"/>
                    </a:lnTo>
                    <a:lnTo>
                      <a:pt x="684076" y="550025"/>
                    </a:lnTo>
                    <a:lnTo>
                      <a:pt x="691253" y="555447"/>
                    </a:lnTo>
                    <a:lnTo>
                      <a:pt x="689184" y="559267"/>
                    </a:lnTo>
                    <a:lnTo>
                      <a:pt x="689815" y="563294"/>
                    </a:lnTo>
                    <a:lnTo>
                      <a:pt x="687867" y="568605"/>
                    </a:lnTo>
                    <a:lnTo>
                      <a:pt x="684580" y="572631"/>
                    </a:lnTo>
                    <a:lnTo>
                      <a:pt x="679923" y="572422"/>
                    </a:lnTo>
                    <a:lnTo>
                      <a:pt x="668343" y="578026"/>
                    </a:lnTo>
                    <a:lnTo>
                      <a:pt x="663039" y="585025"/>
                    </a:lnTo>
                    <a:lnTo>
                      <a:pt x="656638" y="589059"/>
                    </a:lnTo>
                    <a:lnTo>
                      <a:pt x="651025" y="595718"/>
                    </a:lnTo>
                    <a:lnTo>
                      <a:pt x="645319" y="596333"/>
                    </a:lnTo>
                    <a:lnTo>
                      <a:pt x="638209" y="603634"/>
                    </a:lnTo>
                    <a:lnTo>
                      <a:pt x="637452" y="604076"/>
                    </a:lnTo>
                    <a:lnTo>
                      <a:pt x="625484" y="611007"/>
                    </a:lnTo>
                    <a:lnTo>
                      <a:pt x="623791" y="615046"/>
                    </a:lnTo>
                    <a:lnTo>
                      <a:pt x="624934" y="617490"/>
                    </a:lnTo>
                    <a:lnTo>
                      <a:pt x="622915" y="629889"/>
                    </a:lnTo>
                    <a:lnTo>
                      <a:pt x="623485" y="643693"/>
                    </a:lnTo>
                    <a:lnTo>
                      <a:pt x="621842" y="647515"/>
                    </a:lnTo>
                    <a:lnTo>
                      <a:pt x="616029" y="654061"/>
                    </a:lnTo>
                    <a:lnTo>
                      <a:pt x="612836" y="667095"/>
                    </a:lnTo>
                    <a:lnTo>
                      <a:pt x="608604" y="665582"/>
                    </a:lnTo>
                    <a:lnTo>
                      <a:pt x="595785" y="669126"/>
                    </a:lnTo>
                    <a:lnTo>
                      <a:pt x="591569" y="667815"/>
                    </a:lnTo>
                    <a:lnTo>
                      <a:pt x="582815" y="660328"/>
                    </a:lnTo>
                    <a:lnTo>
                      <a:pt x="580896" y="661894"/>
                    </a:lnTo>
                    <a:lnTo>
                      <a:pt x="578710" y="667306"/>
                    </a:lnTo>
                    <a:lnTo>
                      <a:pt x="577345" y="678531"/>
                    </a:lnTo>
                    <a:lnTo>
                      <a:pt x="575250" y="680114"/>
                    </a:lnTo>
                    <a:lnTo>
                      <a:pt x="563388" y="677360"/>
                    </a:lnTo>
                    <a:lnTo>
                      <a:pt x="549568" y="679986"/>
                    </a:lnTo>
                    <a:lnTo>
                      <a:pt x="536049" y="674754"/>
                    </a:lnTo>
                    <a:lnTo>
                      <a:pt x="533203" y="675158"/>
                    </a:lnTo>
                    <a:lnTo>
                      <a:pt x="528046" y="680611"/>
                    </a:lnTo>
                    <a:lnTo>
                      <a:pt x="529475" y="687419"/>
                    </a:lnTo>
                    <a:lnTo>
                      <a:pt x="528176" y="689636"/>
                    </a:lnTo>
                    <a:lnTo>
                      <a:pt x="517254" y="695769"/>
                    </a:lnTo>
                    <a:lnTo>
                      <a:pt x="506763" y="698720"/>
                    </a:lnTo>
                    <a:lnTo>
                      <a:pt x="500448" y="706598"/>
                    </a:lnTo>
                    <a:lnTo>
                      <a:pt x="493377" y="705555"/>
                    </a:lnTo>
                    <a:lnTo>
                      <a:pt x="490960" y="707250"/>
                    </a:lnTo>
                    <a:lnTo>
                      <a:pt x="490336" y="708239"/>
                    </a:lnTo>
                    <a:lnTo>
                      <a:pt x="487701" y="710710"/>
                    </a:lnTo>
                    <a:lnTo>
                      <a:pt x="478493" y="723769"/>
                    </a:lnTo>
                    <a:lnTo>
                      <a:pt x="476291" y="723737"/>
                    </a:lnTo>
                    <a:lnTo>
                      <a:pt x="470601" y="720829"/>
                    </a:lnTo>
                    <a:lnTo>
                      <a:pt x="466571" y="714508"/>
                    </a:lnTo>
                    <a:lnTo>
                      <a:pt x="462396" y="713910"/>
                    </a:lnTo>
                    <a:lnTo>
                      <a:pt x="455901" y="723581"/>
                    </a:lnTo>
                    <a:lnTo>
                      <a:pt x="454291" y="729064"/>
                    </a:lnTo>
                    <a:lnTo>
                      <a:pt x="448662" y="732271"/>
                    </a:lnTo>
                    <a:lnTo>
                      <a:pt x="449477" y="742789"/>
                    </a:lnTo>
                    <a:lnTo>
                      <a:pt x="445146" y="747062"/>
                    </a:lnTo>
                    <a:lnTo>
                      <a:pt x="444284" y="749929"/>
                    </a:lnTo>
                    <a:lnTo>
                      <a:pt x="446565" y="756111"/>
                    </a:lnTo>
                    <a:lnTo>
                      <a:pt x="434100" y="762374"/>
                    </a:lnTo>
                    <a:lnTo>
                      <a:pt x="421990" y="764171"/>
                    </a:lnTo>
                    <a:lnTo>
                      <a:pt x="420658" y="766911"/>
                    </a:lnTo>
                    <a:lnTo>
                      <a:pt x="420559" y="775144"/>
                    </a:lnTo>
                    <a:lnTo>
                      <a:pt x="420001" y="775094"/>
                    </a:lnTo>
                    <a:lnTo>
                      <a:pt x="410362" y="774261"/>
                    </a:lnTo>
                    <a:lnTo>
                      <a:pt x="409304" y="773629"/>
                    </a:lnTo>
                    <a:lnTo>
                      <a:pt x="403390" y="770078"/>
                    </a:lnTo>
                    <a:lnTo>
                      <a:pt x="387970" y="772512"/>
                    </a:lnTo>
                    <a:lnTo>
                      <a:pt x="381748" y="768679"/>
                    </a:lnTo>
                    <a:lnTo>
                      <a:pt x="381421" y="768484"/>
                    </a:lnTo>
                    <a:lnTo>
                      <a:pt x="380064" y="768238"/>
                    </a:lnTo>
                    <a:lnTo>
                      <a:pt x="375382" y="767368"/>
                    </a:lnTo>
                    <a:lnTo>
                      <a:pt x="365496" y="772959"/>
                    </a:lnTo>
                    <a:lnTo>
                      <a:pt x="355132" y="774008"/>
                    </a:lnTo>
                    <a:lnTo>
                      <a:pt x="351073" y="780590"/>
                    </a:lnTo>
                    <a:lnTo>
                      <a:pt x="346294" y="782533"/>
                    </a:lnTo>
                    <a:lnTo>
                      <a:pt x="343235" y="786588"/>
                    </a:lnTo>
                    <a:lnTo>
                      <a:pt x="328704" y="782721"/>
                    </a:lnTo>
                    <a:lnTo>
                      <a:pt x="323700" y="777085"/>
                    </a:lnTo>
                    <a:lnTo>
                      <a:pt x="296989" y="772975"/>
                    </a:lnTo>
                    <a:lnTo>
                      <a:pt x="296475" y="772880"/>
                    </a:lnTo>
                    <a:lnTo>
                      <a:pt x="295370" y="772792"/>
                    </a:lnTo>
                    <a:lnTo>
                      <a:pt x="295368" y="772792"/>
                    </a:lnTo>
                    <a:lnTo>
                      <a:pt x="295367" y="772792"/>
                    </a:lnTo>
                    <a:lnTo>
                      <a:pt x="295368" y="772791"/>
                    </a:lnTo>
                    <a:lnTo>
                      <a:pt x="296706" y="770431"/>
                    </a:lnTo>
                    <a:lnTo>
                      <a:pt x="292725" y="767477"/>
                    </a:lnTo>
                    <a:lnTo>
                      <a:pt x="292803" y="764633"/>
                    </a:lnTo>
                    <a:lnTo>
                      <a:pt x="294662" y="763563"/>
                    </a:lnTo>
                    <a:lnTo>
                      <a:pt x="299454" y="759587"/>
                    </a:lnTo>
                    <a:lnTo>
                      <a:pt x="304749" y="760366"/>
                    </a:lnTo>
                    <a:lnTo>
                      <a:pt x="307540" y="760159"/>
                    </a:lnTo>
                    <a:lnTo>
                      <a:pt x="313834" y="754739"/>
                    </a:lnTo>
                    <a:lnTo>
                      <a:pt x="318547" y="754859"/>
                    </a:lnTo>
                    <a:lnTo>
                      <a:pt x="327524" y="757932"/>
                    </a:lnTo>
                    <a:lnTo>
                      <a:pt x="331893" y="756780"/>
                    </a:lnTo>
                    <a:lnTo>
                      <a:pt x="340267" y="751431"/>
                    </a:lnTo>
                    <a:lnTo>
                      <a:pt x="357256" y="747909"/>
                    </a:lnTo>
                    <a:lnTo>
                      <a:pt x="360924" y="745443"/>
                    </a:lnTo>
                    <a:lnTo>
                      <a:pt x="326145" y="752298"/>
                    </a:lnTo>
                    <a:lnTo>
                      <a:pt x="310052" y="743956"/>
                    </a:lnTo>
                    <a:lnTo>
                      <a:pt x="310060" y="741686"/>
                    </a:lnTo>
                    <a:lnTo>
                      <a:pt x="312315" y="736426"/>
                    </a:lnTo>
                    <a:lnTo>
                      <a:pt x="313695" y="734532"/>
                    </a:lnTo>
                    <a:lnTo>
                      <a:pt x="328212" y="719317"/>
                    </a:lnTo>
                    <a:lnTo>
                      <a:pt x="332193" y="713117"/>
                    </a:lnTo>
                    <a:lnTo>
                      <a:pt x="335859" y="705696"/>
                    </a:lnTo>
                    <a:lnTo>
                      <a:pt x="323171" y="716531"/>
                    </a:lnTo>
                    <a:lnTo>
                      <a:pt x="321329" y="719581"/>
                    </a:lnTo>
                    <a:lnTo>
                      <a:pt x="320371" y="722045"/>
                    </a:lnTo>
                    <a:lnTo>
                      <a:pt x="318119" y="724102"/>
                    </a:lnTo>
                    <a:lnTo>
                      <a:pt x="315482" y="725527"/>
                    </a:lnTo>
                    <a:lnTo>
                      <a:pt x="313312" y="726031"/>
                    </a:lnTo>
                    <a:lnTo>
                      <a:pt x="311501" y="727150"/>
                    </a:lnTo>
                    <a:lnTo>
                      <a:pt x="310677" y="729928"/>
                    </a:lnTo>
                    <a:lnTo>
                      <a:pt x="310196" y="733322"/>
                    </a:lnTo>
                    <a:lnTo>
                      <a:pt x="309459" y="736351"/>
                    </a:lnTo>
                    <a:lnTo>
                      <a:pt x="306545" y="741967"/>
                    </a:lnTo>
                    <a:lnTo>
                      <a:pt x="303686" y="745142"/>
                    </a:lnTo>
                    <a:lnTo>
                      <a:pt x="300526" y="746473"/>
                    </a:lnTo>
                    <a:lnTo>
                      <a:pt x="296814" y="746684"/>
                    </a:lnTo>
                    <a:lnTo>
                      <a:pt x="294950" y="747427"/>
                    </a:lnTo>
                    <a:lnTo>
                      <a:pt x="292893" y="750810"/>
                    </a:lnTo>
                    <a:lnTo>
                      <a:pt x="288442" y="752382"/>
                    </a:lnTo>
                    <a:lnTo>
                      <a:pt x="286655" y="754573"/>
                    </a:lnTo>
                    <a:lnTo>
                      <a:pt x="284220" y="759171"/>
                    </a:lnTo>
                    <a:lnTo>
                      <a:pt x="277984" y="766555"/>
                    </a:lnTo>
                    <a:lnTo>
                      <a:pt x="274595" y="768746"/>
                    </a:lnTo>
                    <a:lnTo>
                      <a:pt x="270298" y="769463"/>
                    </a:lnTo>
                    <a:lnTo>
                      <a:pt x="268116" y="770986"/>
                    </a:lnTo>
                    <a:lnTo>
                      <a:pt x="264902" y="777893"/>
                    </a:lnTo>
                    <a:lnTo>
                      <a:pt x="262879" y="779452"/>
                    </a:lnTo>
                    <a:lnTo>
                      <a:pt x="260197" y="780120"/>
                    </a:lnTo>
                    <a:lnTo>
                      <a:pt x="257659" y="782005"/>
                    </a:lnTo>
                    <a:lnTo>
                      <a:pt x="255322" y="784564"/>
                    </a:lnTo>
                    <a:lnTo>
                      <a:pt x="246496" y="797101"/>
                    </a:lnTo>
                    <a:lnTo>
                      <a:pt x="232047" y="813425"/>
                    </a:lnTo>
                    <a:lnTo>
                      <a:pt x="217388" y="824642"/>
                    </a:lnTo>
                    <a:lnTo>
                      <a:pt x="215962" y="825202"/>
                    </a:lnTo>
                    <a:lnTo>
                      <a:pt x="214121" y="823712"/>
                    </a:lnTo>
                    <a:lnTo>
                      <a:pt x="211826" y="818581"/>
                    </a:lnTo>
                    <a:lnTo>
                      <a:pt x="209606" y="817435"/>
                    </a:lnTo>
                    <a:lnTo>
                      <a:pt x="206174" y="816622"/>
                    </a:lnTo>
                    <a:lnTo>
                      <a:pt x="202223" y="814671"/>
                    </a:lnTo>
                    <a:lnTo>
                      <a:pt x="198650" y="811985"/>
                    </a:lnTo>
                    <a:lnTo>
                      <a:pt x="196215" y="808901"/>
                    </a:lnTo>
                    <a:lnTo>
                      <a:pt x="199595" y="802822"/>
                    </a:lnTo>
                    <a:lnTo>
                      <a:pt x="200571" y="799807"/>
                    </a:lnTo>
                    <a:lnTo>
                      <a:pt x="201102" y="796012"/>
                    </a:lnTo>
                    <a:lnTo>
                      <a:pt x="199518" y="795959"/>
                    </a:lnTo>
                    <a:lnTo>
                      <a:pt x="191317" y="806650"/>
                    </a:lnTo>
                    <a:lnTo>
                      <a:pt x="178675" y="803460"/>
                    </a:lnTo>
                    <a:lnTo>
                      <a:pt x="148277" y="776275"/>
                    </a:lnTo>
                    <a:lnTo>
                      <a:pt x="147038" y="773242"/>
                    </a:lnTo>
                    <a:lnTo>
                      <a:pt x="147614" y="767242"/>
                    </a:lnTo>
                    <a:lnTo>
                      <a:pt x="149850" y="764416"/>
                    </a:lnTo>
                    <a:lnTo>
                      <a:pt x="152941" y="763410"/>
                    </a:lnTo>
                    <a:lnTo>
                      <a:pt x="163448" y="763060"/>
                    </a:lnTo>
                    <a:lnTo>
                      <a:pt x="170646" y="764811"/>
                    </a:lnTo>
                    <a:lnTo>
                      <a:pt x="177278" y="768593"/>
                    </a:lnTo>
                    <a:lnTo>
                      <a:pt x="182887" y="774530"/>
                    </a:lnTo>
                    <a:lnTo>
                      <a:pt x="184559" y="771741"/>
                    </a:lnTo>
                    <a:lnTo>
                      <a:pt x="179679" y="767464"/>
                    </a:lnTo>
                    <a:lnTo>
                      <a:pt x="177677" y="764827"/>
                    </a:lnTo>
                    <a:lnTo>
                      <a:pt x="177759" y="761049"/>
                    </a:lnTo>
                    <a:lnTo>
                      <a:pt x="200483" y="746754"/>
                    </a:lnTo>
                    <a:lnTo>
                      <a:pt x="205640" y="746320"/>
                    </a:lnTo>
                    <a:lnTo>
                      <a:pt x="218603" y="753699"/>
                    </a:lnTo>
                    <a:lnTo>
                      <a:pt x="223859" y="754987"/>
                    </a:lnTo>
                    <a:lnTo>
                      <a:pt x="235051" y="754533"/>
                    </a:lnTo>
                    <a:lnTo>
                      <a:pt x="241257" y="753076"/>
                    </a:lnTo>
                    <a:lnTo>
                      <a:pt x="245779" y="750227"/>
                    </a:lnTo>
                    <a:lnTo>
                      <a:pt x="226221" y="752216"/>
                    </a:lnTo>
                    <a:lnTo>
                      <a:pt x="221630" y="751276"/>
                    </a:lnTo>
                    <a:lnTo>
                      <a:pt x="211307" y="744127"/>
                    </a:lnTo>
                    <a:lnTo>
                      <a:pt x="202760" y="741557"/>
                    </a:lnTo>
                    <a:lnTo>
                      <a:pt x="179454" y="753501"/>
                    </a:lnTo>
                    <a:lnTo>
                      <a:pt x="171449" y="755552"/>
                    </a:lnTo>
                    <a:lnTo>
                      <a:pt x="169228" y="755520"/>
                    </a:lnTo>
                    <a:lnTo>
                      <a:pt x="166554" y="754289"/>
                    </a:lnTo>
                    <a:lnTo>
                      <a:pt x="161974" y="750763"/>
                    </a:lnTo>
                    <a:lnTo>
                      <a:pt x="159312" y="749935"/>
                    </a:lnTo>
                    <a:lnTo>
                      <a:pt x="144728" y="750533"/>
                    </a:lnTo>
                    <a:lnTo>
                      <a:pt x="129433" y="745642"/>
                    </a:lnTo>
                    <a:lnTo>
                      <a:pt x="124123" y="745951"/>
                    </a:lnTo>
                    <a:lnTo>
                      <a:pt x="119832" y="749892"/>
                    </a:lnTo>
                    <a:lnTo>
                      <a:pt x="115916" y="752291"/>
                    </a:lnTo>
                    <a:lnTo>
                      <a:pt x="110746" y="750981"/>
                    </a:lnTo>
                    <a:lnTo>
                      <a:pt x="106029" y="747977"/>
                    </a:lnTo>
                    <a:lnTo>
                      <a:pt x="103382" y="745194"/>
                    </a:lnTo>
                    <a:lnTo>
                      <a:pt x="102335" y="743004"/>
                    </a:lnTo>
                    <a:lnTo>
                      <a:pt x="101507" y="740886"/>
                    </a:lnTo>
                    <a:lnTo>
                      <a:pt x="101010" y="738625"/>
                    </a:lnTo>
                    <a:lnTo>
                      <a:pt x="100892" y="736067"/>
                    </a:lnTo>
                    <a:lnTo>
                      <a:pt x="101442" y="732448"/>
                    </a:lnTo>
                    <a:lnTo>
                      <a:pt x="102480" y="732304"/>
                    </a:lnTo>
                    <a:lnTo>
                      <a:pt x="103875" y="733076"/>
                    </a:lnTo>
                    <a:lnTo>
                      <a:pt x="105472" y="732207"/>
                    </a:lnTo>
                    <a:lnTo>
                      <a:pt x="110339" y="725182"/>
                    </a:lnTo>
                    <a:lnTo>
                      <a:pt x="113141" y="722959"/>
                    </a:lnTo>
                    <a:lnTo>
                      <a:pt x="145420" y="720716"/>
                    </a:lnTo>
                    <a:lnTo>
                      <a:pt x="147997" y="719552"/>
                    </a:lnTo>
                    <a:lnTo>
                      <a:pt x="155526" y="714277"/>
                    </a:lnTo>
                    <a:lnTo>
                      <a:pt x="158646" y="713131"/>
                    </a:lnTo>
                    <a:lnTo>
                      <a:pt x="162162" y="714146"/>
                    </a:lnTo>
                    <a:lnTo>
                      <a:pt x="164229" y="716368"/>
                    </a:lnTo>
                    <a:lnTo>
                      <a:pt x="166108" y="719096"/>
                    </a:lnTo>
                    <a:lnTo>
                      <a:pt x="169138" y="721585"/>
                    </a:lnTo>
                    <a:lnTo>
                      <a:pt x="180002" y="726917"/>
                    </a:lnTo>
                    <a:lnTo>
                      <a:pt x="181773" y="728442"/>
                    </a:lnTo>
                    <a:lnTo>
                      <a:pt x="181682" y="724269"/>
                    </a:lnTo>
                    <a:lnTo>
                      <a:pt x="180819" y="720194"/>
                    </a:lnTo>
                    <a:lnTo>
                      <a:pt x="178774" y="717292"/>
                    </a:lnTo>
                    <a:lnTo>
                      <a:pt x="175040" y="716568"/>
                    </a:lnTo>
                    <a:lnTo>
                      <a:pt x="175142" y="713724"/>
                    </a:lnTo>
                    <a:lnTo>
                      <a:pt x="177733" y="713489"/>
                    </a:lnTo>
                    <a:lnTo>
                      <a:pt x="180278" y="713811"/>
                    </a:lnTo>
                    <a:lnTo>
                      <a:pt x="182694" y="714908"/>
                    </a:lnTo>
                    <a:lnTo>
                      <a:pt x="184908" y="716914"/>
                    </a:lnTo>
                    <a:lnTo>
                      <a:pt x="188091" y="713136"/>
                    </a:lnTo>
                    <a:lnTo>
                      <a:pt x="192863" y="711680"/>
                    </a:lnTo>
                    <a:lnTo>
                      <a:pt x="198141" y="713323"/>
                    </a:lnTo>
                    <a:lnTo>
                      <a:pt x="202271" y="714659"/>
                    </a:lnTo>
                    <a:lnTo>
                      <a:pt x="186848" y="706293"/>
                    </a:lnTo>
                    <a:lnTo>
                      <a:pt x="183020" y="701322"/>
                    </a:lnTo>
                    <a:lnTo>
                      <a:pt x="183090" y="697155"/>
                    </a:lnTo>
                    <a:lnTo>
                      <a:pt x="186059" y="694318"/>
                    </a:lnTo>
                    <a:lnTo>
                      <a:pt x="207807" y="691930"/>
                    </a:lnTo>
                    <a:lnTo>
                      <a:pt x="216527" y="688343"/>
                    </a:lnTo>
                    <a:lnTo>
                      <a:pt x="223507" y="681663"/>
                    </a:lnTo>
                    <a:lnTo>
                      <a:pt x="220799" y="680222"/>
                    </a:lnTo>
                    <a:lnTo>
                      <a:pt x="216937" y="680563"/>
                    </a:lnTo>
                    <a:lnTo>
                      <a:pt x="213437" y="682269"/>
                    </a:lnTo>
                    <a:lnTo>
                      <a:pt x="209911" y="688546"/>
                    </a:lnTo>
                    <a:lnTo>
                      <a:pt x="205709" y="688282"/>
                    </a:lnTo>
                    <a:lnTo>
                      <a:pt x="197551" y="685798"/>
                    </a:lnTo>
                    <a:lnTo>
                      <a:pt x="199466" y="682036"/>
                    </a:lnTo>
                    <a:lnTo>
                      <a:pt x="208100" y="673085"/>
                    </a:lnTo>
                    <a:lnTo>
                      <a:pt x="198756" y="670998"/>
                    </a:lnTo>
                    <a:lnTo>
                      <a:pt x="178934" y="674747"/>
                    </a:lnTo>
                    <a:lnTo>
                      <a:pt x="169379" y="671746"/>
                    </a:lnTo>
                    <a:lnTo>
                      <a:pt x="176449" y="670085"/>
                    </a:lnTo>
                    <a:lnTo>
                      <a:pt x="183840" y="669878"/>
                    </a:lnTo>
                    <a:lnTo>
                      <a:pt x="183940" y="667067"/>
                    </a:lnTo>
                    <a:lnTo>
                      <a:pt x="182383" y="665923"/>
                    </a:lnTo>
                    <a:lnTo>
                      <a:pt x="178315" y="661393"/>
                    </a:lnTo>
                    <a:lnTo>
                      <a:pt x="182137" y="657047"/>
                    </a:lnTo>
                    <a:lnTo>
                      <a:pt x="184729" y="649297"/>
                    </a:lnTo>
                    <a:lnTo>
                      <a:pt x="186896" y="640505"/>
                    </a:lnTo>
                    <a:lnTo>
                      <a:pt x="189413" y="633063"/>
                    </a:lnTo>
                    <a:lnTo>
                      <a:pt x="193234" y="628466"/>
                    </a:lnTo>
                    <a:lnTo>
                      <a:pt x="199218" y="624439"/>
                    </a:lnTo>
                    <a:lnTo>
                      <a:pt x="205699" y="622371"/>
                    </a:lnTo>
                    <a:lnTo>
                      <a:pt x="211052" y="623592"/>
                    </a:lnTo>
                    <a:lnTo>
                      <a:pt x="212934" y="626050"/>
                    </a:lnTo>
                    <a:lnTo>
                      <a:pt x="216834" y="633613"/>
                    </a:lnTo>
                    <a:lnTo>
                      <a:pt x="219149" y="636909"/>
                    </a:lnTo>
                    <a:lnTo>
                      <a:pt x="222036" y="639336"/>
                    </a:lnTo>
                    <a:lnTo>
                      <a:pt x="225211" y="641010"/>
                    </a:lnTo>
                    <a:lnTo>
                      <a:pt x="232037" y="642316"/>
                    </a:lnTo>
                    <a:lnTo>
                      <a:pt x="243430" y="639919"/>
                    </a:lnTo>
                    <a:lnTo>
                      <a:pt x="253579" y="635143"/>
                    </a:lnTo>
                    <a:lnTo>
                      <a:pt x="253659" y="632532"/>
                    </a:lnTo>
                    <a:lnTo>
                      <a:pt x="250054" y="633496"/>
                    </a:lnTo>
                    <a:lnTo>
                      <a:pt x="246649" y="635337"/>
                    </a:lnTo>
                    <a:lnTo>
                      <a:pt x="243543" y="636299"/>
                    </a:lnTo>
                    <a:lnTo>
                      <a:pt x="240813" y="634752"/>
                    </a:lnTo>
                    <a:lnTo>
                      <a:pt x="236035" y="637901"/>
                    </a:lnTo>
                    <a:lnTo>
                      <a:pt x="231555" y="636468"/>
                    </a:lnTo>
                    <a:lnTo>
                      <a:pt x="227265" y="633360"/>
                    </a:lnTo>
                    <a:lnTo>
                      <a:pt x="223069" y="631576"/>
                    </a:lnTo>
                    <a:lnTo>
                      <a:pt x="219975" y="629329"/>
                    </a:lnTo>
                    <a:lnTo>
                      <a:pt x="220931" y="624460"/>
                    </a:lnTo>
                    <a:lnTo>
                      <a:pt x="221451" y="619204"/>
                    </a:lnTo>
                    <a:lnTo>
                      <a:pt x="217004" y="615731"/>
                    </a:lnTo>
                    <a:lnTo>
                      <a:pt x="215134" y="615949"/>
                    </a:lnTo>
                    <a:lnTo>
                      <a:pt x="210824" y="617782"/>
                    </a:lnTo>
                    <a:lnTo>
                      <a:pt x="208529" y="618064"/>
                    </a:lnTo>
                    <a:lnTo>
                      <a:pt x="206439" y="617029"/>
                    </a:lnTo>
                    <a:lnTo>
                      <a:pt x="203016" y="613414"/>
                    </a:lnTo>
                    <a:lnTo>
                      <a:pt x="200844" y="612579"/>
                    </a:lnTo>
                    <a:lnTo>
                      <a:pt x="198670" y="609626"/>
                    </a:lnTo>
                    <a:lnTo>
                      <a:pt x="201988" y="603408"/>
                    </a:lnTo>
                    <a:lnTo>
                      <a:pt x="211026" y="592402"/>
                    </a:lnTo>
                    <a:lnTo>
                      <a:pt x="213624" y="588273"/>
                    </a:lnTo>
                    <a:lnTo>
                      <a:pt x="215121" y="586937"/>
                    </a:lnTo>
                    <a:lnTo>
                      <a:pt x="217695" y="586758"/>
                    </a:lnTo>
                    <a:lnTo>
                      <a:pt x="223807" y="587610"/>
                    </a:lnTo>
                    <a:lnTo>
                      <a:pt x="225983" y="585891"/>
                    </a:lnTo>
                    <a:lnTo>
                      <a:pt x="229707" y="583818"/>
                    </a:lnTo>
                    <a:lnTo>
                      <a:pt x="234830" y="586034"/>
                    </a:lnTo>
                    <a:lnTo>
                      <a:pt x="243409" y="593069"/>
                    </a:lnTo>
                    <a:lnTo>
                      <a:pt x="247524" y="595482"/>
                    </a:lnTo>
                    <a:lnTo>
                      <a:pt x="267940" y="596328"/>
                    </a:lnTo>
                    <a:lnTo>
                      <a:pt x="268980" y="595145"/>
                    </a:lnTo>
                    <a:lnTo>
                      <a:pt x="270632" y="592440"/>
                    </a:lnTo>
                    <a:lnTo>
                      <a:pt x="274090" y="592323"/>
                    </a:lnTo>
                    <a:lnTo>
                      <a:pt x="277481" y="593385"/>
                    </a:lnTo>
                    <a:lnTo>
                      <a:pt x="278929" y="594126"/>
                    </a:lnTo>
                    <a:lnTo>
                      <a:pt x="280347" y="594166"/>
                    </a:lnTo>
                    <a:lnTo>
                      <a:pt x="280429" y="591323"/>
                    </a:lnTo>
                    <a:lnTo>
                      <a:pt x="276429" y="588595"/>
                    </a:lnTo>
                    <a:lnTo>
                      <a:pt x="258945" y="591132"/>
                    </a:lnTo>
                    <a:lnTo>
                      <a:pt x="254006" y="592973"/>
                    </a:lnTo>
                    <a:lnTo>
                      <a:pt x="251250" y="593310"/>
                    </a:lnTo>
                    <a:lnTo>
                      <a:pt x="249825" y="591852"/>
                    </a:lnTo>
                    <a:lnTo>
                      <a:pt x="244729" y="584897"/>
                    </a:lnTo>
                    <a:lnTo>
                      <a:pt x="242454" y="582603"/>
                    </a:lnTo>
                    <a:lnTo>
                      <a:pt x="225253" y="576722"/>
                    </a:lnTo>
                    <a:lnTo>
                      <a:pt x="222802" y="572722"/>
                    </a:lnTo>
                    <a:lnTo>
                      <a:pt x="224483" y="566244"/>
                    </a:lnTo>
                    <a:lnTo>
                      <a:pt x="232066" y="556020"/>
                    </a:lnTo>
                    <a:lnTo>
                      <a:pt x="234972" y="550807"/>
                    </a:lnTo>
                    <a:lnTo>
                      <a:pt x="231345" y="544206"/>
                    </a:lnTo>
                    <a:lnTo>
                      <a:pt x="236547" y="537139"/>
                    </a:lnTo>
                    <a:lnTo>
                      <a:pt x="245374" y="531832"/>
                    </a:lnTo>
                    <a:lnTo>
                      <a:pt x="252559" y="530466"/>
                    </a:lnTo>
                    <a:lnTo>
                      <a:pt x="259035" y="535732"/>
                    </a:lnTo>
                    <a:lnTo>
                      <a:pt x="265306" y="543805"/>
                    </a:lnTo>
                    <a:lnTo>
                      <a:pt x="272139" y="549341"/>
                    </a:lnTo>
                    <a:lnTo>
                      <a:pt x="280293" y="546947"/>
                    </a:lnTo>
                    <a:lnTo>
                      <a:pt x="280368" y="544352"/>
                    </a:lnTo>
                    <a:lnTo>
                      <a:pt x="271823" y="542052"/>
                    </a:lnTo>
                    <a:lnTo>
                      <a:pt x="269957" y="540256"/>
                    </a:lnTo>
                    <a:lnTo>
                      <a:pt x="267071" y="534604"/>
                    </a:lnTo>
                    <a:lnTo>
                      <a:pt x="265081" y="531947"/>
                    </a:lnTo>
                    <a:lnTo>
                      <a:pt x="263131" y="530785"/>
                    </a:lnTo>
                    <a:lnTo>
                      <a:pt x="261259" y="528147"/>
                    </a:lnTo>
                    <a:lnTo>
                      <a:pt x="264118" y="522586"/>
                    </a:lnTo>
                    <a:lnTo>
                      <a:pt x="269252" y="517311"/>
                    </a:lnTo>
                    <a:lnTo>
                      <a:pt x="274298" y="515466"/>
                    </a:lnTo>
                    <a:lnTo>
                      <a:pt x="274381" y="512623"/>
                    </a:lnTo>
                    <a:lnTo>
                      <a:pt x="269427" y="510317"/>
                    </a:lnTo>
                    <a:lnTo>
                      <a:pt x="265875" y="513353"/>
                    </a:lnTo>
                    <a:lnTo>
                      <a:pt x="263148" y="517970"/>
                    </a:lnTo>
                    <a:lnTo>
                      <a:pt x="260624" y="520289"/>
                    </a:lnTo>
                    <a:lnTo>
                      <a:pt x="257027" y="521333"/>
                    </a:lnTo>
                    <a:lnTo>
                      <a:pt x="249634" y="526348"/>
                    </a:lnTo>
                    <a:lnTo>
                      <a:pt x="245463" y="527665"/>
                    </a:lnTo>
                    <a:lnTo>
                      <a:pt x="241147" y="526924"/>
                    </a:lnTo>
                    <a:lnTo>
                      <a:pt x="233420" y="522947"/>
                    </a:lnTo>
                    <a:lnTo>
                      <a:pt x="229418" y="521933"/>
                    </a:lnTo>
                    <a:lnTo>
                      <a:pt x="220425" y="524596"/>
                    </a:lnTo>
                    <a:lnTo>
                      <a:pt x="216203" y="524115"/>
                    </a:lnTo>
                    <a:lnTo>
                      <a:pt x="214573" y="518834"/>
                    </a:lnTo>
                    <a:lnTo>
                      <a:pt x="215456" y="517557"/>
                    </a:lnTo>
                    <a:lnTo>
                      <a:pt x="220650" y="505969"/>
                    </a:lnTo>
                    <a:lnTo>
                      <a:pt x="222405" y="504206"/>
                    </a:lnTo>
                    <a:lnTo>
                      <a:pt x="226984" y="501555"/>
                    </a:lnTo>
                    <a:lnTo>
                      <a:pt x="228802" y="499608"/>
                    </a:lnTo>
                    <a:lnTo>
                      <a:pt x="230734" y="498037"/>
                    </a:lnTo>
                    <a:lnTo>
                      <a:pt x="232160" y="499622"/>
                    </a:lnTo>
                    <a:lnTo>
                      <a:pt x="233259" y="502224"/>
                    </a:lnTo>
                    <a:lnTo>
                      <a:pt x="234232" y="503561"/>
                    </a:lnTo>
                    <a:lnTo>
                      <a:pt x="239073" y="502875"/>
                    </a:lnTo>
                    <a:lnTo>
                      <a:pt x="262475" y="492505"/>
                    </a:lnTo>
                    <a:lnTo>
                      <a:pt x="271925" y="484169"/>
                    </a:lnTo>
                    <a:lnTo>
                      <a:pt x="274002" y="473466"/>
                    </a:lnTo>
                    <a:lnTo>
                      <a:pt x="270537" y="472525"/>
                    </a:lnTo>
                    <a:lnTo>
                      <a:pt x="264813" y="478141"/>
                    </a:lnTo>
                    <a:lnTo>
                      <a:pt x="255050" y="491161"/>
                    </a:lnTo>
                    <a:lnTo>
                      <a:pt x="249574" y="495130"/>
                    </a:lnTo>
                    <a:lnTo>
                      <a:pt x="244820" y="494236"/>
                    </a:lnTo>
                    <a:lnTo>
                      <a:pt x="239901" y="491656"/>
                    </a:lnTo>
                    <a:lnTo>
                      <a:pt x="233949" y="490503"/>
                    </a:lnTo>
                    <a:lnTo>
                      <a:pt x="239073" y="487399"/>
                    </a:lnTo>
                    <a:lnTo>
                      <a:pt x="240905" y="484921"/>
                    </a:lnTo>
                    <a:lnTo>
                      <a:pt x="240575" y="481598"/>
                    </a:lnTo>
                    <a:lnTo>
                      <a:pt x="238967" y="476834"/>
                    </a:lnTo>
                    <a:lnTo>
                      <a:pt x="238663" y="474305"/>
                    </a:lnTo>
                    <a:lnTo>
                      <a:pt x="237755" y="474386"/>
                    </a:lnTo>
                    <a:lnTo>
                      <a:pt x="234370" y="477482"/>
                    </a:lnTo>
                    <a:lnTo>
                      <a:pt x="219925" y="495461"/>
                    </a:lnTo>
                    <a:lnTo>
                      <a:pt x="214637" y="497963"/>
                    </a:lnTo>
                    <a:lnTo>
                      <a:pt x="203834" y="499201"/>
                    </a:lnTo>
                    <a:lnTo>
                      <a:pt x="199139" y="496614"/>
                    </a:lnTo>
                    <a:lnTo>
                      <a:pt x="196146" y="481437"/>
                    </a:lnTo>
                    <a:lnTo>
                      <a:pt x="196670" y="481782"/>
                    </a:lnTo>
                    <a:lnTo>
                      <a:pt x="197698" y="481164"/>
                    </a:lnTo>
                    <a:lnTo>
                      <a:pt x="198666" y="480093"/>
                    </a:lnTo>
                    <a:lnTo>
                      <a:pt x="199051" y="478924"/>
                    </a:lnTo>
                    <a:lnTo>
                      <a:pt x="198543" y="477632"/>
                    </a:lnTo>
                    <a:lnTo>
                      <a:pt x="196747" y="474583"/>
                    </a:lnTo>
                    <a:lnTo>
                      <a:pt x="196428" y="473373"/>
                    </a:lnTo>
                    <a:lnTo>
                      <a:pt x="196525" y="468244"/>
                    </a:lnTo>
                    <a:lnTo>
                      <a:pt x="197308" y="465736"/>
                    </a:lnTo>
                    <a:lnTo>
                      <a:pt x="199597" y="463263"/>
                    </a:lnTo>
                    <a:lnTo>
                      <a:pt x="197516" y="461947"/>
                    </a:lnTo>
                    <a:lnTo>
                      <a:pt x="191211" y="459845"/>
                    </a:lnTo>
                    <a:lnTo>
                      <a:pt x="189904" y="458913"/>
                    </a:lnTo>
                    <a:lnTo>
                      <a:pt x="189607" y="454796"/>
                    </a:lnTo>
                    <a:lnTo>
                      <a:pt x="187930" y="448110"/>
                    </a:lnTo>
                    <a:lnTo>
                      <a:pt x="187664" y="443154"/>
                    </a:lnTo>
                    <a:lnTo>
                      <a:pt x="188372" y="440442"/>
                    </a:lnTo>
                    <a:lnTo>
                      <a:pt x="191399" y="434077"/>
                    </a:lnTo>
                    <a:lnTo>
                      <a:pt x="192277" y="431696"/>
                    </a:lnTo>
                    <a:lnTo>
                      <a:pt x="192704" y="426251"/>
                    </a:lnTo>
                    <a:lnTo>
                      <a:pt x="192793" y="421401"/>
                    </a:lnTo>
                    <a:lnTo>
                      <a:pt x="193800" y="418449"/>
                    </a:lnTo>
                    <a:lnTo>
                      <a:pt x="196950" y="418591"/>
                    </a:lnTo>
                    <a:lnTo>
                      <a:pt x="196569" y="416835"/>
                    </a:lnTo>
                    <a:lnTo>
                      <a:pt x="196073" y="412462"/>
                    </a:lnTo>
                    <a:lnTo>
                      <a:pt x="195692" y="410722"/>
                    </a:lnTo>
                    <a:lnTo>
                      <a:pt x="199385" y="409357"/>
                    </a:lnTo>
                    <a:lnTo>
                      <a:pt x="203002" y="410182"/>
                    </a:lnTo>
                    <a:lnTo>
                      <a:pt x="206453" y="412665"/>
                    </a:lnTo>
                    <a:lnTo>
                      <a:pt x="217084" y="424470"/>
                    </a:lnTo>
                    <a:lnTo>
                      <a:pt x="220467" y="427195"/>
                    </a:lnTo>
                    <a:lnTo>
                      <a:pt x="222285" y="425762"/>
                    </a:lnTo>
                    <a:lnTo>
                      <a:pt x="225639" y="431378"/>
                    </a:lnTo>
                    <a:lnTo>
                      <a:pt x="227411" y="432882"/>
                    </a:lnTo>
                    <a:lnTo>
                      <a:pt x="233427" y="437462"/>
                    </a:lnTo>
                    <a:lnTo>
                      <a:pt x="235645" y="438140"/>
                    </a:lnTo>
                    <a:lnTo>
                      <a:pt x="234613" y="435961"/>
                    </a:lnTo>
                    <a:lnTo>
                      <a:pt x="234068" y="433953"/>
                    </a:lnTo>
                    <a:lnTo>
                      <a:pt x="233670" y="432058"/>
                    </a:lnTo>
                    <a:lnTo>
                      <a:pt x="233112" y="430220"/>
                    </a:lnTo>
                    <a:lnTo>
                      <a:pt x="247963" y="428076"/>
                    </a:lnTo>
                    <a:lnTo>
                      <a:pt x="256377" y="429828"/>
                    </a:lnTo>
                    <a:lnTo>
                      <a:pt x="261187" y="429834"/>
                    </a:lnTo>
                    <a:lnTo>
                      <a:pt x="262116" y="427328"/>
                    </a:lnTo>
                    <a:lnTo>
                      <a:pt x="256040" y="421840"/>
                    </a:lnTo>
                    <a:lnTo>
                      <a:pt x="246835" y="419395"/>
                    </a:lnTo>
                    <a:lnTo>
                      <a:pt x="237706" y="420382"/>
                    </a:lnTo>
                    <a:lnTo>
                      <a:pt x="231872" y="425203"/>
                    </a:lnTo>
                    <a:lnTo>
                      <a:pt x="225159" y="416680"/>
                    </a:lnTo>
                    <a:lnTo>
                      <a:pt x="226281" y="415534"/>
                    </a:lnTo>
                    <a:lnTo>
                      <a:pt x="228106" y="411813"/>
                    </a:lnTo>
                    <a:lnTo>
                      <a:pt x="221325" y="410285"/>
                    </a:lnTo>
                    <a:lnTo>
                      <a:pt x="217952" y="404216"/>
                    </a:lnTo>
                    <a:lnTo>
                      <a:pt x="215634" y="396610"/>
                    </a:lnTo>
                    <a:lnTo>
                      <a:pt x="212047" y="390377"/>
                    </a:lnTo>
                    <a:lnTo>
                      <a:pt x="208956" y="388951"/>
                    </a:lnTo>
                    <a:lnTo>
                      <a:pt x="205809" y="388408"/>
                    </a:lnTo>
                    <a:lnTo>
                      <a:pt x="203351" y="386768"/>
                    </a:lnTo>
                    <a:lnTo>
                      <a:pt x="202436" y="381977"/>
                    </a:lnTo>
                    <a:lnTo>
                      <a:pt x="203778" y="377403"/>
                    </a:lnTo>
                    <a:lnTo>
                      <a:pt x="208105" y="372838"/>
                    </a:lnTo>
                    <a:lnTo>
                      <a:pt x="207053" y="369349"/>
                    </a:lnTo>
                    <a:lnTo>
                      <a:pt x="207152" y="366506"/>
                    </a:lnTo>
                    <a:lnTo>
                      <a:pt x="214893" y="362382"/>
                    </a:lnTo>
                    <a:lnTo>
                      <a:pt x="218794" y="362326"/>
                    </a:lnTo>
                    <a:lnTo>
                      <a:pt x="224587" y="369330"/>
                    </a:lnTo>
                    <a:lnTo>
                      <a:pt x="227149" y="369057"/>
                    </a:lnTo>
                    <a:lnTo>
                      <a:pt x="229397" y="366207"/>
                    </a:lnTo>
                    <a:lnTo>
                      <a:pt x="231147" y="362079"/>
                    </a:lnTo>
                    <a:lnTo>
                      <a:pt x="228902" y="361338"/>
                    </a:lnTo>
                    <a:lnTo>
                      <a:pt x="227513" y="359347"/>
                    </a:lnTo>
                    <a:lnTo>
                      <a:pt x="226260" y="356787"/>
                    </a:lnTo>
                    <a:lnTo>
                      <a:pt x="224301" y="354249"/>
                    </a:lnTo>
                    <a:lnTo>
                      <a:pt x="221969" y="352711"/>
                    </a:lnTo>
                    <a:lnTo>
                      <a:pt x="205123" y="348145"/>
                    </a:lnTo>
                    <a:lnTo>
                      <a:pt x="204628" y="344007"/>
                    </a:lnTo>
                    <a:lnTo>
                      <a:pt x="205969" y="334128"/>
                    </a:lnTo>
                    <a:lnTo>
                      <a:pt x="205767" y="329674"/>
                    </a:lnTo>
                    <a:lnTo>
                      <a:pt x="206398" y="326553"/>
                    </a:lnTo>
                    <a:lnTo>
                      <a:pt x="204904" y="318786"/>
                    </a:lnTo>
                    <a:lnTo>
                      <a:pt x="204816" y="313977"/>
                    </a:lnTo>
                    <a:lnTo>
                      <a:pt x="205736" y="309903"/>
                    </a:lnTo>
                    <a:lnTo>
                      <a:pt x="207372" y="306226"/>
                    </a:lnTo>
                    <a:lnTo>
                      <a:pt x="209599" y="303129"/>
                    </a:lnTo>
                    <a:lnTo>
                      <a:pt x="212323" y="300967"/>
                    </a:lnTo>
                    <a:lnTo>
                      <a:pt x="217553" y="299059"/>
                    </a:lnTo>
                    <a:lnTo>
                      <a:pt x="222911" y="299176"/>
                    </a:lnTo>
                    <a:lnTo>
                      <a:pt x="228161" y="301044"/>
                    </a:lnTo>
                    <a:lnTo>
                      <a:pt x="233046" y="304486"/>
                    </a:lnTo>
                    <a:lnTo>
                      <a:pt x="232098" y="309650"/>
                    </a:lnTo>
                    <a:lnTo>
                      <a:pt x="232476" y="317235"/>
                    </a:lnTo>
                    <a:lnTo>
                      <a:pt x="233614" y="324971"/>
                    </a:lnTo>
                    <a:lnTo>
                      <a:pt x="234970" y="330646"/>
                    </a:lnTo>
                    <a:lnTo>
                      <a:pt x="236845" y="334687"/>
                    </a:lnTo>
                    <a:lnTo>
                      <a:pt x="239436" y="337663"/>
                    </a:lnTo>
                    <a:lnTo>
                      <a:pt x="242487" y="339299"/>
                    </a:lnTo>
                    <a:lnTo>
                      <a:pt x="245823" y="339297"/>
                    </a:lnTo>
                    <a:lnTo>
                      <a:pt x="244355" y="337446"/>
                    </a:lnTo>
                    <a:lnTo>
                      <a:pt x="243472" y="335505"/>
                    </a:lnTo>
                    <a:lnTo>
                      <a:pt x="242053" y="330873"/>
                    </a:lnTo>
                    <a:lnTo>
                      <a:pt x="244618" y="330798"/>
                    </a:lnTo>
                    <a:lnTo>
                      <a:pt x="246588" y="331450"/>
                    </a:lnTo>
                    <a:lnTo>
                      <a:pt x="250307" y="333962"/>
                    </a:lnTo>
                    <a:lnTo>
                      <a:pt x="249211" y="326432"/>
                    </a:lnTo>
                    <a:lnTo>
                      <a:pt x="250227" y="321052"/>
                    </a:lnTo>
                    <a:lnTo>
                      <a:pt x="250738" y="316153"/>
                    </a:lnTo>
                    <a:lnTo>
                      <a:pt x="248137" y="310177"/>
                    </a:lnTo>
                    <a:lnTo>
                      <a:pt x="240537" y="302487"/>
                    </a:lnTo>
                    <a:lnTo>
                      <a:pt x="238074" y="298053"/>
                    </a:lnTo>
                    <a:lnTo>
                      <a:pt x="240315" y="294268"/>
                    </a:lnTo>
                    <a:lnTo>
                      <a:pt x="238760" y="293782"/>
                    </a:lnTo>
                    <a:lnTo>
                      <a:pt x="238155" y="293063"/>
                    </a:lnTo>
                    <a:lnTo>
                      <a:pt x="237641" y="291570"/>
                    </a:lnTo>
                    <a:lnTo>
                      <a:pt x="239709" y="287997"/>
                    </a:lnTo>
                    <a:lnTo>
                      <a:pt x="244622" y="281777"/>
                    </a:lnTo>
                    <a:lnTo>
                      <a:pt x="246370" y="278814"/>
                    </a:lnTo>
                    <a:lnTo>
                      <a:pt x="249173" y="282635"/>
                    </a:lnTo>
                    <a:lnTo>
                      <a:pt x="251339" y="284196"/>
                    </a:lnTo>
                    <a:lnTo>
                      <a:pt x="258803" y="284427"/>
                    </a:lnTo>
                    <a:lnTo>
                      <a:pt x="257312" y="294832"/>
                    </a:lnTo>
                    <a:lnTo>
                      <a:pt x="262834" y="302715"/>
                    </a:lnTo>
                    <a:lnTo>
                      <a:pt x="271000" y="307439"/>
                    </a:lnTo>
                    <a:lnTo>
                      <a:pt x="277493" y="308454"/>
                    </a:lnTo>
                    <a:lnTo>
                      <a:pt x="276313" y="305823"/>
                    </a:lnTo>
                    <a:lnTo>
                      <a:pt x="278875" y="302602"/>
                    </a:lnTo>
                    <a:lnTo>
                      <a:pt x="281619" y="291779"/>
                    </a:lnTo>
                    <a:lnTo>
                      <a:pt x="283664" y="287780"/>
                    </a:lnTo>
                    <a:lnTo>
                      <a:pt x="286247" y="287901"/>
                    </a:lnTo>
                    <a:lnTo>
                      <a:pt x="295349" y="292218"/>
                    </a:lnTo>
                    <a:lnTo>
                      <a:pt x="298099" y="294690"/>
                    </a:lnTo>
                    <a:lnTo>
                      <a:pt x="303617" y="301716"/>
                    </a:lnTo>
                    <a:lnTo>
                      <a:pt x="310337" y="306191"/>
                    </a:lnTo>
                    <a:lnTo>
                      <a:pt x="324872" y="312375"/>
                    </a:lnTo>
                    <a:lnTo>
                      <a:pt x="322018" y="306982"/>
                    </a:lnTo>
                    <a:lnTo>
                      <a:pt x="319799" y="304545"/>
                    </a:lnTo>
                    <a:lnTo>
                      <a:pt x="313936" y="301653"/>
                    </a:lnTo>
                    <a:lnTo>
                      <a:pt x="305274" y="292120"/>
                    </a:lnTo>
                    <a:lnTo>
                      <a:pt x="292401" y="285790"/>
                    </a:lnTo>
                    <a:lnTo>
                      <a:pt x="290827" y="284192"/>
                    </a:lnTo>
                    <a:lnTo>
                      <a:pt x="290584" y="282007"/>
                    </a:lnTo>
                    <a:lnTo>
                      <a:pt x="290114" y="281107"/>
                    </a:lnTo>
                    <a:lnTo>
                      <a:pt x="290045" y="280079"/>
                    </a:lnTo>
                    <a:lnTo>
                      <a:pt x="291019" y="277541"/>
                    </a:lnTo>
                    <a:lnTo>
                      <a:pt x="292315" y="277267"/>
                    </a:lnTo>
                    <a:lnTo>
                      <a:pt x="293800" y="279066"/>
                    </a:lnTo>
                    <a:lnTo>
                      <a:pt x="295261" y="279403"/>
                    </a:lnTo>
                    <a:lnTo>
                      <a:pt x="296514" y="274850"/>
                    </a:lnTo>
                    <a:lnTo>
                      <a:pt x="300307" y="277382"/>
                    </a:lnTo>
                    <a:lnTo>
                      <a:pt x="305752" y="285928"/>
                    </a:lnTo>
                    <a:lnTo>
                      <a:pt x="310111" y="288519"/>
                    </a:lnTo>
                    <a:lnTo>
                      <a:pt x="312420" y="288395"/>
                    </a:lnTo>
                    <a:lnTo>
                      <a:pt x="316340" y="286494"/>
                    </a:lnTo>
                    <a:lnTo>
                      <a:pt x="318523" y="286132"/>
                    </a:lnTo>
                    <a:lnTo>
                      <a:pt x="321061" y="287038"/>
                    </a:lnTo>
                    <a:lnTo>
                      <a:pt x="325564" y="290547"/>
                    </a:lnTo>
                    <a:lnTo>
                      <a:pt x="327519" y="291343"/>
                    </a:lnTo>
                    <a:lnTo>
                      <a:pt x="330012" y="293055"/>
                    </a:lnTo>
                    <a:lnTo>
                      <a:pt x="337244" y="300608"/>
                    </a:lnTo>
                    <a:lnTo>
                      <a:pt x="345734" y="304830"/>
                    </a:lnTo>
                    <a:lnTo>
                      <a:pt x="351338" y="315540"/>
                    </a:lnTo>
                    <a:lnTo>
                      <a:pt x="355411" y="318357"/>
                    </a:lnTo>
                    <a:lnTo>
                      <a:pt x="354301" y="316295"/>
                    </a:lnTo>
                    <a:lnTo>
                      <a:pt x="352978" y="312811"/>
                    </a:lnTo>
                    <a:lnTo>
                      <a:pt x="351860" y="309083"/>
                    </a:lnTo>
                    <a:lnTo>
                      <a:pt x="351412" y="306414"/>
                    </a:lnTo>
                    <a:lnTo>
                      <a:pt x="350400" y="303824"/>
                    </a:lnTo>
                    <a:lnTo>
                      <a:pt x="330526" y="285387"/>
                    </a:lnTo>
                    <a:lnTo>
                      <a:pt x="325622" y="283939"/>
                    </a:lnTo>
                    <a:lnTo>
                      <a:pt x="325697" y="281095"/>
                    </a:lnTo>
                    <a:lnTo>
                      <a:pt x="329692" y="281245"/>
                    </a:lnTo>
                    <a:lnTo>
                      <a:pt x="331374" y="278489"/>
                    </a:lnTo>
                    <a:lnTo>
                      <a:pt x="331168" y="274021"/>
                    </a:lnTo>
                    <a:lnTo>
                      <a:pt x="329478" y="269204"/>
                    </a:lnTo>
                    <a:lnTo>
                      <a:pt x="327061" y="266949"/>
                    </a:lnTo>
                    <a:lnTo>
                      <a:pt x="320573" y="265443"/>
                    </a:lnTo>
                    <a:lnTo>
                      <a:pt x="317753" y="262633"/>
                    </a:lnTo>
                    <a:lnTo>
                      <a:pt x="311826" y="260919"/>
                    </a:lnTo>
                    <a:lnTo>
                      <a:pt x="303767" y="250032"/>
                    </a:lnTo>
                    <a:lnTo>
                      <a:pt x="298642" y="248801"/>
                    </a:lnTo>
                    <a:lnTo>
                      <a:pt x="299116" y="247788"/>
                    </a:lnTo>
                    <a:lnTo>
                      <a:pt x="299223" y="247481"/>
                    </a:lnTo>
                    <a:lnTo>
                      <a:pt x="300216" y="246497"/>
                    </a:lnTo>
                    <a:lnTo>
                      <a:pt x="297301" y="242077"/>
                    </a:lnTo>
                    <a:lnTo>
                      <a:pt x="293365" y="240567"/>
                    </a:lnTo>
                    <a:lnTo>
                      <a:pt x="285045" y="240842"/>
                    </a:lnTo>
                    <a:lnTo>
                      <a:pt x="285768" y="239199"/>
                    </a:lnTo>
                    <a:lnTo>
                      <a:pt x="286202" y="237905"/>
                    </a:lnTo>
                    <a:lnTo>
                      <a:pt x="286796" y="236740"/>
                    </a:lnTo>
                    <a:lnTo>
                      <a:pt x="287978" y="235468"/>
                    </a:lnTo>
                    <a:lnTo>
                      <a:pt x="288054" y="232858"/>
                    </a:lnTo>
                    <a:lnTo>
                      <a:pt x="281730" y="220421"/>
                    </a:lnTo>
                    <a:lnTo>
                      <a:pt x="285705" y="215343"/>
                    </a:lnTo>
                    <a:lnTo>
                      <a:pt x="293323" y="217769"/>
                    </a:lnTo>
                    <a:lnTo>
                      <a:pt x="297853" y="227911"/>
                    </a:lnTo>
                    <a:lnTo>
                      <a:pt x="302380" y="224398"/>
                    </a:lnTo>
                    <a:lnTo>
                      <a:pt x="306673" y="225963"/>
                    </a:lnTo>
                    <a:lnTo>
                      <a:pt x="311120" y="226690"/>
                    </a:lnTo>
                    <a:lnTo>
                      <a:pt x="316141" y="220607"/>
                    </a:lnTo>
                    <a:lnTo>
                      <a:pt x="314867" y="220573"/>
                    </a:lnTo>
                    <a:lnTo>
                      <a:pt x="315980" y="216839"/>
                    </a:lnTo>
                    <a:lnTo>
                      <a:pt x="315927" y="213355"/>
                    </a:lnTo>
                    <a:lnTo>
                      <a:pt x="315051" y="210236"/>
                    </a:lnTo>
                    <a:lnTo>
                      <a:pt x="313721" y="207495"/>
                    </a:lnTo>
                    <a:lnTo>
                      <a:pt x="316496" y="207570"/>
                    </a:lnTo>
                    <a:lnTo>
                      <a:pt x="316567" y="204959"/>
                    </a:lnTo>
                    <a:lnTo>
                      <a:pt x="312492" y="202004"/>
                    </a:lnTo>
                    <a:lnTo>
                      <a:pt x="315222" y="200072"/>
                    </a:lnTo>
                    <a:lnTo>
                      <a:pt x="321021" y="198812"/>
                    </a:lnTo>
                    <a:lnTo>
                      <a:pt x="323780" y="197314"/>
                    </a:lnTo>
                    <a:lnTo>
                      <a:pt x="323856" y="194470"/>
                    </a:lnTo>
                    <a:lnTo>
                      <a:pt x="317194" y="194606"/>
                    </a:lnTo>
                    <a:lnTo>
                      <a:pt x="314030" y="193836"/>
                    </a:lnTo>
                    <a:lnTo>
                      <a:pt x="311277" y="191555"/>
                    </a:lnTo>
                    <a:lnTo>
                      <a:pt x="312845" y="189186"/>
                    </a:lnTo>
                    <a:lnTo>
                      <a:pt x="311396" y="187266"/>
                    </a:lnTo>
                    <a:lnTo>
                      <a:pt x="309774" y="185697"/>
                    </a:lnTo>
                    <a:lnTo>
                      <a:pt x="308026" y="184530"/>
                    </a:lnTo>
                    <a:lnTo>
                      <a:pt x="306119" y="183794"/>
                    </a:lnTo>
                    <a:lnTo>
                      <a:pt x="306595" y="182018"/>
                    </a:lnTo>
                    <a:lnTo>
                      <a:pt x="307360" y="177561"/>
                    </a:lnTo>
                    <a:lnTo>
                      <a:pt x="307852" y="175788"/>
                    </a:lnTo>
                    <a:lnTo>
                      <a:pt x="305264" y="175684"/>
                    </a:lnTo>
                    <a:lnTo>
                      <a:pt x="303297" y="174230"/>
                    </a:lnTo>
                    <a:lnTo>
                      <a:pt x="294435" y="159521"/>
                    </a:lnTo>
                    <a:lnTo>
                      <a:pt x="294783" y="153156"/>
                    </a:lnTo>
                    <a:lnTo>
                      <a:pt x="298069" y="152160"/>
                    </a:lnTo>
                    <a:lnTo>
                      <a:pt x="302632" y="154310"/>
                    </a:lnTo>
                    <a:lnTo>
                      <a:pt x="310934" y="160478"/>
                    </a:lnTo>
                    <a:lnTo>
                      <a:pt x="314312" y="161517"/>
                    </a:lnTo>
                    <a:lnTo>
                      <a:pt x="317734" y="160662"/>
                    </a:lnTo>
                    <a:lnTo>
                      <a:pt x="325858" y="155434"/>
                    </a:lnTo>
                    <a:lnTo>
                      <a:pt x="330166" y="154100"/>
                    </a:lnTo>
                    <a:lnTo>
                      <a:pt x="334519" y="154757"/>
                    </a:lnTo>
                    <a:lnTo>
                      <a:pt x="338676" y="158329"/>
                    </a:lnTo>
                    <a:lnTo>
                      <a:pt x="340269" y="155571"/>
                    </a:lnTo>
                    <a:lnTo>
                      <a:pt x="343025" y="153121"/>
                    </a:lnTo>
                    <a:lnTo>
                      <a:pt x="345867" y="151373"/>
                    </a:lnTo>
                    <a:lnTo>
                      <a:pt x="347684" y="150734"/>
                    </a:lnTo>
                    <a:lnTo>
                      <a:pt x="351236" y="152017"/>
                    </a:lnTo>
                    <a:lnTo>
                      <a:pt x="357188" y="157572"/>
                    </a:lnTo>
                    <a:lnTo>
                      <a:pt x="359892" y="158849"/>
                    </a:lnTo>
                    <a:lnTo>
                      <a:pt x="369961" y="158198"/>
                    </a:lnTo>
                    <a:lnTo>
                      <a:pt x="373016" y="159154"/>
                    </a:lnTo>
                    <a:lnTo>
                      <a:pt x="386625" y="170107"/>
                    </a:lnTo>
                    <a:lnTo>
                      <a:pt x="384733" y="166039"/>
                    </a:lnTo>
                    <a:lnTo>
                      <a:pt x="382494" y="163611"/>
                    </a:lnTo>
                    <a:lnTo>
                      <a:pt x="377124" y="159247"/>
                    </a:lnTo>
                    <a:lnTo>
                      <a:pt x="379818" y="157069"/>
                    </a:lnTo>
                    <a:lnTo>
                      <a:pt x="385576" y="156170"/>
                    </a:lnTo>
                    <a:lnTo>
                      <a:pt x="388351" y="154271"/>
                    </a:lnTo>
                    <a:lnTo>
                      <a:pt x="375652" y="151378"/>
                    </a:lnTo>
                    <a:lnTo>
                      <a:pt x="371693" y="151304"/>
                    </a:lnTo>
                    <a:lnTo>
                      <a:pt x="370033" y="152323"/>
                    </a:lnTo>
                    <a:lnTo>
                      <a:pt x="367679" y="155673"/>
                    </a:lnTo>
                    <a:lnTo>
                      <a:pt x="365518" y="156369"/>
                    </a:lnTo>
                    <a:lnTo>
                      <a:pt x="363509" y="155499"/>
                    </a:lnTo>
                    <a:lnTo>
                      <a:pt x="359456" y="151842"/>
                    </a:lnTo>
                    <a:lnTo>
                      <a:pt x="357276" y="150967"/>
                    </a:lnTo>
                    <a:lnTo>
                      <a:pt x="354358" y="148844"/>
                    </a:lnTo>
                    <a:lnTo>
                      <a:pt x="348646" y="139750"/>
                    </a:lnTo>
                    <a:lnTo>
                      <a:pt x="346639" y="137648"/>
                    </a:lnTo>
                    <a:lnTo>
                      <a:pt x="346429" y="136228"/>
                    </a:lnTo>
                    <a:lnTo>
                      <a:pt x="342781" y="130276"/>
                    </a:lnTo>
                    <a:lnTo>
                      <a:pt x="342041" y="129495"/>
                    </a:lnTo>
                    <a:lnTo>
                      <a:pt x="340630" y="124625"/>
                    </a:lnTo>
                    <a:lnTo>
                      <a:pt x="340058" y="121782"/>
                    </a:lnTo>
                    <a:lnTo>
                      <a:pt x="339689" y="118988"/>
                    </a:lnTo>
                    <a:lnTo>
                      <a:pt x="343678" y="119088"/>
                    </a:lnTo>
                    <a:lnTo>
                      <a:pt x="341759" y="114983"/>
                    </a:lnTo>
                    <a:lnTo>
                      <a:pt x="341954" y="111195"/>
                    </a:lnTo>
                    <a:lnTo>
                      <a:pt x="343454" y="107422"/>
                    </a:lnTo>
                    <a:lnTo>
                      <a:pt x="345447" y="103461"/>
                    </a:lnTo>
                    <a:lnTo>
                      <a:pt x="345691" y="101524"/>
                    </a:lnTo>
                    <a:lnTo>
                      <a:pt x="345511" y="99001"/>
                    </a:lnTo>
                    <a:lnTo>
                      <a:pt x="345542" y="96794"/>
                    </a:lnTo>
                    <a:lnTo>
                      <a:pt x="346323" y="95912"/>
                    </a:lnTo>
                    <a:lnTo>
                      <a:pt x="347828" y="96337"/>
                    </a:lnTo>
                    <a:lnTo>
                      <a:pt x="350443" y="98004"/>
                    </a:lnTo>
                    <a:lnTo>
                      <a:pt x="351672" y="98407"/>
                    </a:lnTo>
                    <a:lnTo>
                      <a:pt x="363100" y="106827"/>
                    </a:lnTo>
                    <a:lnTo>
                      <a:pt x="371479" y="106696"/>
                    </a:lnTo>
                    <a:lnTo>
                      <a:pt x="366029" y="101999"/>
                    </a:lnTo>
                    <a:lnTo>
                      <a:pt x="364199" y="99453"/>
                    </a:lnTo>
                    <a:lnTo>
                      <a:pt x="364893" y="96361"/>
                    </a:lnTo>
                    <a:lnTo>
                      <a:pt x="363609" y="93500"/>
                    </a:lnTo>
                    <a:lnTo>
                      <a:pt x="361738" y="95384"/>
                    </a:lnTo>
                    <a:lnTo>
                      <a:pt x="359710" y="96346"/>
                    </a:lnTo>
                    <a:lnTo>
                      <a:pt x="357570" y="96528"/>
                    </a:lnTo>
                    <a:lnTo>
                      <a:pt x="355330" y="96133"/>
                    </a:lnTo>
                    <a:lnTo>
                      <a:pt x="355401" y="93304"/>
                    </a:lnTo>
                    <a:lnTo>
                      <a:pt x="357385" y="93445"/>
                    </a:lnTo>
                    <a:lnTo>
                      <a:pt x="358006" y="93367"/>
                    </a:lnTo>
                    <a:lnTo>
                      <a:pt x="358070" y="90757"/>
                    </a:lnTo>
                    <a:lnTo>
                      <a:pt x="356725" y="90444"/>
                    </a:lnTo>
                    <a:lnTo>
                      <a:pt x="355895" y="89771"/>
                    </a:lnTo>
                    <a:lnTo>
                      <a:pt x="354038" y="87800"/>
                    </a:lnTo>
                    <a:lnTo>
                      <a:pt x="365283" y="81460"/>
                    </a:lnTo>
                    <a:lnTo>
                      <a:pt x="370142" y="83905"/>
                    </a:lnTo>
                    <a:lnTo>
                      <a:pt x="376031" y="88317"/>
                    </a:lnTo>
                    <a:lnTo>
                      <a:pt x="354519" y="68377"/>
                    </a:lnTo>
                    <a:lnTo>
                      <a:pt x="354675" y="61432"/>
                    </a:lnTo>
                    <a:lnTo>
                      <a:pt x="355147" y="58132"/>
                    </a:lnTo>
                    <a:lnTo>
                      <a:pt x="356750" y="56398"/>
                    </a:lnTo>
                    <a:lnTo>
                      <a:pt x="367491" y="50311"/>
                    </a:lnTo>
                    <a:lnTo>
                      <a:pt x="370524" y="47086"/>
                    </a:lnTo>
                    <a:lnTo>
                      <a:pt x="373015" y="41298"/>
                    </a:lnTo>
                    <a:lnTo>
                      <a:pt x="371668" y="41267"/>
                    </a:lnTo>
                    <a:lnTo>
                      <a:pt x="373395" y="33411"/>
                    </a:lnTo>
                    <a:lnTo>
                      <a:pt x="374300" y="25597"/>
                    </a:lnTo>
                    <a:lnTo>
                      <a:pt x="375773" y="19069"/>
                    </a:lnTo>
                    <a:lnTo>
                      <a:pt x="379203" y="15106"/>
                    </a:lnTo>
                    <a:lnTo>
                      <a:pt x="404689" y="21425"/>
                    </a:lnTo>
                    <a:lnTo>
                      <a:pt x="409314" y="24644"/>
                    </a:lnTo>
                    <a:lnTo>
                      <a:pt x="412768" y="29347"/>
                    </a:lnTo>
                    <a:lnTo>
                      <a:pt x="412758" y="31383"/>
                    </a:lnTo>
                    <a:lnTo>
                      <a:pt x="413657" y="37370"/>
                    </a:lnTo>
                    <a:lnTo>
                      <a:pt x="414760" y="42568"/>
                    </a:lnTo>
                    <a:lnTo>
                      <a:pt x="415352" y="42207"/>
                    </a:lnTo>
                    <a:lnTo>
                      <a:pt x="415111" y="46431"/>
                    </a:lnTo>
                    <a:lnTo>
                      <a:pt x="414516" y="49745"/>
                    </a:lnTo>
                    <a:lnTo>
                      <a:pt x="413580" y="52618"/>
                    </a:lnTo>
                    <a:lnTo>
                      <a:pt x="412231" y="55421"/>
                    </a:lnTo>
                    <a:lnTo>
                      <a:pt x="415946" y="52510"/>
                    </a:lnTo>
                    <a:lnTo>
                      <a:pt x="417608" y="49030"/>
                    </a:lnTo>
                    <a:lnTo>
                      <a:pt x="418067" y="45184"/>
                    </a:lnTo>
                    <a:lnTo>
                      <a:pt x="418101" y="41081"/>
                    </a:lnTo>
                    <a:lnTo>
                      <a:pt x="419089" y="35535"/>
                    </a:lnTo>
                    <a:lnTo>
                      <a:pt x="420864" y="33176"/>
                    </a:lnTo>
                    <a:lnTo>
                      <a:pt x="422012" y="30494"/>
                    </a:lnTo>
                    <a:lnTo>
                      <a:pt x="421159" y="24074"/>
                    </a:lnTo>
                    <a:lnTo>
                      <a:pt x="424615" y="27219"/>
                    </a:lnTo>
                    <a:lnTo>
                      <a:pt x="430598" y="35601"/>
                    </a:lnTo>
                    <a:lnTo>
                      <a:pt x="433890" y="37341"/>
                    </a:lnTo>
                    <a:lnTo>
                      <a:pt x="439404" y="41858"/>
                    </a:lnTo>
                    <a:lnTo>
                      <a:pt x="441952" y="42712"/>
                    </a:lnTo>
                    <a:lnTo>
                      <a:pt x="443997" y="44101"/>
                    </a:lnTo>
                    <a:lnTo>
                      <a:pt x="444085" y="47273"/>
                    </a:lnTo>
                    <a:lnTo>
                      <a:pt x="443234" y="50755"/>
                    </a:lnTo>
                    <a:lnTo>
                      <a:pt x="442377" y="53165"/>
                    </a:lnTo>
                    <a:lnTo>
                      <a:pt x="439982" y="56231"/>
                    </a:lnTo>
                    <a:lnTo>
                      <a:pt x="432775" y="63094"/>
                    </a:lnTo>
                    <a:lnTo>
                      <a:pt x="429007" y="72629"/>
                    </a:lnTo>
                    <a:lnTo>
                      <a:pt x="425045" y="79750"/>
                    </a:lnTo>
                    <a:lnTo>
                      <a:pt x="423055" y="84920"/>
                    </a:lnTo>
                    <a:lnTo>
                      <a:pt x="426777" y="84400"/>
                    </a:lnTo>
                    <a:lnTo>
                      <a:pt x="438915" y="71242"/>
                    </a:lnTo>
                    <a:lnTo>
                      <a:pt x="440837" y="70204"/>
                    </a:lnTo>
                    <a:lnTo>
                      <a:pt x="442263" y="64293"/>
                    </a:lnTo>
                    <a:lnTo>
                      <a:pt x="445578" y="61662"/>
                    </a:lnTo>
                    <a:lnTo>
                      <a:pt x="449617" y="59821"/>
                    </a:lnTo>
                    <a:lnTo>
                      <a:pt x="453337" y="56187"/>
                    </a:lnTo>
                    <a:lnTo>
                      <a:pt x="455661" y="49620"/>
                    </a:lnTo>
                    <a:lnTo>
                      <a:pt x="456965" y="42741"/>
                    </a:lnTo>
                    <a:lnTo>
                      <a:pt x="459086" y="37367"/>
                    </a:lnTo>
                    <a:lnTo>
                      <a:pt x="463989" y="35257"/>
                    </a:lnTo>
                    <a:lnTo>
                      <a:pt x="472540" y="37073"/>
                    </a:lnTo>
                    <a:lnTo>
                      <a:pt x="480850" y="40979"/>
                    </a:lnTo>
                    <a:lnTo>
                      <a:pt x="490508" y="48475"/>
                    </a:lnTo>
                    <a:lnTo>
                      <a:pt x="490466" y="51334"/>
                    </a:lnTo>
                    <a:lnTo>
                      <a:pt x="490169" y="52697"/>
                    </a:lnTo>
                    <a:lnTo>
                      <a:pt x="490004" y="52912"/>
                    </a:lnTo>
                    <a:lnTo>
                      <a:pt x="490385" y="56773"/>
                    </a:lnTo>
                    <a:lnTo>
                      <a:pt x="485624" y="62220"/>
                    </a:lnTo>
                    <a:lnTo>
                      <a:pt x="482560" y="69122"/>
                    </a:lnTo>
                    <a:lnTo>
                      <a:pt x="479861" y="76978"/>
                    </a:lnTo>
                    <a:lnTo>
                      <a:pt x="476191" y="85253"/>
                    </a:lnTo>
                    <a:lnTo>
                      <a:pt x="479666" y="83767"/>
                    </a:lnTo>
                    <a:lnTo>
                      <a:pt x="483103" y="80415"/>
                    </a:lnTo>
                    <a:lnTo>
                      <a:pt x="488674" y="72416"/>
                    </a:lnTo>
                    <a:lnTo>
                      <a:pt x="488932" y="70895"/>
                    </a:lnTo>
                    <a:lnTo>
                      <a:pt x="488708" y="69074"/>
                    </a:lnTo>
                    <a:lnTo>
                      <a:pt x="488681" y="67581"/>
                    </a:lnTo>
                    <a:lnTo>
                      <a:pt x="489503" y="66940"/>
                    </a:lnTo>
                    <a:lnTo>
                      <a:pt x="490355" y="66533"/>
                    </a:lnTo>
                    <a:lnTo>
                      <a:pt x="498584" y="57743"/>
                    </a:lnTo>
                    <a:lnTo>
                      <a:pt x="499189" y="56898"/>
                    </a:lnTo>
                    <a:lnTo>
                      <a:pt x="506953" y="51562"/>
                    </a:lnTo>
                    <a:lnTo>
                      <a:pt x="512346" y="49022"/>
                    </a:lnTo>
                    <a:lnTo>
                      <a:pt x="514346" y="48800"/>
                    </a:lnTo>
                    <a:lnTo>
                      <a:pt x="518282" y="50169"/>
                    </a:lnTo>
                    <a:lnTo>
                      <a:pt x="524169" y="55946"/>
                    </a:lnTo>
                    <a:lnTo>
                      <a:pt x="528661" y="57274"/>
                    </a:lnTo>
                    <a:lnTo>
                      <a:pt x="525861" y="54411"/>
                    </a:lnTo>
                    <a:lnTo>
                      <a:pt x="528025" y="52759"/>
                    </a:lnTo>
                    <a:lnTo>
                      <a:pt x="529238" y="50488"/>
                    </a:lnTo>
                    <a:lnTo>
                      <a:pt x="530173" y="48308"/>
                    </a:lnTo>
                    <a:lnTo>
                      <a:pt x="531521" y="46878"/>
                    </a:lnTo>
                    <a:lnTo>
                      <a:pt x="533781" y="46531"/>
                    </a:lnTo>
                    <a:lnTo>
                      <a:pt x="537533" y="48516"/>
                    </a:lnTo>
                    <a:lnTo>
                      <a:pt x="540278" y="49106"/>
                    </a:lnTo>
                    <a:lnTo>
                      <a:pt x="542044" y="47974"/>
                    </a:lnTo>
                    <a:lnTo>
                      <a:pt x="543624" y="42955"/>
                    </a:lnTo>
                    <a:lnTo>
                      <a:pt x="545876" y="41813"/>
                    </a:lnTo>
                    <a:lnTo>
                      <a:pt x="553477" y="41891"/>
                    </a:lnTo>
                    <a:lnTo>
                      <a:pt x="557642" y="43284"/>
                    </a:lnTo>
                    <a:lnTo>
                      <a:pt x="559393" y="43393"/>
                    </a:lnTo>
                    <a:lnTo>
                      <a:pt x="561646" y="41969"/>
                    </a:lnTo>
                    <a:lnTo>
                      <a:pt x="563408" y="39235"/>
                    </a:lnTo>
                    <a:lnTo>
                      <a:pt x="565998" y="32856"/>
                    </a:lnTo>
                    <a:lnTo>
                      <a:pt x="567809" y="31598"/>
                    </a:lnTo>
                    <a:lnTo>
                      <a:pt x="569637" y="31178"/>
                    </a:lnTo>
                    <a:lnTo>
                      <a:pt x="569956" y="30761"/>
                    </a:lnTo>
                    <a:lnTo>
                      <a:pt x="570191" y="31696"/>
                    </a:lnTo>
                    <a:lnTo>
                      <a:pt x="573824" y="39140"/>
                    </a:lnTo>
                    <a:lnTo>
                      <a:pt x="574910" y="40175"/>
                    </a:lnTo>
                    <a:lnTo>
                      <a:pt x="579371" y="39279"/>
                    </a:lnTo>
                    <a:lnTo>
                      <a:pt x="596432" y="42250"/>
                    </a:lnTo>
                    <a:lnTo>
                      <a:pt x="613517" y="39512"/>
                    </a:lnTo>
                    <a:lnTo>
                      <a:pt x="622144" y="35486"/>
                    </a:lnTo>
                    <a:lnTo>
                      <a:pt x="635857" y="25072"/>
                    </a:lnTo>
                    <a:lnTo>
                      <a:pt x="643526" y="21402"/>
                    </a:lnTo>
                    <a:lnTo>
                      <a:pt x="655942" y="19029"/>
                    </a:lnTo>
                    <a:lnTo>
                      <a:pt x="662323" y="19246"/>
                    </a:lnTo>
                    <a:lnTo>
                      <a:pt x="666879" y="21461"/>
                    </a:lnTo>
                    <a:lnTo>
                      <a:pt x="664906" y="23509"/>
                    </a:lnTo>
                    <a:lnTo>
                      <a:pt x="664152" y="24068"/>
                    </a:lnTo>
                    <a:lnTo>
                      <a:pt x="668966" y="28613"/>
                    </a:lnTo>
                    <a:lnTo>
                      <a:pt x="674550" y="28154"/>
                    </a:lnTo>
                    <a:lnTo>
                      <a:pt x="685905" y="24092"/>
                    </a:lnTo>
                    <a:lnTo>
                      <a:pt x="696966" y="29187"/>
                    </a:lnTo>
                    <a:lnTo>
                      <a:pt x="702421" y="29122"/>
                    </a:lnTo>
                    <a:lnTo>
                      <a:pt x="705054" y="21474"/>
                    </a:lnTo>
                    <a:lnTo>
                      <a:pt x="701684" y="19999"/>
                    </a:lnTo>
                    <a:lnTo>
                      <a:pt x="698037" y="17314"/>
                    </a:lnTo>
                    <a:lnTo>
                      <a:pt x="694813" y="13383"/>
                    </a:lnTo>
                    <a:lnTo>
                      <a:pt x="692691" y="8209"/>
                    </a:lnTo>
                    <a:lnTo>
                      <a:pt x="697236" y="2022"/>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88" name="Freeform 166">
                <a:extLst>
                  <a:ext uri="{FF2B5EF4-FFF2-40B4-BE49-F238E27FC236}">
                    <a16:creationId xmlns:a16="http://schemas.microsoft.com/office/drawing/2014/main" id="{F0BDCDFF-55C2-F8A0-B346-EF52B16EDB70}"/>
                  </a:ext>
                </a:extLst>
              </p:cNvPr>
              <p:cNvSpPr>
                <a:spLocks noChangeAspect="1"/>
              </p:cNvSpPr>
              <p:nvPr>
                <p:custDataLst>
                  <p:tags r:id="rId124"/>
                </p:custDataLst>
              </p:nvPr>
            </p:nvSpPr>
            <p:spPr>
              <a:xfrm>
                <a:off x="3801818" y="3171773"/>
                <a:ext cx="499517" cy="524369"/>
              </a:xfrm>
              <a:custGeom>
                <a:avLst/>
                <a:gdLst/>
                <a:ahLst/>
                <a:cxnLst/>
                <a:rect l="l" t="t" r="r" b="b"/>
                <a:pathLst>
                  <a:path w="512870" h="538386">
                    <a:moveTo>
                      <a:pt x="354182" y="378298"/>
                    </a:moveTo>
                    <a:lnTo>
                      <a:pt x="355932" y="378718"/>
                    </a:lnTo>
                    <a:lnTo>
                      <a:pt x="369705" y="386152"/>
                    </a:lnTo>
                    <a:lnTo>
                      <a:pt x="373415" y="389853"/>
                    </a:lnTo>
                    <a:lnTo>
                      <a:pt x="377687" y="397099"/>
                    </a:lnTo>
                    <a:lnTo>
                      <a:pt x="380501" y="405288"/>
                    </a:lnTo>
                    <a:lnTo>
                      <a:pt x="384353" y="424280"/>
                    </a:lnTo>
                    <a:lnTo>
                      <a:pt x="381750" y="429381"/>
                    </a:lnTo>
                    <a:lnTo>
                      <a:pt x="390844" y="439337"/>
                    </a:lnTo>
                    <a:lnTo>
                      <a:pt x="391149" y="447914"/>
                    </a:lnTo>
                    <a:lnTo>
                      <a:pt x="388998" y="449169"/>
                    </a:lnTo>
                    <a:lnTo>
                      <a:pt x="385891" y="449203"/>
                    </a:lnTo>
                    <a:lnTo>
                      <a:pt x="383871" y="450491"/>
                    </a:lnTo>
                    <a:lnTo>
                      <a:pt x="384934" y="455603"/>
                    </a:lnTo>
                    <a:lnTo>
                      <a:pt x="386668" y="457061"/>
                    </a:lnTo>
                    <a:lnTo>
                      <a:pt x="395390" y="461313"/>
                    </a:lnTo>
                    <a:lnTo>
                      <a:pt x="390502" y="464603"/>
                    </a:lnTo>
                    <a:lnTo>
                      <a:pt x="390805" y="469635"/>
                    </a:lnTo>
                    <a:lnTo>
                      <a:pt x="392882" y="475656"/>
                    </a:lnTo>
                    <a:lnTo>
                      <a:pt x="393289" y="481918"/>
                    </a:lnTo>
                    <a:lnTo>
                      <a:pt x="390217" y="485360"/>
                    </a:lnTo>
                    <a:lnTo>
                      <a:pt x="384578" y="487650"/>
                    </a:lnTo>
                    <a:lnTo>
                      <a:pt x="374612" y="489272"/>
                    </a:lnTo>
                    <a:lnTo>
                      <a:pt x="362984" y="487797"/>
                    </a:lnTo>
                    <a:lnTo>
                      <a:pt x="353167" y="484010"/>
                    </a:lnTo>
                    <a:lnTo>
                      <a:pt x="344312" y="478066"/>
                    </a:lnTo>
                    <a:lnTo>
                      <a:pt x="335646" y="469991"/>
                    </a:lnTo>
                    <a:lnTo>
                      <a:pt x="335717" y="467394"/>
                    </a:lnTo>
                    <a:lnTo>
                      <a:pt x="335681" y="464873"/>
                    </a:lnTo>
                    <a:lnTo>
                      <a:pt x="333985" y="454560"/>
                    </a:lnTo>
                    <a:lnTo>
                      <a:pt x="333194" y="451645"/>
                    </a:lnTo>
                    <a:lnTo>
                      <a:pt x="333267" y="449034"/>
                    </a:lnTo>
                    <a:lnTo>
                      <a:pt x="334401" y="448117"/>
                    </a:lnTo>
                    <a:lnTo>
                      <a:pt x="334850" y="447164"/>
                    </a:lnTo>
                    <a:lnTo>
                      <a:pt x="335288" y="445963"/>
                    </a:lnTo>
                    <a:lnTo>
                      <a:pt x="336359" y="444158"/>
                    </a:lnTo>
                    <a:lnTo>
                      <a:pt x="331227" y="436378"/>
                    </a:lnTo>
                    <a:lnTo>
                      <a:pt x="327418" y="428634"/>
                    </a:lnTo>
                    <a:lnTo>
                      <a:pt x="325780" y="419425"/>
                    </a:lnTo>
                    <a:lnTo>
                      <a:pt x="327201" y="407099"/>
                    </a:lnTo>
                    <a:lnTo>
                      <a:pt x="330344" y="398944"/>
                    </a:lnTo>
                    <a:lnTo>
                      <a:pt x="335779" y="390882"/>
                    </a:lnTo>
                    <a:lnTo>
                      <a:pt x="342589" y="385173"/>
                    </a:lnTo>
                    <a:lnTo>
                      <a:pt x="349903" y="384017"/>
                    </a:lnTo>
                    <a:lnTo>
                      <a:pt x="349491" y="382700"/>
                    </a:lnTo>
                    <a:lnTo>
                      <a:pt x="349017" y="379840"/>
                    </a:lnTo>
                    <a:lnTo>
                      <a:pt x="348579" y="378522"/>
                    </a:lnTo>
                    <a:close/>
                    <a:moveTo>
                      <a:pt x="378542" y="303613"/>
                    </a:moveTo>
                    <a:lnTo>
                      <a:pt x="385021" y="309466"/>
                    </a:lnTo>
                    <a:lnTo>
                      <a:pt x="391360" y="316978"/>
                    </a:lnTo>
                    <a:lnTo>
                      <a:pt x="393266" y="318237"/>
                    </a:lnTo>
                    <a:lnTo>
                      <a:pt x="395158" y="318623"/>
                    </a:lnTo>
                    <a:lnTo>
                      <a:pt x="396569" y="319823"/>
                    </a:lnTo>
                    <a:lnTo>
                      <a:pt x="397592" y="328511"/>
                    </a:lnTo>
                    <a:lnTo>
                      <a:pt x="399084" y="330381"/>
                    </a:lnTo>
                    <a:lnTo>
                      <a:pt x="401039" y="331173"/>
                    </a:lnTo>
                    <a:lnTo>
                      <a:pt x="402832" y="332895"/>
                    </a:lnTo>
                    <a:lnTo>
                      <a:pt x="405331" y="338055"/>
                    </a:lnTo>
                    <a:lnTo>
                      <a:pt x="407180" y="343121"/>
                    </a:lnTo>
                    <a:lnTo>
                      <a:pt x="408579" y="348378"/>
                    </a:lnTo>
                    <a:lnTo>
                      <a:pt x="410535" y="360321"/>
                    </a:lnTo>
                    <a:lnTo>
                      <a:pt x="410202" y="362646"/>
                    </a:lnTo>
                    <a:lnTo>
                      <a:pt x="408775" y="364605"/>
                    </a:lnTo>
                    <a:lnTo>
                      <a:pt x="406380" y="369776"/>
                    </a:lnTo>
                    <a:lnTo>
                      <a:pt x="408653" y="371429"/>
                    </a:lnTo>
                    <a:lnTo>
                      <a:pt x="410240" y="374374"/>
                    </a:lnTo>
                    <a:lnTo>
                      <a:pt x="410587" y="377585"/>
                    </a:lnTo>
                    <a:lnTo>
                      <a:pt x="409069" y="380023"/>
                    </a:lnTo>
                    <a:lnTo>
                      <a:pt x="406359" y="379775"/>
                    </a:lnTo>
                    <a:lnTo>
                      <a:pt x="404352" y="376462"/>
                    </a:lnTo>
                    <a:lnTo>
                      <a:pt x="401971" y="369674"/>
                    </a:lnTo>
                    <a:lnTo>
                      <a:pt x="388254" y="356018"/>
                    </a:lnTo>
                    <a:lnTo>
                      <a:pt x="386181" y="349607"/>
                    </a:lnTo>
                    <a:lnTo>
                      <a:pt x="383956" y="338836"/>
                    </a:lnTo>
                    <a:lnTo>
                      <a:pt x="383632" y="333882"/>
                    </a:lnTo>
                    <a:lnTo>
                      <a:pt x="376343" y="328584"/>
                    </a:lnTo>
                    <a:lnTo>
                      <a:pt x="375036" y="325721"/>
                    </a:lnTo>
                    <a:lnTo>
                      <a:pt x="373484" y="319817"/>
                    </a:lnTo>
                    <a:lnTo>
                      <a:pt x="371039" y="313115"/>
                    </a:lnTo>
                    <a:lnTo>
                      <a:pt x="371461" y="307167"/>
                    </a:lnTo>
                    <a:close/>
                    <a:moveTo>
                      <a:pt x="170581" y="289124"/>
                    </a:moveTo>
                    <a:lnTo>
                      <a:pt x="172692" y="289953"/>
                    </a:lnTo>
                    <a:lnTo>
                      <a:pt x="174009" y="291498"/>
                    </a:lnTo>
                    <a:lnTo>
                      <a:pt x="174658" y="293843"/>
                    </a:lnTo>
                    <a:lnTo>
                      <a:pt x="174940" y="310161"/>
                    </a:lnTo>
                    <a:lnTo>
                      <a:pt x="177032" y="331482"/>
                    </a:lnTo>
                    <a:lnTo>
                      <a:pt x="177258" y="343053"/>
                    </a:lnTo>
                    <a:lnTo>
                      <a:pt x="178441" y="346661"/>
                    </a:lnTo>
                    <a:lnTo>
                      <a:pt x="181296" y="350677"/>
                    </a:lnTo>
                    <a:lnTo>
                      <a:pt x="184429" y="353891"/>
                    </a:lnTo>
                    <a:lnTo>
                      <a:pt x="186398" y="355258"/>
                    </a:lnTo>
                    <a:lnTo>
                      <a:pt x="187368" y="356695"/>
                    </a:lnTo>
                    <a:lnTo>
                      <a:pt x="186706" y="359845"/>
                    </a:lnTo>
                    <a:lnTo>
                      <a:pt x="185594" y="363318"/>
                    </a:lnTo>
                    <a:lnTo>
                      <a:pt x="185208" y="365638"/>
                    </a:lnTo>
                    <a:lnTo>
                      <a:pt x="186214" y="367762"/>
                    </a:lnTo>
                    <a:lnTo>
                      <a:pt x="187577" y="369244"/>
                    </a:lnTo>
                    <a:lnTo>
                      <a:pt x="191003" y="371084"/>
                    </a:lnTo>
                    <a:lnTo>
                      <a:pt x="190324" y="375416"/>
                    </a:lnTo>
                    <a:lnTo>
                      <a:pt x="190257" y="379739"/>
                    </a:lnTo>
                    <a:lnTo>
                      <a:pt x="190769" y="383632"/>
                    </a:lnTo>
                    <a:lnTo>
                      <a:pt x="191897" y="386771"/>
                    </a:lnTo>
                    <a:lnTo>
                      <a:pt x="191807" y="389165"/>
                    </a:lnTo>
                    <a:lnTo>
                      <a:pt x="189200" y="390375"/>
                    </a:lnTo>
                    <a:lnTo>
                      <a:pt x="186915" y="391890"/>
                    </a:lnTo>
                    <a:lnTo>
                      <a:pt x="185130" y="394080"/>
                    </a:lnTo>
                    <a:lnTo>
                      <a:pt x="184012" y="397182"/>
                    </a:lnTo>
                    <a:lnTo>
                      <a:pt x="182789" y="394272"/>
                    </a:lnTo>
                    <a:lnTo>
                      <a:pt x="178689" y="400061"/>
                    </a:lnTo>
                    <a:lnTo>
                      <a:pt x="173553" y="404407"/>
                    </a:lnTo>
                    <a:lnTo>
                      <a:pt x="167728" y="407389"/>
                    </a:lnTo>
                    <a:lnTo>
                      <a:pt x="161591" y="409125"/>
                    </a:lnTo>
                    <a:lnTo>
                      <a:pt x="152485" y="407271"/>
                    </a:lnTo>
                    <a:lnTo>
                      <a:pt x="149671" y="408653"/>
                    </a:lnTo>
                    <a:lnTo>
                      <a:pt x="147742" y="416652"/>
                    </a:lnTo>
                    <a:lnTo>
                      <a:pt x="146780" y="418061"/>
                    </a:lnTo>
                    <a:lnTo>
                      <a:pt x="144614" y="420324"/>
                    </a:lnTo>
                    <a:lnTo>
                      <a:pt x="138971" y="424608"/>
                    </a:lnTo>
                    <a:lnTo>
                      <a:pt x="133390" y="426435"/>
                    </a:lnTo>
                    <a:lnTo>
                      <a:pt x="128320" y="424390"/>
                    </a:lnTo>
                    <a:lnTo>
                      <a:pt x="125655" y="415750"/>
                    </a:lnTo>
                    <a:lnTo>
                      <a:pt x="127297" y="407134"/>
                    </a:lnTo>
                    <a:lnTo>
                      <a:pt x="132214" y="401891"/>
                    </a:lnTo>
                    <a:lnTo>
                      <a:pt x="144173" y="395625"/>
                    </a:lnTo>
                    <a:lnTo>
                      <a:pt x="140081" y="381934"/>
                    </a:lnTo>
                    <a:lnTo>
                      <a:pt x="137570" y="378579"/>
                    </a:lnTo>
                    <a:lnTo>
                      <a:pt x="129212" y="374002"/>
                    </a:lnTo>
                    <a:lnTo>
                      <a:pt x="127406" y="373802"/>
                    </a:lnTo>
                    <a:lnTo>
                      <a:pt x="128604" y="366942"/>
                    </a:lnTo>
                    <a:lnTo>
                      <a:pt x="134361" y="360130"/>
                    </a:lnTo>
                    <a:lnTo>
                      <a:pt x="144531" y="351006"/>
                    </a:lnTo>
                    <a:lnTo>
                      <a:pt x="139945" y="348453"/>
                    </a:lnTo>
                    <a:lnTo>
                      <a:pt x="133839" y="347145"/>
                    </a:lnTo>
                    <a:lnTo>
                      <a:pt x="127727" y="347903"/>
                    </a:lnTo>
                    <a:lnTo>
                      <a:pt x="123212" y="351434"/>
                    </a:lnTo>
                    <a:lnTo>
                      <a:pt x="117599" y="364473"/>
                    </a:lnTo>
                    <a:lnTo>
                      <a:pt x="114315" y="370607"/>
                    </a:lnTo>
                    <a:lnTo>
                      <a:pt x="107230" y="375160"/>
                    </a:lnTo>
                    <a:lnTo>
                      <a:pt x="99954" y="385196"/>
                    </a:lnTo>
                    <a:lnTo>
                      <a:pt x="97096" y="388169"/>
                    </a:lnTo>
                    <a:lnTo>
                      <a:pt x="91026" y="388915"/>
                    </a:lnTo>
                    <a:lnTo>
                      <a:pt x="88480" y="385161"/>
                    </a:lnTo>
                    <a:lnTo>
                      <a:pt x="88993" y="378942"/>
                    </a:lnTo>
                    <a:lnTo>
                      <a:pt x="92040" y="372289"/>
                    </a:lnTo>
                    <a:lnTo>
                      <a:pt x="90986" y="371543"/>
                    </a:lnTo>
                    <a:lnTo>
                      <a:pt x="90212" y="370014"/>
                    </a:lnTo>
                    <a:lnTo>
                      <a:pt x="89104" y="369312"/>
                    </a:lnTo>
                    <a:lnTo>
                      <a:pt x="91672" y="363153"/>
                    </a:lnTo>
                    <a:lnTo>
                      <a:pt x="101881" y="349218"/>
                    </a:lnTo>
                    <a:lnTo>
                      <a:pt x="94912" y="343698"/>
                    </a:lnTo>
                    <a:lnTo>
                      <a:pt x="97832" y="341351"/>
                    </a:lnTo>
                    <a:lnTo>
                      <a:pt x="99709" y="339037"/>
                    </a:lnTo>
                    <a:lnTo>
                      <a:pt x="100757" y="335471"/>
                    </a:lnTo>
                    <a:lnTo>
                      <a:pt x="101272" y="329486"/>
                    </a:lnTo>
                    <a:lnTo>
                      <a:pt x="102057" y="324726"/>
                    </a:lnTo>
                    <a:lnTo>
                      <a:pt x="103811" y="321766"/>
                    </a:lnTo>
                    <a:lnTo>
                      <a:pt x="111797" y="316461"/>
                    </a:lnTo>
                    <a:lnTo>
                      <a:pt x="123718" y="311676"/>
                    </a:lnTo>
                    <a:lnTo>
                      <a:pt x="126374" y="308923"/>
                    </a:lnTo>
                    <a:lnTo>
                      <a:pt x="128868" y="307097"/>
                    </a:lnTo>
                    <a:lnTo>
                      <a:pt x="131603" y="308457"/>
                    </a:lnTo>
                    <a:lnTo>
                      <a:pt x="129882" y="310813"/>
                    </a:lnTo>
                    <a:lnTo>
                      <a:pt x="126795" y="321531"/>
                    </a:lnTo>
                    <a:lnTo>
                      <a:pt x="126695" y="323908"/>
                    </a:lnTo>
                    <a:lnTo>
                      <a:pt x="128013" y="330826"/>
                    </a:lnTo>
                    <a:lnTo>
                      <a:pt x="129502" y="333689"/>
                    </a:lnTo>
                    <a:lnTo>
                      <a:pt x="132113" y="334592"/>
                    </a:lnTo>
                    <a:lnTo>
                      <a:pt x="132221" y="331981"/>
                    </a:lnTo>
                    <a:lnTo>
                      <a:pt x="130920" y="324411"/>
                    </a:lnTo>
                    <a:lnTo>
                      <a:pt x="135868" y="316103"/>
                    </a:lnTo>
                    <a:lnTo>
                      <a:pt x="143048" y="309425"/>
                    </a:lnTo>
                    <a:lnTo>
                      <a:pt x="150881" y="305197"/>
                    </a:lnTo>
                    <a:lnTo>
                      <a:pt x="156490" y="298046"/>
                    </a:lnTo>
                    <a:lnTo>
                      <a:pt x="159306" y="296524"/>
                    </a:lnTo>
                    <a:lnTo>
                      <a:pt x="162386" y="295791"/>
                    </a:lnTo>
                    <a:lnTo>
                      <a:pt x="165662" y="293865"/>
                    </a:lnTo>
                    <a:lnTo>
                      <a:pt x="168575" y="291396"/>
                    </a:lnTo>
                    <a:close/>
                    <a:moveTo>
                      <a:pt x="171355" y="218943"/>
                    </a:moveTo>
                    <a:lnTo>
                      <a:pt x="173776" y="219130"/>
                    </a:lnTo>
                    <a:lnTo>
                      <a:pt x="174583" y="223783"/>
                    </a:lnTo>
                    <a:lnTo>
                      <a:pt x="167243" y="235400"/>
                    </a:lnTo>
                    <a:lnTo>
                      <a:pt x="164486" y="242948"/>
                    </a:lnTo>
                    <a:lnTo>
                      <a:pt x="164824" y="249731"/>
                    </a:lnTo>
                    <a:lnTo>
                      <a:pt x="160426" y="252794"/>
                    </a:lnTo>
                    <a:lnTo>
                      <a:pt x="154524" y="254269"/>
                    </a:lnTo>
                    <a:lnTo>
                      <a:pt x="148664" y="253846"/>
                    </a:lnTo>
                    <a:lnTo>
                      <a:pt x="144344" y="251289"/>
                    </a:lnTo>
                    <a:lnTo>
                      <a:pt x="147778" y="248721"/>
                    </a:lnTo>
                    <a:lnTo>
                      <a:pt x="149554" y="244390"/>
                    </a:lnTo>
                    <a:lnTo>
                      <a:pt x="150854" y="239338"/>
                    </a:lnTo>
                    <a:lnTo>
                      <a:pt x="152967" y="234785"/>
                    </a:lnTo>
                    <a:lnTo>
                      <a:pt x="157659" y="229092"/>
                    </a:lnTo>
                    <a:lnTo>
                      <a:pt x="159030" y="226952"/>
                    </a:lnTo>
                    <a:lnTo>
                      <a:pt x="160678" y="225664"/>
                    </a:lnTo>
                    <a:lnTo>
                      <a:pt x="163949" y="227194"/>
                    </a:lnTo>
                    <a:lnTo>
                      <a:pt x="165774" y="225805"/>
                    </a:lnTo>
                    <a:lnTo>
                      <a:pt x="165174" y="224318"/>
                    </a:lnTo>
                    <a:lnTo>
                      <a:pt x="164869" y="223279"/>
                    </a:lnTo>
                    <a:lnTo>
                      <a:pt x="164379" y="220769"/>
                    </a:lnTo>
                    <a:lnTo>
                      <a:pt x="167984" y="220397"/>
                    </a:lnTo>
                    <a:close/>
                    <a:moveTo>
                      <a:pt x="263972" y="211495"/>
                    </a:moveTo>
                    <a:lnTo>
                      <a:pt x="268461" y="213835"/>
                    </a:lnTo>
                    <a:lnTo>
                      <a:pt x="269121" y="217513"/>
                    </a:lnTo>
                    <a:lnTo>
                      <a:pt x="269556" y="222785"/>
                    </a:lnTo>
                    <a:lnTo>
                      <a:pt x="269115" y="227484"/>
                    </a:lnTo>
                    <a:lnTo>
                      <a:pt x="265652" y="230717"/>
                    </a:lnTo>
                    <a:lnTo>
                      <a:pt x="262257" y="236300"/>
                    </a:lnTo>
                    <a:lnTo>
                      <a:pt x="257826" y="240601"/>
                    </a:lnTo>
                    <a:lnTo>
                      <a:pt x="248585" y="261607"/>
                    </a:lnTo>
                    <a:lnTo>
                      <a:pt x="229327" y="296884"/>
                    </a:lnTo>
                    <a:lnTo>
                      <a:pt x="224110" y="312010"/>
                    </a:lnTo>
                    <a:lnTo>
                      <a:pt x="221891" y="311091"/>
                    </a:lnTo>
                    <a:lnTo>
                      <a:pt x="216360" y="317630"/>
                    </a:lnTo>
                    <a:lnTo>
                      <a:pt x="212734" y="319414"/>
                    </a:lnTo>
                    <a:lnTo>
                      <a:pt x="211067" y="322294"/>
                    </a:lnTo>
                    <a:lnTo>
                      <a:pt x="208394" y="336933"/>
                    </a:lnTo>
                    <a:lnTo>
                      <a:pt x="206749" y="342723"/>
                    </a:lnTo>
                    <a:lnTo>
                      <a:pt x="201140" y="346392"/>
                    </a:lnTo>
                    <a:lnTo>
                      <a:pt x="192776" y="345522"/>
                    </a:lnTo>
                    <a:lnTo>
                      <a:pt x="185284" y="340122"/>
                    </a:lnTo>
                    <a:lnTo>
                      <a:pt x="182286" y="330282"/>
                    </a:lnTo>
                    <a:lnTo>
                      <a:pt x="181105" y="311860"/>
                    </a:lnTo>
                    <a:lnTo>
                      <a:pt x="181778" y="305242"/>
                    </a:lnTo>
                    <a:lnTo>
                      <a:pt x="184096" y="299354"/>
                    </a:lnTo>
                    <a:lnTo>
                      <a:pt x="187410" y="296819"/>
                    </a:lnTo>
                    <a:lnTo>
                      <a:pt x="191131" y="295031"/>
                    </a:lnTo>
                    <a:lnTo>
                      <a:pt x="194729" y="291352"/>
                    </a:lnTo>
                    <a:lnTo>
                      <a:pt x="201242" y="286319"/>
                    </a:lnTo>
                    <a:lnTo>
                      <a:pt x="218116" y="283618"/>
                    </a:lnTo>
                    <a:lnTo>
                      <a:pt x="225323" y="277853"/>
                    </a:lnTo>
                    <a:lnTo>
                      <a:pt x="220267" y="277534"/>
                    </a:lnTo>
                    <a:lnTo>
                      <a:pt x="212318" y="279489"/>
                    </a:lnTo>
                    <a:lnTo>
                      <a:pt x="205074" y="279505"/>
                    </a:lnTo>
                    <a:lnTo>
                      <a:pt x="202120" y="273235"/>
                    </a:lnTo>
                    <a:lnTo>
                      <a:pt x="205075" y="264615"/>
                    </a:lnTo>
                    <a:lnTo>
                      <a:pt x="211430" y="254951"/>
                    </a:lnTo>
                    <a:lnTo>
                      <a:pt x="218285" y="247076"/>
                    </a:lnTo>
                    <a:lnTo>
                      <a:pt x="222770" y="243845"/>
                    </a:lnTo>
                    <a:lnTo>
                      <a:pt x="229296" y="242053"/>
                    </a:lnTo>
                    <a:lnTo>
                      <a:pt x="246071" y="226391"/>
                    </a:lnTo>
                    <a:lnTo>
                      <a:pt x="257326" y="215631"/>
                    </a:lnTo>
                    <a:close/>
                    <a:moveTo>
                      <a:pt x="270460" y="193008"/>
                    </a:moveTo>
                    <a:lnTo>
                      <a:pt x="271940" y="195919"/>
                    </a:lnTo>
                    <a:lnTo>
                      <a:pt x="273285" y="201936"/>
                    </a:lnTo>
                    <a:lnTo>
                      <a:pt x="268788" y="205741"/>
                    </a:lnTo>
                    <a:lnTo>
                      <a:pt x="262122" y="207732"/>
                    </a:lnTo>
                    <a:lnTo>
                      <a:pt x="257011" y="208230"/>
                    </a:lnTo>
                    <a:lnTo>
                      <a:pt x="259514" y="202045"/>
                    </a:lnTo>
                    <a:lnTo>
                      <a:pt x="263061" y="198490"/>
                    </a:lnTo>
                    <a:close/>
                    <a:moveTo>
                      <a:pt x="282932" y="169917"/>
                    </a:moveTo>
                    <a:lnTo>
                      <a:pt x="284011" y="171290"/>
                    </a:lnTo>
                    <a:lnTo>
                      <a:pt x="285018" y="172223"/>
                    </a:lnTo>
                    <a:lnTo>
                      <a:pt x="286069" y="172070"/>
                    </a:lnTo>
                    <a:lnTo>
                      <a:pt x="287282" y="170054"/>
                    </a:lnTo>
                    <a:lnTo>
                      <a:pt x="287543" y="175446"/>
                    </a:lnTo>
                    <a:lnTo>
                      <a:pt x="285763" y="180881"/>
                    </a:lnTo>
                    <a:lnTo>
                      <a:pt x="283462" y="186362"/>
                    </a:lnTo>
                    <a:lnTo>
                      <a:pt x="281110" y="198234"/>
                    </a:lnTo>
                    <a:lnTo>
                      <a:pt x="279031" y="195835"/>
                    </a:lnTo>
                    <a:lnTo>
                      <a:pt x="275312" y="185355"/>
                    </a:lnTo>
                    <a:lnTo>
                      <a:pt x="277607" y="181788"/>
                    </a:lnTo>
                    <a:lnTo>
                      <a:pt x="280249" y="172725"/>
                    </a:lnTo>
                    <a:close/>
                    <a:moveTo>
                      <a:pt x="293961" y="146525"/>
                    </a:moveTo>
                    <a:lnTo>
                      <a:pt x="292586" y="151056"/>
                    </a:lnTo>
                    <a:lnTo>
                      <a:pt x="290471" y="154100"/>
                    </a:lnTo>
                    <a:lnTo>
                      <a:pt x="289230" y="157328"/>
                    </a:lnTo>
                    <a:lnTo>
                      <a:pt x="290418" y="162344"/>
                    </a:lnTo>
                    <a:lnTo>
                      <a:pt x="285510" y="165192"/>
                    </a:lnTo>
                    <a:lnTo>
                      <a:pt x="281649" y="162503"/>
                    </a:lnTo>
                    <a:lnTo>
                      <a:pt x="280482" y="156352"/>
                    </a:lnTo>
                    <a:lnTo>
                      <a:pt x="283606" y="148813"/>
                    </a:lnTo>
                    <a:lnTo>
                      <a:pt x="286292" y="146814"/>
                    </a:lnTo>
                    <a:lnTo>
                      <a:pt x="291107" y="147867"/>
                    </a:lnTo>
                    <a:close/>
                    <a:moveTo>
                      <a:pt x="312397" y="110562"/>
                    </a:moveTo>
                    <a:lnTo>
                      <a:pt x="308965" y="117054"/>
                    </a:lnTo>
                    <a:lnTo>
                      <a:pt x="304994" y="121383"/>
                    </a:lnTo>
                    <a:lnTo>
                      <a:pt x="300323" y="123450"/>
                    </a:lnTo>
                    <a:lnTo>
                      <a:pt x="294695" y="123058"/>
                    </a:lnTo>
                    <a:lnTo>
                      <a:pt x="295822" y="119500"/>
                    </a:lnTo>
                    <a:lnTo>
                      <a:pt x="297138" y="117067"/>
                    </a:lnTo>
                    <a:lnTo>
                      <a:pt x="300652" y="112820"/>
                    </a:lnTo>
                    <a:lnTo>
                      <a:pt x="307289" y="113302"/>
                    </a:lnTo>
                    <a:lnTo>
                      <a:pt x="310302" y="112677"/>
                    </a:lnTo>
                    <a:close/>
                    <a:moveTo>
                      <a:pt x="163168" y="73792"/>
                    </a:moveTo>
                    <a:lnTo>
                      <a:pt x="166104" y="77238"/>
                    </a:lnTo>
                    <a:lnTo>
                      <a:pt x="172258" y="82757"/>
                    </a:lnTo>
                    <a:lnTo>
                      <a:pt x="174304" y="87273"/>
                    </a:lnTo>
                    <a:lnTo>
                      <a:pt x="163216" y="87487"/>
                    </a:lnTo>
                    <a:lnTo>
                      <a:pt x="157981" y="86435"/>
                    </a:lnTo>
                    <a:lnTo>
                      <a:pt x="152662" y="81178"/>
                    </a:lnTo>
                    <a:lnTo>
                      <a:pt x="155009" y="77585"/>
                    </a:lnTo>
                    <a:lnTo>
                      <a:pt x="157472" y="75117"/>
                    </a:lnTo>
                    <a:lnTo>
                      <a:pt x="160154" y="73794"/>
                    </a:lnTo>
                    <a:close/>
                    <a:moveTo>
                      <a:pt x="47734" y="51520"/>
                    </a:moveTo>
                    <a:lnTo>
                      <a:pt x="53054" y="52055"/>
                    </a:lnTo>
                    <a:lnTo>
                      <a:pt x="55387" y="58859"/>
                    </a:lnTo>
                    <a:lnTo>
                      <a:pt x="52194" y="63502"/>
                    </a:lnTo>
                    <a:lnTo>
                      <a:pt x="39376" y="64488"/>
                    </a:lnTo>
                    <a:lnTo>
                      <a:pt x="38694" y="70853"/>
                    </a:lnTo>
                    <a:lnTo>
                      <a:pt x="34313" y="74315"/>
                    </a:lnTo>
                    <a:lnTo>
                      <a:pt x="29585" y="75031"/>
                    </a:lnTo>
                    <a:lnTo>
                      <a:pt x="24942" y="76779"/>
                    </a:lnTo>
                    <a:lnTo>
                      <a:pt x="20765" y="83282"/>
                    </a:lnTo>
                    <a:lnTo>
                      <a:pt x="21676" y="90147"/>
                    </a:lnTo>
                    <a:lnTo>
                      <a:pt x="17263" y="90129"/>
                    </a:lnTo>
                    <a:lnTo>
                      <a:pt x="4343" y="83312"/>
                    </a:lnTo>
                    <a:lnTo>
                      <a:pt x="2719" y="78776"/>
                    </a:lnTo>
                    <a:lnTo>
                      <a:pt x="1817" y="72751"/>
                    </a:lnTo>
                    <a:lnTo>
                      <a:pt x="0" y="66337"/>
                    </a:lnTo>
                    <a:lnTo>
                      <a:pt x="4719" y="63963"/>
                    </a:lnTo>
                    <a:lnTo>
                      <a:pt x="19077" y="62320"/>
                    </a:lnTo>
                    <a:lnTo>
                      <a:pt x="23886" y="60785"/>
                    </a:lnTo>
                    <a:lnTo>
                      <a:pt x="31919" y="56044"/>
                    </a:lnTo>
                    <a:lnTo>
                      <a:pt x="36721" y="55097"/>
                    </a:lnTo>
                    <a:close/>
                    <a:moveTo>
                      <a:pt x="436573" y="22667"/>
                    </a:moveTo>
                    <a:lnTo>
                      <a:pt x="441255" y="23537"/>
                    </a:lnTo>
                    <a:lnTo>
                      <a:pt x="442612" y="23783"/>
                    </a:lnTo>
                    <a:lnTo>
                      <a:pt x="442939" y="23978"/>
                    </a:lnTo>
                    <a:lnTo>
                      <a:pt x="449161" y="27811"/>
                    </a:lnTo>
                    <a:lnTo>
                      <a:pt x="464581" y="25377"/>
                    </a:lnTo>
                    <a:lnTo>
                      <a:pt x="470495" y="28928"/>
                    </a:lnTo>
                    <a:lnTo>
                      <a:pt x="471553" y="29560"/>
                    </a:lnTo>
                    <a:lnTo>
                      <a:pt x="481192" y="30393"/>
                    </a:lnTo>
                    <a:lnTo>
                      <a:pt x="481750" y="30443"/>
                    </a:lnTo>
                    <a:lnTo>
                      <a:pt x="489446" y="31255"/>
                    </a:lnTo>
                    <a:lnTo>
                      <a:pt x="497565" y="27586"/>
                    </a:lnTo>
                    <a:lnTo>
                      <a:pt x="500285" y="28798"/>
                    </a:lnTo>
                    <a:lnTo>
                      <a:pt x="500825" y="34613"/>
                    </a:lnTo>
                    <a:lnTo>
                      <a:pt x="498445" y="37475"/>
                    </a:lnTo>
                    <a:lnTo>
                      <a:pt x="498481" y="41939"/>
                    </a:lnTo>
                    <a:lnTo>
                      <a:pt x="504133" y="43527"/>
                    </a:lnTo>
                    <a:lnTo>
                      <a:pt x="505280" y="43852"/>
                    </a:lnTo>
                    <a:lnTo>
                      <a:pt x="507734" y="48494"/>
                    </a:lnTo>
                    <a:lnTo>
                      <a:pt x="512870" y="58216"/>
                    </a:lnTo>
                    <a:lnTo>
                      <a:pt x="511608" y="60525"/>
                    </a:lnTo>
                    <a:lnTo>
                      <a:pt x="509341" y="59106"/>
                    </a:lnTo>
                    <a:lnTo>
                      <a:pt x="505125" y="56489"/>
                    </a:lnTo>
                    <a:lnTo>
                      <a:pt x="484416" y="66206"/>
                    </a:lnTo>
                    <a:lnTo>
                      <a:pt x="484227" y="67003"/>
                    </a:lnTo>
                    <a:lnTo>
                      <a:pt x="484038" y="67790"/>
                    </a:lnTo>
                    <a:lnTo>
                      <a:pt x="485401" y="70045"/>
                    </a:lnTo>
                    <a:lnTo>
                      <a:pt x="491059" y="71531"/>
                    </a:lnTo>
                    <a:lnTo>
                      <a:pt x="492684" y="73593"/>
                    </a:lnTo>
                    <a:lnTo>
                      <a:pt x="493349" y="74454"/>
                    </a:lnTo>
                    <a:lnTo>
                      <a:pt x="493412" y="77377"/>
                    </a:lnTo>
                    <a:lnTo>
                      <a:pt x="487486" y="87798"/>
                    </a:lnTo>
                    <a:lnTo>
                      <a:pt x="487545" y="90890"/>
                    </a:lnTo>
                    <a:lnTo>
                      <a:pt x="490019" y="93689"/>
                    </a:lnTo>
                    <a:lnTo>
                      <a:pt x="495157" y="95517"/>
                    </a:lnTo>
                    <a:lnTo>
                      <a:pt x="489560" y="99823"/>
                    </a:lnTo>
                    <a:lnTo>
                      <a:pt x="482046" y="99549"/>
                    </a:lnTo>
                    <a:lnTo>
                      <a:pt x="477546" y="102052"/>
                    </a:lnTo>
                    <a:lnTo>
                      <a:pt x="477384" y="103176"/>
                    </a:lnTo>
                    <a:lnTo>
                      <a:pt x="476664" y="108316"/>
                    </a:lnTo>
                    <a:lnTo>
                      <a:pt x="467138" y="112164"/>
                    </a:lnTo>
                    <a:lnTo>
                      <a:pt x="460080" y="119136"/>
                    </a:lnTo>
                    <a:lnTo>
                      <a:pt x="459241" y="122318"/>
                    </a:lnTo>
                    <a:lnTo>
                      <a:pt x="458482" y="125265"/>
                    </a:lnTo>
                    <a:lnTo>
                      <a:pt x="452669" y="133641"/>
                    </a:lnTo>
                    <a:lnTo>
                      <a:pt x="453440" y="136362"/>
                    </a:lnTo>
                    <a:lnTo>
                      <a:pt x="465404" y="144183"/>
                    </a:lnTo>
                    <a:lnTo>
                      <a:pt x="465506" y="145389"/>
                    </a:lnTo>
                    <a:lnTo>
                      <a:pt x="465630" y="146854"/>
                    </a:lnTo>
                    <a:lnTo>
                      <a:pt x="463962" y="150415"/>
                    </a:lnTo>
                    <a:lnTo>
                      <a:pt x="463367" y="151688"/>
                    </a:lnTo>
                    <a:lnTo>
                      <a:pt x="463521" y="151948"/>
                    </a:lnTo>
                    <a:lnTo>
                      <a:pt x="464556" y="153627"/>
                    </a:lnTo>
                    <a:lnTo>
                      <a:pt x="475596" y="150519"/>
                    </a:lnTo>
                    <a:lnTo>
                      <a:pt x="477291" y="150057"/>
                    </a:lnTo>
                    <a:lnTo>
                      <a:pt x="480192" y="150664"/>
                    </a:lnTo>
                    <a:lnTo>
                      <a:pt x="492057" y="153168"/>
                    </a:lnTo>
                    <a:lnTo>
                      <a:pt x="487152" y="160941"/>
                    </a:lnTo>
                    <a:lnTo>
                      <a:pt x="487397" y="162289"/>
                    </a:lnTo>
                    <a:lnTo>
                      <a:pt x="487893" y="165161"/>
                    </a:lnTo>
                    <a:lnTo>
                      <a:pt x="490051" y="168320"/>
                    </a:lnTo>
                    <a:lnTo>
                      <a:pt x="490034" y="168329"/>
                    </a:lnTo>
                    <a:lnTo>
                      <a:pt x="488918" y="169425"/>
                    </a:lnTo>
                    <a:lnTo>
                      <a:pt x="486306" y="171965"/>
                    </a:lnTo>
                    <a:lnTo>
                      <a:pt x="485133" y="177415"/>
                    </a:lnTo>
                    <a:lnTo>
                      <a:pt x="485025" y="176979"/>
                    </a:lnTo>
                    <a:lnTo>
                      <a:pt x="483932" y="180681"/>
                    </a:lnTo>
                    <a:lnTo>
                      <a:pt x="484235" y="188477"/>
                    </a:lnTo>
                    <a:lnTo>
                      <a:pt x="484257" y="189090"/>
                    </a:lnTo>
                    <a:lnTo>
                      <a:pt x="484282" y="189822"/>
                    </a:lnTo>
                    <a:lnTo>
                      <a:pt x="484578" y="199801"/>
                    </a:lnTo>
                    <a:lnTo>
                      <a:pt x="487484" y="209628"/>
                    </a:lnTo>
                    <a:lnTo>
                      <a:pt x="494222" y="228014"/>
                    </a:lnTo>
                    <a:lnTo>
                      <a:pt x="498570" y="242131"/>
                    </a:lnTo>
                    <a:lnTo>
                      <a:pt x="501322" y="246187"/>
                    </a:lnTo>
                    <a:lnTo>
                      <a:pt x="501118" y="246183"/>
                    </a:lnTo>
                    <a:lnTo>
                      <a:pt x="501388" y="251757"/>
                    </a:lnTo>
                    <a:lnTo>
                      <a:pt x="500910" y="265948"/>
                    </a:lnTo>
                    <a:lnTo>
                      <a:pt x="500805" y="268572"/>
                    </a:lnTo>
                    <a:lnTo>
                      <a:pt x="500692" y="271315"/>
                    </a:lnTo>
                    <a:lnTo>
                      <a:pt x="500691" y="271375"/>
                    </a:lnTo>
                    <a:lnTo>
                      <a:pt x="500259" y="275081"/>
                    </a:lnTo>
                    <a:lnTo>
                      <a:pt x="500191" y="275791"/>
                    </a:lnTo>
                    <a:lnTo>
                      <a:pt x="500236" y="279346"/>
                    </a:lnTo>
                    <a:lnTo>
                      <a:pt x="500295" y="283040"/>
                    </a:lnTo>
                    <a:lnTo>
                      <a:pt x="500306" y="283375"/>
                    </a:lnTo>
                    <a:lnTo>
                      <a:pt x="500622" y="291103"/>
                    </a:lnTo>
                    <a:lnTo>
                      <a:pt x="501626" y="296866"/>
                    </a:lnTo>
                    <a:lnTo>
                      <a:pt x="502038" y="298287"/>
                    </a:lnTo>
                    <a:lnTo>
                      <a:pt x="493636" y="296327"/>
                    </a:lnTo>
                    <a:lnTo>
                      <a:pt x="484454" y="290208"/>
                    </a:lnTo>
                    <a:lnTo>
                      <a:pt x="473795" y="276064"/>
                    </a:lnTo>
                    <a:lnTo>
                      <a:pt x="465201" y="272575"/>
                    </a:lnTo>
                    <a:lnTo>
                      <a:pt x="461352" y="268456"/>
                    </a:lnTo>
                    <a:lnTo>
                      <a:pt x="458081" y="263306"/>
                    </a:lnTo>
                    <a:lnTo>
                      <a:pt x="455747" y="258362"/>
                    </a:lnTo>
                    <a:lnTo>
                      <a:pt x="453182" y="246880"/>
                    </a:lnTo>
                    <a:lnTo>
                      <a:pt x="453089" y="245028"/>
                    </a:lnTo>
                    <a:lnTo>
                      <a:pt x="449939" y="244156"/>
                    </a:lnTo>
                    <a:lnTo>
                      <a:pt x="448786" y="247057"/>
                    </a:lnTo>
                    <a:lnTo>
                      <a:pt x="448829" y="250883"/>
                    </a:lnTo>
                    <a:lnTo>
                      <a:pt x="450052" y="255635"/>
                    </a:lnTo>
                    <a:lnTo>
                      <a:pt x="459862" y="271273"/>
                    </a:lnTo>
                    <a:lnTo>
                      <a:pt x="462125" y="278238"/>
                    </a:lnTo>
                    <a:lnTo>
                      <a:pt x="460700" y="281289"/>
                    </a:lnTo>
                    <a:lnTo>
                      <a:pt x="456771" y="281958"/>
                    </a:lnTo>
                    <a:lnTo>
                      <a:pt x="451555" y="281761"/>
                    </a:lnTo>
                    <a:lnTo>
                      <a:pt x="446573" y="279483"/>
                    </a:lnTo>
                    <a:lnTo>
                      <a:pt x="444389" y="274041"/>
                    </a:lnTo>
                    <a:lnTo>
                      <a:pt x="443872" y="267125"/>
                    </a:lnTo>
                    <a:lnTo>
                      <a:pt x="443863" y="252554"/>
                    </a:lnTo>
                    <a:lnTo>
                      <a:pt x="444242" y="249357"/>
                    </a:lnTo>
                    <a:lnTo>
                      <a:pt x="453017" y="227562"/>
                    </a:lnTo>
                    <a:lnTo>
                      <a:pt x="468583" y="203344"/>
                    </a:lnTo>
                    <a:lnTo>
                      <a:pt x="469657" y="197890"/>
                    </a:lnTo>
                    <a:lnTo>
                      <a:pt x="468699" y="196411"/>
                    </a:lnTo>
                    <a:lnTo>
                      <a:pt x="466383" y="198061"/>
                    </a:lnTo>
                    <a:lnTo>
                      <a:pt x="463398" y="202062"/>
                    </a:lnTo>
                    <a:lnTo>
                      <a:pt x="450688" y="227438"/>
                    </a:lnTo>
                    <a:lnTo>
                      <a:pt x="447527" y="231883"/>
                    </a:lnTo>
                    <a:lnTo>
                      <a:pt x="442955" y="232022"/>
                    </a:lnTo>
                    <a:lnTo>
                      <a:pt x="441423" y="228990"/>
                    </a:lnTo>
                    <a:lnTo>
                      <a:pt x="442016" y="217276"/>
                    </a:lnTo>
                    <a:lnTo>
                      <a:pt x="441232" y="212111"/>
                    </a:lnTo>
                    <a:lnTo>
                      <a:pt x="439108" y="208148"/>
                    </a:lnTo>
                    <a:lnTo>
                      <a:pt x="436250" y="207014"/>
                    </a:lnTo>
                    <a:lnTo>
                      <a:pt x="433318" y="210450"/>
                    </a:lnTo>
                    <a:lnTo>
                      <a:pt x="435604" y="217358"/>
                    </a:lnTo>
                    <a:lnTo>
                      <a:pt x="438262" y="230883"/>
                    </a:lnTo>
                    <a:lnTo>
                      <a:pt x="439909" y="244042"/>
                    </a:lnTo>
                    <a:lnTo>
                      <a:pt x="439159" y="249967"/>
                    </a:lnTo>
                    <a:lnTo>
                      <a:pt x="436410" y="251029"/>
                    </a:lnTo>
                    <a:lnTo>
                      <a:pt x="435828" y="253909"/>
                    </a:lnTo>
                    <a:lnTo>
                      <a:pt x="436583" y="261654"/>
                    </a:lnTo>
                    <a:lnTo>
                      <a:pt x="436424" y="269115"/>
                    </a:lnTo>
                    <a:lnTo>
                      <a:pt x="436750" y="274255"/>
                    </a:lnTo>
                    <a:lnTo>
                      <a:pt x="437805" y="278648"/>
                    </a:lnTo>
                    <a:lnTo>
                      <a:pt x="434833" y="280109"/>
                    </a:lnTo>
                    <a:lnTo>
                      <a:pt x="431640" y="278921"/>
                    </a:lnTo>
                    <a:lnTo>
                      <a:pt x="428257" y="276872"/>
                    </a:lnTo>
                    <a:lnTo>
                      <a:pt x="424602" y="275751"/>
                    </a:lnTo>
                    <a:lnTo>
                      <a:pt x="424545" y="278363"/>
                    </a:lnTo>
                    <a:lnTo>
                      <a:pt x="427229" y="279728"/>
                    </a:lnTo>
                    <a:lnTo>
                      <a:pt x="429995" y="281762"/>
                    </a:lnTo>
                    <a:lnTo>
                      <a:pt x="432157" y="284794"/>
                    </a:lnTo>
                    <a:lnTo>
                      <a:pt x="433080" y="289200"/>
                    </a:lnTo>
                    <a:lnTo>
                      <a:pt x="432170" y="294686"/>
                    </a:lnTo>
                    <a:lnTo>
                      <a:pt x="429983" y="298371"/>
                    </a:lnTo>
                    <a:lnTo>
                      <a:pt x="427460" y="301396"/>
                    </a:lnTo>
                    <a:lnTo>
                      <a:pt x="425558" y="304714"/>
                    </a:lnTo>
                    <a:lnTo>
                      <a:pt x="424414" y="309168"/>
                    </a:lnTo>
                    <a:lnTo>
                      <a:pt x="423722" y="312885"/>
                    </a:lnTo>
                    <a:lnTo>
                      <a:pt x="422737" y="316395"/>
                    </a:lnTo>
                    <a:lnTo>
                      <a:pt x="420558" y="320266"/>
                    </a:lnTo>
                    <a:lnTo>
                      <a:pt x="417448" y="323571"/>
                    </a:lnTo>
                    <a:lnTo>
                      <a:pt x="414952" y="323981"/>
                    </a:lnTo>
                    <a:lnTo>
                      <a:pt x="408210" y="322335"/>
                    </a:lnTo>
                    <a:lnTo>
                      <a:pt x="404855" y="318043"/>
                    </a:lnTo>
                    <a:lnTo>
                      <a:pt x="402024" y="308210"/>
                    </a:lnTo>
                    <a:lnTo>
                      <a:pt x="400130" y="297278"/>
                    </a:lnTo>
                    <a:lnTo>
                      <a:pt x="399457" y="289657"/>
                    </a:lnTo>
                    <a:lnTo>
                      <a:pt x="391176" y="277888"/>
                    </a:lnTo>
                    <a:lnTo>
                      <a:pt x="390182" y="272997"/>
                    </a:lnTo>
                    <a:lnTo>
                      <a:pt x="388642" y="269817"/>
                    </a:lnTo>
                    <a:lnTo>
                      <a:pt x="385151" y="272468"/>
                    </a:lnTo>
                    <a:lnTo>
                      <a:pt x="388387" y="278832"/>
                    </a:lnTo>
                    <a:lnTo>
                      <a:pt x="396027" y="299826"/>
                    </a:lnTo>
                    <a:lnTo>
                      <a:pt x="397430" y="307852"/>
                    </a:lnTo>
                    <a:lnTo>
                      <a:pt x="395564" y="311510"/>
                    </a:lnTo>
                    <a:lnTo>
                      <a:pt x="391511" y="309997"/>
                    </a:lnTo>
                    <a:lnTo>
                      <a:pt x="377690" y="297978"/>
                    </a:lnTo>
                    <a:lnTo>
                      <a:pt x="375865" y="293001"/>
                    </a:lnTo>
                    <a:lnTo>
                      <a:pt x="376067" y="285027"/>
                    </a:lnTo>
                    <a:lnTo>
                      <a:pt x="373818" y="287863"/>
                    </a:lnTo>
                    <a:lnTo>
                      <a:pt x="371810" y="292852"/>
                    </a:lnTo>
                    <a:lnTo>
                      <a:pt x="370367" y="298181"/>
                    </a:lnTo>
                    <a:lnTo>
                      <a:pt x="369799" y="301946"/>
                    </a:lnTo>
                    <a:lnTo>
                      <a:pt x="368716" y="304780"/>
                    </a:lnTo>
                    <a:lnTo>
                      <a:pt x="362176" y="313881"/>
                    </a:lnTo>
                    <a:lnTo>
                      <a:pt x="367022" y="324785"/>
                    </a:lnTo>
                    <a:lnTo>
                      <a:pt x="369007" y="330731"/>
                    </a:lnTo>
                    <a:lnTo>
                      <a:pt x="370352" y="337562"/>
                    </a:lnTo>
                    <a:lnTo>
                      <a:pt x="366423" y="337478"/>
                    </a:lnTo>
                    <a:lnTo>
                      <a:pt x="357175" y="331761"/>
                    </a:lnTo>
                    <a:lnTo>
                      <a:pt x="350056" y="328928"/>
                    </a:lnTo>
                    <a:lnTo>
                      <a:pt x="347903" y="325914"/>
                    </a:lnTo>
                    <a:lnTo>
                      <a:pt x="346820" y="316319"/>
                    </a:lnTo>
                    <a:lnTo>
                      <a:pt x="345585" y="314886"/>
                    </a:lnTo>
                    <a:lnTo>
                      <a:pt x="343920" y="313907"/>
                    </a:lnTo>
                    <a:lnTo>
                      <a:pt x="342344" y="311904"/>
                    </a:lnTo>
                    <a:lnTo>
                      <a:pt x="341678" y="309180"/>
                    </a:lnTo>
                    <a:lnTo>
                      <a:pt x="341602" y="305631"/>
                    </a:lnTo>
                    <a:lnTo>
                      <a:pt x="341969" y="298627"/>
                    </a:lnTo>
                    <a:lnTo>
                      <a:pt x="342522" y="295656"/>
                    </a:lnTo>
                    <a:lnTo>
                      <a:pt x="344761" y="291485"/>
                    </a:lnTo>
                    <a:lnTo>
                      <a:pt x="345320" y="288281"/>
                    </a:lnTo>
                    <a:lnTo>
                      <a:pt x="345026" y="285006"/>
                    </a:lnTo>
                    <a:lnTo>
                      <a:pt x="342657" y="273728"/>
                    </a:lnTo>
                    <a:lnTo>
                      <a:pt x="348088" y="267840"/>
                    </a:lnTo>
                    <a:lnTo>
                      <a:pt x="372443" y="227543"/>
                    </a:lnTo>
                    <a:lnTo>
                      <a:pt x="384929" y="222631"/>
                    </a:lnTo>
                    <a:lnTo>
                      <a:pt x="394013" y="215823"/>
                    </a:lnTo>
                    <a:lnTo>
                      <a:pt x="396119" y="213634"/>
                    </a:lnTo>
                    <a:lnTo>
                      <a:pt x="404089" y="196342"/>
                    </a:lnTo>
                    <a:lnTo>
                      <a:pt x="407605" y="191386"/>
                    </a:lnTo>
                    <a:lnTo>
                      <a:pt x="414109" y="187211"/>
                    </a:lnTo>
                    <a:lnTo>
                      <a:pt x="422330" y="183804"/>
                    </a:lnTo>
                    <a:lnTo>
                      <a:pt x="429854" y="178464"/>
                    </a:lnTo>
                    <a:lnTo>
                      <a:pt x="434226" y="168481"/>
                    </a:lnTo>
                    <a:lnTo>
                      <a:pt x="430441" y="170997"/>
                    </a:lnTo>
                    <a:lnTo>
                      <a:pt x="422398" y="179606"/>
                    </a:lnTo>
                    <a:lnTo>
                      <a:pt x="418779" y="181438"/>
                    </a:lnTo>
                    <a:lnTo>
                      <a:pt x="410108" y="181940"/>
                    </a:lnTo>
                    <a:lnTo>
                      <a:pt x="406495" y="183428"/>
                    </a:lnTo>
                    <a:lnTo>
                      <a:pt x="403237" y="186306"/>
                    </a:lnTo>
                    <a:lnTo>
                      <a:pt x="400817" y="190961"/>
                    </a:lnTo>
                    <a:lnTo>
                      <a:pt x="395394" y="204222"/>
                    </a:lnTo>
                    <a:lnTo>
                      <a:pt x="393319" y="206941"/>
                    </a:lnTo>
                    <a:lnTo>
                      <a:pt x="367506" y="223683"/>
                    </a:lnTo>
                    <a:lnTo>
                      <a:pt x="349137" y="250401"/>
                    </a:lnTo>
                    <a:lnTo>
                      <a:pt x="347186" y="251546"/>
                    </a:lnTo>
                    <a:lnTo>
                      <a:pt x="343315" y="251751"/>
                    </a:lnTo>
                    <a:lnTo>
                      <a:pt x="341653" y="252809"/>
                    </a:lnTo>
                    <a:lnTo>
                      <a:pt x="341686" y="254755"/>
                    </a:lnTo>
                    <a:lnTo>
                      <a:pt x="340485" y="260150"/>
                    </a:lnTo>
                    <a:lnTo>
                      <a:pt x="339044" y="264762"/>
                    </a:lnTo>
                    <a:lnTo>
                      <a:pt x="338412" y="264371"/>
                    </a:lnTo>
                    <a:lnTo>
                      <a:pt x="336310" y="268636"/>
                    </a:lnTo>
                    <a:lnTo>
                      <a:pt x="331647" y="269936"/>
                    </a:lnTo>
                    <a:lnTo>
                      <a:pt x="326377" y="269320"/>
                    </a:lnTo>
                    <a:lnTo>
                      <a:pt x="322399" y="267946"/>
                    </a:lnTo>
                    <a:lnTo>
                      <a:pt x="322295" y="266123"/>
                    </a:lnTo>
                    <a:lnTo>
                      <a:pt x="322357" y="262811"/>
                    </a:lnTo>
                    <a:lnTo>
                      <a:pt x="321915" y="260357"/>
                    </a:lnTo>
                    <a:lnTo>
                      <a:pt x="320333" y="261245"/>
                    </a:lnTo>
                    <a:lnTo>
                      <a:pt x="319528" y="263243"/>
                    </a:lnTo>
                    <a:lnTo>
                      <a:pt x="319389" y="265619"/>
                    </a:lnTo>
                    <a:lnTo>
                      <a:pt x="319445" y="268156"/>
                    </a:lnTo>
                    <a:lnTo>
                      <a:pt x="317270" y="288656"/>
                    </a:lnTo>
                    <a:lnTo>
                      <a:pt x="318012" y="289518"/>
                    </a:lnTo>
                    <a:lnTo>
                      <a:pt x="321164" y="291321"/>
                    </a:lnTo>
                    <a:lnTo>
                      <a:pt x="322365" y="291651"/>
                    </a:lnTo>
                    <a:lnTo>
                      <a:pt x="324279" y="299312"/>
                    </a:lnTo>
                    <a:lnTo>
                      <a:pt x="325023" y="303720"/>
                    </a:lnTo>
                    <a:lnTo>
                      <a:pt x="325077" y="307315"/>
                    </a:lnTo>
                    <a:lnTo>
                      <a:pt x="325741" y="310320"/>
                    </a:lnTo>
                    <a:lnTo>
                      <a:pt x="328264" y="312958"/>
                    </a:lnTo>
                    <a:lnTo>
                      <a:pt x="328197" y="315322"/>
                    </a:lnTo>
                    <a:lnTo>
                      <a:pt x="326733" y="315280"/>
                    </a:lnTo>
                    <a:lnTo>
                      <a:pt x="326658" y="317892"/>
                    </a:lnTo>
                    <a:lnTo>
                      <a:pt x="327561" y="318352"/>
                    </a:lnTo>
                    <a:lnTo>
                      <a:pt x="329660" y="320324"/>
                    </a:lnTo>
                    <a:lnTo>
                      <a:pt x="328608" y="321120"/>
                    </a:lnTo>
                    <a:lnTo>
                      <a:pt x="327544" y="322318"/>
                    </a:lnTo>
                    <a:lnTo>
                      <a:pt x="326509" y="323082"/>
                    </a:lnTo>
                    <a:lnTo>
                      <a:pt x="338029" y="336347"/>
                    </a:lnTo>
                    <a:lnTo>
                      <a:pt x="343147" y="345603"/>
                    </a:lnTo>
                    <a:lnTo>
                      <a:pt x="344811" y="355415"/>
                    </a:lnTo>
                    <a:lnTo>
                      <a:pt x="343208" y="360645"/>
                    </a:lnTo>
                    <a:lnTo>
                      <a:pt x="340139" y="363081"/>
                    </a:lnTo>
                    <a:lnTo>
                      <a:pt x="332789" y="365257"/>
                    </a:lnTo>
                    <a:lnTo>
                      <a:pt x="329469" y="367497"/>
                    </a:lnTo>
                    <a:lnTo>
                      <a:pt x="319279" y="378407"/>
                    </a:lnTo>
                    <a:lnTo>
                      <a:pt x="316785" y="381928"/>
                    </a:lnTo>
                    <a:lnTo>
                      <a:pt x="314640" y="386082"/>
                    </a:lnTo>
                    <a:lnTo>
                      <a:pt x="312950" y="390793"/>
                    </a:lnTo>
                    <a:lnTo>
                      <a:pt x="312332" y="393948"/>
                    </a:lnTo>
                    <a:lnTo>
                      <a:pt x="311581" y="400677"/>
                    </a:lnTo>
                    <a:lnTo>
                      <a:pt x="310964" y="403786"/>
                    </a:lnTo>
                    <a:lnTo>
                      <a:pt x="306227" y="407239"/>
                    </a:lnTo>
                    <a:lnTo>
                      <a:pt x="306573" y="408883"/>
                    </a:lnTo>
                    <a:lnTo>
                      <a:pt x="307381" y="410666"/>
                    </a:lnTo>
                    <a:lnTo>
                      <a:pt x="307779" y="411765"/>
                    </a:lnTo>
                    <a:lnTo>
                      <a:pt x="307178" y="420474"/>
                    </a:lnTo>
                    <a:lnTo>
                      <a:pt x="309076" y="422864"/>
                    </a:lnTo>
                    <a:lnTo>
                      <a:pt x="311671" y="423672"/>
                    </a:lnTo>
                    <a:lnTo>
                      <a:pt x="313209" y="427574"/>
                    </a:lnTo>
                    <a:lnTo>
                      <a:pt x="311744" y="432555"/>
                    </a:lnTo>
                    <a:lnTo>
                      <a:pt x="308283" y="433947"/>
                    </a:lnTo>
                    <a:lnTo>
                      <a:pt x="305661" y="436095"/>
                    </a:lnTo>
                    <a:lnTo>
                      <a:pt x="306846" y="443317"/>
                    </a:lnTo>
                    <a:lnTo>
                      <a:pt x="301985" y="452257"/>
                    </a:lnTo>
                    <a:lnTo>
                      <a:pt x="300554" y="455932"/>
                    </a:lnTo>
                    <a:lnTo>
                      <a:pt x="300282" y="457963"/>
                    </a:lnTo>
                    <a:lnTo>
                      <a:pt x="300277" y="465180"/>
                    </a:lnTo>
                    <a:lnTo>
                      <a:pt x="299894" y="468279"/>
                    </a:lnTo>
                    <a:lnTo>
                      <a:pt x="299174" y="468477"/>
                    </a:lnTo>
                    <a:lnTo>
                      <a:pt x="298212" y="467949"/>
                    </a:lnTo>
                    <a:lnTo>
                      <a:pt x="297214" y="468885"/>
                    </a:lnTo>
                    <a:lnTo>
                      <a:pt x="292007" y="481529"/>
                    </a:lnTo>
                    <a:lnTo>
                      <a:pt x="288384" y="486631"/>
                    </a:lnTo>
                    <a:lnTo>
                      <a:pt x="283280" y="489569"/>
                    </a:lnTo>
                    <a:lnTo>
                      <a:pt x="283206" y="491946"/>
                    </a:lnTo>
                    <a:lnTo>
                      <a:pt x="285927" y="491610"/>
                    </a:lnTo>
                    <a:lnTo>
                      <a:pt x="288077" y="492610"/>
                    </a:lnTo>
                    <a:lnTo>
                      <a:pt x="289964" y="494706"/>
                    </a:lnTo>
                    <a:lnTo>
                      <a:pt x="291913" y="497674"/>
                    </a:lnTo>
                    <a:lnTo>
                      <a:pt x="295173" y="506406"/>
                    </a:lnTo>
                    <a:lnTo>
                      <a:pt x="295294" y="507966"/>
                    </a:lnTo>
                    <a:lnTo>
                      <a:pt x="297761" y="510560"/>
                    </a:lnTo>
                    <a:lnTo>
                      <a:pt x="295398" y="516245"/>
                    </a:lnTo>
                    <a:lnTo>
                      <a:pt x="287939" y="526254"/>
                    </a:lnTo>
                    <a:lnTo>
                      <a:pt x="284260" y="529907"/>
                    </a:lnTo>
                    <a:lnTo>
                      <a:pt x="279867" y="533162"/>
                    </a:lnTo>
                    <a:lnTo>
                      <a:pt x="274968" y="535514"/>
                    </a:lnTo>
                    <a:lnTo>
                      <a:pt x="269788" y="536377"/>
                    </a:lnTo>
                    <a:lnTo>
                      <a:pt x="267724" y="535830"/>
                    </a:lnTo>
                    <a:lnTo>
                      <a:pt x="263540" y="533517"/>
                    </a:lnTo>
                    <a:lnTo>
                      <a:pt x="260981" y="533248"/>
                    </a:lnTo>
                    <a:lnTo>
                      <a:pt x="258665" y="534232"/>
                    </a:lnTo>
                    <a:lnTo>
                      <a:pt x="253629" y="537676"/>
                    </a:lnTo>
                    <a:lnTo>
                      <a:pt x="251091" y="538386"/>
                    </a:lnTo>
                    <a:lnTo>
                      <a:pt x="244796" y="538070"/>
                    </a:lnTo>
                    <a:lnTo>
                      <a:pt x="240989" y="536448"/>
                    </a:lnTo>
                    <a:lnTo>
                      <a:pt x="238848" y="531677"/>
                    </a:lnTo>
                    <a:lnTo>
                      <a:pt x="236840" y="515226"/>
                    </a:lnTo>
                    <a:lnTo>
                      <a:pt x="236693" y="506539"/>
                    </a:lnTo>
                    <a:lnTo>
                      <a:pt x="238094" y="499119"/>
                    </a:lnTo>
                    <a:lnTo>
                      <a:pt x="244337" y="494195"/>
                    </a:lnTo>
                    <a:lnTo>
                      <a:pt x="252898" y="484724"/>
                    </a:lnTo>
                    <a:lnTo>
                      <a:pt x="255143" y="480847"/>
                    </a:lnTo>
                    <a:lnTo>
                      <a:pt x="255495" y="472831"/>
                    </a:lnTo>
                    <a:lnTo>
                      <a:pt x="254723" y="464155"/>
                    </a:lnTo>
                    <a:lnTo>
                      <a:pt x="254617" y="455610"/>
                    </a:lnTo>
                    <a:lnTo>
                      <a:pt x="258049" y="444444"/>
                    </a:lnTo>
                    <a:lnTo>
                      <a:pt x="257209" y="441600"/>
                    </a:lnTo>
                    <a:lnTo>
                      <a:pt x="255825" y="439034"/>
                    </a:lnTo>
                    <a:lnTo>
                      <a:pt x="255275" y="436232"/>
                    </a:lnTo>
                    <a:lnTo>
                      <a:pt x="256215" y="431999"/>
                    </a:lnTo>
                    <a:lnTo>
                      <a:pt x="261690" y="420790"/>
                    </a:lnTo>
                    <a:lnTo>
                      <a:pt x="266688" y="407543"/>
                    </a:lnTo>
                    <a:lnTo>
                      <a:pt x="267778" y="399892"/>
                    </a:lnTo>
                    <a:lnTo>
                      <a:pt x="265476" y="394559"/>
                    </a:lnTo>
                    <a:lnTo>
                      <a:pt x="277500" y="384940"/>
                    </a:lnTo>
                    <a:lnTo>
                      <a:pt x="279161" y="380652"/>
                    </a:lnTo>
                    <a:lnTo>
                      <a:pt x="280675" y="375426"/>
                    </a:lnTo>
                    <a:lnTo>
                      <a:pt x="284084" y="368952"/>
                    </a:lnTo>
                    <a:lnTo>
                      <a:pt x="287931" y="363471"/>
                    </a:lnTo>
                    <a:lnTo>
                      <a:pt x="290873" y="361182"/>
                    </a:lnTo>
                    <a:lnTo>
                      <a:pt x="297119" y="358665"/>
                    </a:lnTo>
                    <a:lnTo>
                      <a:pt x="304752" y="351848"/>
                    </a:lnTo>
                    <a:lnTo>
                      <a:pt x="311732" y="342006"/>
                    </a:lnTo>
                    <a:lnTo>
                      <a:pt x="316042" y="330620"/>
                    </a:lnTo>
                    <a:lnTo>
                      <a:pt x="294566" y="353734"/>
                    </a:lnTo>
                    <a:lnTo>
                      <a:pt x="286698" y="359792"/>
                    </a:lnTo>
                    <a:lnTo>
                      <a:pt x="284093" y="360832"/>
                    </a:lnTo>
                    <a:lnTo>
                      <a:pt x="281256" y="360883"/>
                    </a:lnTo>
                    <a:lnTo>
                      <a:pt x="282880" y="355972"/>
                    </a:lnTo>
                    <a:lnTo>
                      <a:pt x="277061" y="353517"/>
                    </a:lnTo>
                    <a:lnTo>
                      <a:pt x="274218" y="351622"/>
                    </a:lnTo>
                    <a:lnTo>
                      <a:pt x="271403" y="347768"/>
                    </a:lnTo>
                    <a:lnTo>
                      <a:pt x="269947" y="342494"/>
                    </a:lnTo>
                    <a:lnTo>
                      <a:pt x="270051" y="332245"/>
                    </a:lnTo>
                    <a:lnTo>
                      <a:pt x="269068" y="329179"/>
                    </a:lnTo>
                    <a:lnTo>
                      <a:pt x="278526" y="315713"/>
                    </a:lnTo>
                    <a:lnTo>
                      <a:pt x="279993" y="312679"/>
                    </a:lnTo>
                    <a:lnTo>
                      <a:pt x="281487" y="307639"/>
                    </a:lnTo>
                    <a:lnTo>
                      <a:pt x="284827" y="303731"/>
                    </a:lnTo>
                    <a:lnTo>
                      <a:pt x="288809" y="300153"/>
                    </a:lnTo>
                    <a:lnTo>
                      <a:pt x="292207" y="295979"/>
                    </a:lnTo>
                    <a:lnTo>
                      <a:pt x="287324" y="298334"/>
                    </a:lnTo>
                    <a:lnTo>
                      <a:pt x="279753" y="306745"/>
                    </a:lnTo>
                    <a:lnTo>
                      <a:pt x="274048" y="309520"/>
                    </a:lnTo>
                    <a:lnTo>
                      <a:pt x="270083" y="313484"/>
                    </a:lnTo>
                    <a:lnTo>
                      <a:pt x="268110" y="313499"/>
                    </a:lnTo>
                    <a:lnTo>
                      <a:pt x="266677" y="310900"/>
                    </a:lnTo>
                    <a:lnTo>
                      <a:pt x="265498" y="306427"/>
                    </a:lnTo>
                    <a:lnTo>
                      <a:pt x="265156" y="302216"/>
                    </a:lnTo>
                    <a:lnTo>
                      <a:pt x="289753" y="266269"/>
                    </a:lnTo>
                    <a:lnTo>
                      <a:pt x="291691" y="261569"/>
                    </a:lnTo>
                    <a:lnTo>
                      <a:pt x="290841" y="259832"/>
                    </a:lnTo>
                    <a:lnTo>
                      <a:pt x="292169" y="258503"/>
                    </a:lnTo>
                    <a:lnTo>
                      <a:pt x="293426" y="256629"/>
                    </a:lnTo>
                    <a:lnTo>
                      <a:pt x="290720" y="255332"/>
                    </a:lnTo>
                    <a:lnTo>
                      <a:pt x="288000" y="256741"/>
                    </a:lnTo>
                    <a:lnTo>
                      <a:pt x="285053" y="259247"/>
                    </a:lnTo>
                    <a:lnTo>
                      <a:pt x="281625" y="261254"/>
                    </a:lnTo>
                    <a:lnTo>
                      <a:pt x="280097" y="268300"/>
                    </a:lnTo>
                    <a:lnTo>
                      <a:pt x="270528" y="278775"/>
                    </a:lnTo>
                    <a:lnTo>
                      <a:pt x="270428" y="287219"/>
                    </a:lnTo>
                    <a:lnTo>
                      <a:pt x="266628" y="293972"/>
                    </a:lnTo>
                    <a:lnTo>
                      <a:pt x="265797" y="295143"/>
                    </a:lnTo>
                    <a:lnTo>
                      <a:pt x="263684" y="294219"/>
                    </a:lnTo>
                    <a:lnTo>
                      <a:pt x="263113" y="291975"/>
                    </a:lnTo>
                    <a:lnTo>
                      <a:pt x="263550" y="289282"/>
                    </a:lnTo>
                    <a:lnTo>
                      <a:pt x="264461" y="287025"/>
                    </a:lnTo>
                    <a:lnTo>
                      <a:pt x="265976" y="276932"/>
                    </a:lnTo>
                    <a:lnTo>
                      <a:pt x="274289" y="261488"/>
                    </a:lnTo>
                    <a:lnTo>
                      <a:pt x="291087" y="238542"/>
                    </a:lnTo>
                    <a:lnTo>
                      <a:pt x="291789" y="237180"/>
                    </a:lnTo>
                    <a:lnTo>
                      <a:pt x="292157" y="235418"/>
                    </a:lnTo>
                    <a:lnTo>
                      <a:pt x="292760" y="233881"/>
                    </a:lnTo>
                    <a:lnTo>
                      <a:pt x="294154" y="233146"/>
                    </a:lnTo>
                    <a:lnTo>
                      <a:pt x="295512" y="233546"/>
                    </a:lnTo>
                    <a:lnTo>
                      <a:pt x="297203" y="234437"/>
                    </a:lnTo>
                    <a:lnTo>
                      <a:pt x="298423" y="235393"/>
                    </a:lnTo>
                    <a:lnTo>
                      <a:pt x="298442" y="235891"/>
                    </a:lnTo>
                    <a:lnTo>
                      <a:pt x="298989" y="236732"/>
                    </a:lnTo>
                    <a:lnTo>
                      <a:pt x="300738" y="237998"/>
                    </a:lnTo>
                    <a:lnTo>
                      <a:pt x="302406" y="238251"/>
                    </a:lnTo>
                    <a:lnTo>
                      <a:pt x="302795" y="236023"/>
                    </a:lnTo>
                    <a:lnTo>
                      <a:pt x="301880" y="233569"/>
                    </a:lnTo>
                    <a:lnTo>
                      <a:pt x="300504" y="232018"/>
                    </a:lnTo>
                    <a:lnTo>
                      <a:pt x="299232" y="231062"/>
                    </a:lnTo>
                    <a:lnTo>
                      <a:pt x="298609" y="230452"/>
                    </a:lnTo>
                    <a:lnTo>
                      <a:pt x="297426" y="224380"/>
                    </a:lnTo>
                    <a:lnTo>
                      <a:pt x="297154" y="221089"/>
                    </a:lnTo>
                    <a:lnTo>
                      <a:pt x="298089" y="218597"/>
                    </a:lnTo>
                    <a:lnTo>
                      <a:pt x="305259" y="207973"/>
                    </a:lnTo>
                    <a:lnTo>
                      <a:pt x="306807" y="204597"/>
                    </a:lnTo>
                    <a:lnTo>
                      <a:pt x="308262" y="199414"/>
                    </a:lnTo>
                    <a:lnTo>
                      <a:pt x="301770" y="201116"/>
                    </a:lnTo>
                    <a:lnTo>
                      <a:pt x="296786" y="206891"/>
                    </a:lnTo>
                    <a:lnTo>
                      <a:pt x="292289" y="213379"/>
                    </a:lnTo>
                    <a:lnTo>
                      <a:pt x="287244" y="217282"/>
                    </a:lnTo>
                    <a:lnTo>
                      <a:pt x="288859" y="209445"/>
                    </a:lnTo>
                    <a:lnTo>
                      <a:pt x="291857" y="201684"/>
                    </a:lnTo>
                    <a:lnTo>
                      <a:pt x="295699" y="194490"/>
                    </a:lnTo>
                    <a:lnTo>
                      <a:pt x="299898" y="188491"/>
                    </a:lnTo>
                    <a:lnTo>
                      <a:pt x="298162" y="183366"/>
                    </a:lnTo>
                    <a:lnTo>
                      <a:pt x="300878" y="179389"/>
                    </a:lnTo>
                    <a:lnTo>
                      <a:pt x="305546" y="176823"/>
                    </a:lnTo>
                    <a:lnTo>
                      <a:pt x="309704" y="175968"/>
                    </a:lnTo>
                    <a:lnTo>
                      <a:pt x="312168" y="174782"/>
                    </a:lnTo>
                    <a:lnTo>
                      <a:pt x="312656" y="172012"/>
                    </a:lnTo>
                    <a:lnTo>
                      <a:pt x="311376" y="169205"/>
                    </a:lnTo>
                    <a:lnTo>
                      <a:pt x="308566" y="167861"/>
                    </a:lnTo>
                    <a:lnTo>
                      <a:pt x="299659" y="170438"/>
                    </a:lnTo>
                    <a:lnTo>
                      <a:pt x="297740" y="171593"/>
                    </a:lnTo>
                    <a:lnTo>
                      <a:pt x="295652" y="174002"/>
                    </a:lnTo>
                    <a:lnTo>
                      <a:pt x="293528" y="175882"/>
                    </a:lnTo>
                    <a:lnTo>
                      <a:pt x="291459" y="175412"/>
                    </a:lnTo>
                    <a:lnTo>
                      <a:pt x="290313" y="172016"/>
                    </a:lnTo>
                    <a:lnTo>
                      <a:pt x="290975" y="167713"/>
                    </a:lnTo>
                    <a:lnTo>
                      <a:pt x="293545" y="159828"/>
                    </a:lnTo>
                    <a:lnTo>
                      <a:pt x="296541" y="145656"/>
                    </a:lnTo>
                    <a:lnTo>
                      <a:pt x="298780" y="140763"/>
                    </a:lnTo>
                    <a:lnTo>
                      <a:pt x="302949" y="136378"/>
                    </a:lnTo>
                    <a:lnTo>
                      <a:pt x="306787" y="138875"/>
                    </a:lnTo>
                    <a:lnTo>
                      <a:pt x="312525" y="138393"/>
                    </a:lnTo>
                    <a:lnTo>
                      <a:pt x="323254" y="134369"/>
                    </a:lnTo>
                    <a:lnTo>
                      <a:pt x="323323" y="131991"/>
                    </a:lnTo>
                    <a:lnTo>
                      <a:pt x="318225" y="132216"/>
                    </a:lnTo>
                    <a:lnTo>
                      <a:pt x="308989" y="135037"/>
                    </a:lnTo>
                    <a:lnTo>
                      <a:pt x="304338" y="133807"/>
                    </a:lnTo>
                    <a:lnTo>
                      <a:pt x="308991" y="121301"/>
                    </a:lnTo>
                    <a:lnTo>
                      <a:pt x="310708" y="118352"/>
                    </a:lnTo>
                    <a:lnTo>
                      <a:pt x="313017" y="116849"/>
                    </a:lnTo>
                    <a:lnTo>
                      <a:pt x="315773" y="115640"/>
                    </a:lnTo>
                    <a:lnTo>
                      <a:pt x="317530" y="113856"/>
                    </a:lnTo>
                    <a:lnTo>
                      <a:pt x="316721" y="110691"/>
                    </a:lnTo>
                    <a:lnTo>
                      <a:pt x="322281" y="103309"/>
                    </a:lnTo>
                    <a:lnTo>
                      <a:pt x="329445" y="100017"/>
                    </a:lnTo>
                    <a:lnTo>
                      <a:pt x="350757" y="98716"/>
                    </a:lnTo>
                    <a:lnTo>
                      <a:pt x="367686" y="104051"/>
                    </a:lnTo>
                    <a:lnTo>
                      <a:pt x="374769" y="102461"/>
                    </a:lnTo>
                    <a:lnTo>
                      <a:pt x="380564" y="97710"/>
                    </a:lnTo>
                    <a:lnTo>
                      <a:pt x="394387" y="79669"/>
                    </a:lnTo>
                    <a:lnTo>
                      <a:pt x="401687" y="64169"/>
                    </a:lnTo>
                    <a:lnTo>
                      <a:pt x="406283" y="58026"/>
                    </a:lnTo>
                    <a:lnTo>
                      <a:pt x="401597" y="60450"/>
                    </a:lnTo>
                    <a:lnTo>
                      <a:pt x="398709" y="66057"/>
                    </a:lnTo>
                    <a:lnTo>
                      <a:pt x="396229" y="72794"/>
                    </a:lnTo>
                    <a:lnTo>
                      <a:pt x="392843" y="78591"/>
                    </a:lnTo>
                    <a:lnTo>
                      <a:pt x="384018" y="86179"/>
                    </a:lnTo>
                    <a:lnTo>
                      <a:pt x="378900" y="94231"/>
                    </a:lnTo>
                    <a:lnTo>
                      <a:pt x="376534" y="96674"/>
                    </a:lnTo>
                    <a:lnTo>
                      <a:pt x="367496" y="97546"/>
                    </a:lnTo>
                    <a:lnTo>
                      <a:pt x="345185" y="91688"/>
                    </a:lnTo>
                    <a:lnTo>
                      <a:pt x="339145" y="96871"/>
                    </a:lnTo>
                    <a:lnTo>
                      <a:pt x="335798" y="94288"/>
                    </a:lnTo>
                    <a:lnTo>
                      <a:pt x="332783" y="79613"/>
                    </a:lnTo>
                    <a:lnTo>
                      <a:pt x="329878" y="80897"/>
                    </a:lnTo>
                    <a:lnTo>
                      <a:pt x="327291" y="84229"/>
                    </a:lnTo>
                    <a:lnTo>
                      <a:pt x="323033" y="92365"/>
                    </a:lnTo>
                    <a:lnTo>
                      <a:pt x="320227" y="89919"/>
                    </a:lnTo>
                    <a:lnTo>
                      <a:pt x="328202" y="71843"/>
                    </a:lnTo>
                    <a:lnTo>
                      <a:pt x="329559" y="66455"/>
                    </a:lnTo>
                    <a:lnTo>
                      <a:pt x="334436" y="71648"/>
                    </a:lnTo>
                    <a:lnTo>
                      <a:pt x="339547" y="73862"/>
                    </a:lnTo>
                    <a:lnTo>
                      <a:pt x="344311" y="73808"/>
                    </a:lnTo>
                    <a:lnTo>
                      <a:pt x="348234" y="72206"/>
                    </a:lnTo>
                    <a:lnTo>
                      <a:pt x="358511" y="64647"/>
                    </a:lnTo>
                    <a:lnTo>
                      <a:pt x="363942" y="62286"/>
                    </a:lnTo>
                    <a:lnTo>
                      <a:pt x="366625" y="60397"/>
                    </a:lnTo>
                    <a:lnTo>
                      <a:pt x="368923" y="57098"/>
                    </a:lnTo>
                    <a:lnTo>
                      <a:pt x="361739" y="61310"/>
                    </a:lnTo>
                    <a:lnTo>
                      <a:pt x="359376" y="61838"/>
                    </a:lnTo>
                    <a:lnTo>
                      <a:pt x="355169" y="61445"/>
                    </a:lnTo>
                    <a:lnTo>
                      <a:pt x="354287" y="61701"/>
                    </a:lnTo>
                    <a:lnTo>
                      <a:pt x="350680" y="64434"/>
                    </a:lnTo>
                    <a:lnTo>
                      <a:pt x="348341" y="65271"/>
                    </a:lnTo>
                    <a:lnTo>
                      <a:pt x="343674" y="69001"/>
                    </a:lnTo>
                    <a:lnTo>
                      <a:pt x="341108" y="69643"/>
                    </a:lnTo>
                    <a:lnTo>
                      <a:pt x="338630" y="68393"/>
                    </a:lnTo>
                    <a:lnTo>
                      <a:pt x="335339" y="64395"/>
                    </a:lnTo>
                    <a:lnTo>
                      <a:pt x="332523" y="63926"/>
                    </a:lnTo>
                    <a:lnTo>
                      <a:pt x="333247" y="61115"/>
                    </a:lnTo>
                    <a:lnTo>
                      <a:pt x="334037" y="59894"/>
                    </a:lnTo>
                    <a:lnTo>
                      <a:pt x="335028" y="59113"/>
                    </a:lnTo>
                    <a:lnTo>
                      <a:pt x="336350" y="57517"/>
                    </a:lnTo>
                    <a:lnTo>
                      <a:pt x="337233" y="55723"/>
                    </a:lnTo>
                    <a:lnTo>
                      <a:pt x="338036" y="52526"/>
                    </a:lnTo>
                    <a:lnTo>
                      <a:pt x="338643" y="51050"/>
                    </a:lnTo>
                    <a:lnTo>
                      <a:pt x="344391" y="40712"/>
                    </a:lnTo>
                    <a:lnTo>
                      <a:pt x="346310" y="38215"/>
                    </a:lnTo>
                    <a:lnTo>
                      <a:pt x="355157" y="30556"/>
                    </a:lnTo>
                    <a:lnTo>
                      <a:pt x="356558" y="28091"/>
                    </a:lnTo>
                    <a:lnTo>
                      <a:pt x="356559" y="28091"/>
                    </a:lnTo>
                    <a:lnTo>
                      <a:pt x="356561" y="28091"/>
                    </a:lnTo>
                    <a:lnTo>
                      <a:pt x="357666" y="28179"/>
                    </a:lnTo>
                    <a:lnTo>
                      <a:pt x="358180" y="28274"/>
                    </a:lnTo>
                    <a:lnTo>
                      <a:pt x="384891" y="32384"/>
                    </a:lnTo>
                    <a:lnTo>
                      <a:pt x="389895" y="38020"/>
                    </a:lnTo>
                    <a:lnTo>
                      <a:pt x="404426" y="41887"/>
                    </a:lnTo>
                    <a:lnTo>
                      <a:pt x="407485" y="37832"/>
                    </a:lnTo>
                    <a:lnTo>
                      <a:pt x="412264" y="35889"/>
                    </a:lnTo>
                    <a:lnTo>
                      <a:pt x="416323" y="29307"/>
                    </a:lnTo>
                    <a:lnTo>
                      <a:pt x="426687" y="28258"/>
                    </a:lnTo>
                    <a:close/>
                    <a:moveTo>
                      <a:pt x="185697" y="17229"/>
                    </a:moveTo>
                    <a:lnTo>
                      <a:pt x="188495" y="19392"/>
                    </a:lnTo>
                    <a:lnTo>
                      <a:pt x="198257" y="22939"/>
                    </a:lnTo>
                    <a:lnTo>
                      <a:pt x="197841" y="24650"/>
                    </a:lnTo>
                    <a:lnTo>
                      <a:pt x="197110" y="28777"/>
                    </a:lnTo>
                    <a:lnTo>
                      <a:pt x="196668" y="30472"/>
                    </a:lnTo>
                    <a:lnTo>
                      <a:pt x="203143" y="31291"/>
                    </a:lnTo>
                    <a:lnTo>
                      <a:pt x="208053" y="39176"/>
                    </a:lnTo>
                    <a:lnTo>
                      <a:pt x="215810" y="60125"/>
                    </a:lnTo>
                    <a:lnTo>
                      <a:pt x="216355" y="62820"/>
                    </a:lnTo>
                    <a:lnTo>
                      <a:pt x="216270" y="65338"/>
                    </a:lnTo>
                    <a:lnTo>
                      <a:pt x="216749" y="67254"/>
                    </a:lnTo>
                    <a:lnTo>
                      <a:pt x="218916" y="68080"/>
                    </a:lnTo>
                    <a:lnTo>
                      <a:pt x="239966" y="68830"/>
                    </a:lnTo>
                    <a:lnTo>
                      <a:pt x="241615" y="70255"/>
                    </a:lnTo>
                    <a:lnTo>
                      <a:pt x="243061" y="72578"/>
                    </a:lnTo>
                    <a:lnTo>
                      <a:pt x="244580" y="74092"/>
                    </a:lnTo>
                    <a:lnTo>
                      <a:pt x="247907" y="71966"/>
                    </a:lnTo>
                    <a:lnTo>
                      <a:pt x="249996" y="71617"/>
                    </a:lnTo>
                    <a:lnTo>
                      <a:pt x="252056" y="72108"/>
                    </a:lnTo>
                    <a:lnTo>
                      <a:pt x="253491" y="73324"/>
                    </a:lnTo>
                    <a:lnTo>
                      <a:pt x="257904" y="80893"/>
                    </a:lnTo>
                    <a:lnTo>
                      <a:pt x="259651" y="82539"/>
                    </a:lnTo>
                    <a:lnTo>
                      <a:pt x="261681" y="83229"/>
                    </a:lnTo>
                    <a:lnTo>
                      <a:pt x="265607" y="82690"/>
                    </a:lnTo>
                    <a:lnTo>
                      <a:pt x="266995" y="82783"/>
                    </a:lnTo>
                    <a:lnTo>
                      <a:pt x="269349" y="84853"/>
                    </a:lnTo>
                    <a:lnTo>
                      <a:pt x="272099" y="88457"/>
                    </a:lnTo>
                    <a:lnTo>
                      <a:pt x="274323" y="92963"/>
                    </a:lnTo>
                    <a:lnTo>
                      <a:pt x="275149" y="97657"/>
                    </a:lnTo>
                    <a:lnTo>
                      <a:pt x="276694" y="98533"/>
                    </a:lnTo>
                    <a:lnTo>
                      <a:pt x="279803" y="97854"/>
                    </a:lnTo>
                    <a:lnTo>
                      <a:pt x="281952" y="99448"/>
                    </a:lnTo>
                    <a:lnTo>
                      <a:pt x="280626" y="106966"/>
                    </a:lnTo>
                    <a:lnTo>
                      <a:pt x="278915" y="105604"/>
                    </a:lnTo>
                    <a:lnTo>
                      <a:pt x="277209" y="104896"/>
                    </a:lnTo>
                    <a:lnTo>
                      <a:pt x="273372" y="104119"/>
                    </a:lnTo>
                    <a:lnTo>
                      <a:pt x="275134" y="106789"/>
                    </a:lnTo>
                    <a:lnTo>
                      <a:pt x="278045" y="112265"/>
                    </a:lnTo>
                    <a:lnTo>
                      <a:pt x="279422" y="117583"/>
                    </a:lnTo>
                    <a:lnTo>
                      <a:pt x="276661" y="119906"/>
                    </a:lnTo>
                    <a:lnTo>
                      <a:pt x="269740" y="119836"/>
                    </a:lnTo>
                    <a:lnTo>
                      <a:pt x="266746" y="118213"/>
                    </a:lnTo>
                    <a:lnTo>
                      <a:pt x="267260" y="114123"/>
                    </a:lnTo>
                    <a:lnTo>
                      <a:pt x="266041" y="112466"/>
                    </a:lnTo>
                    <a:lnTo>
                      <a:pt x="264751" y="111677"/>
                    </a:lnTo>
                    <a:lnTo>
                      <a:pt x="263322" y="111442"/>
                    </a:lnTo>
                    <a:lnTo>
                      <a:pt x="261699" y="111575"/>
                    </a:lnTo>
                    <a:lnTo>
                      <a:pt x="262220" y="116601"/>
                    </a:lnTo>
                    <a:lnTo>
                      <a:pt x="259531" y="121024"/>
                    </a:lnTo>
                    <a:lnTo>
                      <a:pt x="252380" y="126912"/>
                    </a:lnTo>
                    <a:lnTo>
                      <a:pt x="252283" y="129755"/>
                    </a:lnTo>
                    <a:lnTo>
                      <a:pt x="255745" y="127259"/>
                    </a:lnTo>
                    <a:lnTo>
                      <a:pt x="259605" y="125708"/>
                    </a:lnTo>
                    <a:lnTo>
                      <a:pt x="267629" y="124807"/>
                    </a:lnTo>
                    <a:lnTo>
                      <a:pt x="271011" y="126738"/>
                    </a:lnTo>
                    <a:lnTo>
                      <a:pt x="269446" y="130841"/>
                    </a:lnTo>
                    <a:lnTo>
                      <a:pt x="265647" y="135228"/>
                    </a:lnTo>
                    <a:lnTo>
                      <a:pt x="246421" y="147525"/>
                    </a:lnTo>
                    <a:lnTo>
                      <a:pt x="237983" y="149256"/>
                    </a:lnTo>
                    <a:lnTo>
                      <a:pt x="231389" y="144451"/>
                    </a:lnTo>
                    <a:lnTo>
                      <a:pt x="232790" y="143364"/>
                    </a:lnTo>
                    <a:lnTo>
                      <a:pt x="235205" y="140929"/>
                    </a:lnTo>
                    <a:lnTo>
                      <a:pt x="237266" y="137734"/>
                    </a:lnTo>
                    <a:lnTo>
                      <a:pt x="237665" y="134247"/>
                    </a:lnTo>
                    <a:lnTo>
                      <a:pt x="236000" y="132089"/>
                    </a:lnTo>
                    <a:lnTo>
                      <a:pt x="233400" y="132230"/>
                    </a:lnTo>
                    <a:lnTo>
                      <a:pt x="228143" y="133912"/>
                    </a:lnTo>
                    <a:lnTo>
                      <a:pt x="227014" y="135085"/>
                    </a:lnTo>
                    <a:lnTo>
                      <a:pt x="225763" y="137748"/>
                    </a:lnTo>
                    <a:lnTo>
                      <a:pt x="224185" y="140398"/>
                    </a:lnTo>
                    <a:lnTo>
                      <a:pt x="222151" y="141539"/>
                    </a:lnTo>
                    <a:lnTo>
                      <a:pt x="214959" y="142913"/>
                    </a:lnTo>
                    <a:lnTo>
                      <a:pt x="197779" y="151007"/>
                    </a:lnTo>
                    <a:lnTo>
                      <a:pt x="194003" y="154973"/>
                    </a:lnTo>
                    <a:lnTo>
                      <a:pt x="191503" y="156901"/>
                    </a:lnTo>
                    <a:lnTo>
                      <a:pt x="188874" y="156085"/>
                    </a:lnTo>
                    <a:lnTo>
                      <a:pt x="186313" y="154214"/>
                    </a:lnTo>
                    <a:lnTo>
                      <a:pt x="183928" y="153157"/>
                    </a:lnTo>
                    <a:lnTo>
                      <a:pt x="181742" y="153851"/>
                    </a:lnTo>
                    <a:lnTo>
                      <a:pt x="176569" y="157198"/>
                    </a:lnTo>
                    <a:lnTo>
                      <a:pt x="174264" y="158261"/>
                    </a:lnTo>
                    <a:lnTo>
                      <a:pt x="154585" y="157478"/>
                    </a:lnTo>
                    <a:lnTo>
                      <a:pt x="153277" y="158639"/>
                    </a:lnTo>
                    <a:lnTo>
                      <a:pt x="152193" y="161270"/>
                    </a:lnTo>
                    <a:lnTo>
                      <a:pt x="150789" y="163921"/>
                    </a:lnTo>
                    <a:lnTo>
                      <a:pt x="148539" y="165043"/>
                    </a:lnTo>
                    <a:lnTo>
                      <a:pt x="145908" y="164702"/>
                    </a:lnTo>
                    <a:lnTo>
                      <a:pt x="141571" y="163030"/>
                    </a:lnTo>
                    <a:lnTo>
                      <a:pt x="135896" y="159262"/>
                    </a:lnTo>
                    <a:lnTo>
                      <a:pt x="132237" y="154877"/>
                    </a:lnTo>
                    <a:lnTo>
                      <a:pt x="129399" y="148905"/>
                    </a:lnTo>
                    <a:lnTo>
                      <a:pt x="128442" y="141768"/>
                    </a:lnTo>
                    <a:lnTo>
                      <a:pt x="130601" y="136443"/>
                    </a:lnTo>
                    <a:lnTo>
                      <a:pt x="135297" y="133496"/>
                    </a:lnTo>
                    <a:lnTo>
                      <a:pt x="140662" y="132646"/>
                    </a:lnTo>
                    <a:lnTo>
                      <a:pt x="144841" y="133565"/>
                    </a:lnTo>
                    <a:lnTo>
                      <a:pt x="148032" y="137727"/>
                    </a:lnTo>
                    <a:lnTo>
                      <a:pt x="150620" y="143405"/>
                    </a:lnTo>
                    <a:lnTo>
                      <a:pt x="153449" y="146818"/>
                    </a:lnTo>
                    <a:lnTo>
                      <a:pt x="157436" y="144272"/>
                    </a:lnTo>
                    <a:lnTo>
                      <a:pt x="157542" y="141662"/>
                    </a:lnTo>
                    <a:lnTo>
                      <a:pt x="155887" y="141205"/>
                    </a:lnTo>
                    <a:lnTo>
                      <a:pt x="155000" y="140532"/>
                    </a:lnTo>
                    <a:lnTo>
                      <a:pt x="154308" y="139741"/>
                    </a:lnTo>
                    <a:lnTo>
                      <a:pt x="153186" y="138902"/>
                    </a:lnTo>
                    <a:lnTo>
                      <a:pt x="157115" y="137319"/>
                    </a:lnTo>
                    <a:lnTo>
                      <a:pt x="166579" y="139859"/>
                    </a:lnTo>
                    <a:lnTo>
                      <a:pt x="169980" y="138267"/>
                    </a:lnTo>
                    <a:lnTo>
                      <a:pt x="173708" y="134959"/>
                    </a:lnTo>
                    <a:lnTo>
                      <a:pt x="188421" y="132447"/>
                    </a:lnTo>
                    <a:lnTo>
                      <a:pt x="198213" y="125863"/>
                    </a:lnTo>
                    <a:lnTo>
                      <a:pt x="202407" y="121819"/>
                    </a:lnTo>
                    <a:lnTo>
                      <a:pt x="201180" y="119859"/>
                    </a:lnTo>
                    <a:lnTo>
                      <a:pt x="196912" y="120866"/>
                    </a:lnTo>
                    <a:lnTo>
                      <a:pt x="184276" y="127293"/>
                    </a:lnTo>
                    <a:lnTo>
                      <a:pt x="173896" y="129551"/>
                    </a:lnTo>
                    <a:lnTo>
                      <a:pt x="168643" y="128971"/>
                    </a:lnTo>
                    <a:lnTo>
                      <a:pt x="164643" y="125109"/>
                    </a:lnTo>
                    <a:lnTo>
                      <a:pt x="163818" y="120983"/>
                    </a:lnTo>
                    <a:lnTo>
                      <a:pt x="164901" y="117198"/>
                    </a:lnTo>
                    <a:lnTo>
                      <a:pt x="167053" y="114436"/>
                    </a:lnTo>
                    <a:lnTo>
                      <a:pt x="169452" y="113443"/>
                    </a:lnTo>
                    <a:lnTo>
                      <a:pt x="172284" y="112822"/>
                    </a:lnTo>
                    <a:lnTo>
                      <a:pt x="173956" y="111037"/>
                    </a:lnTo>
                    <a:lnTo>
                      <a:pt x="177343" y="103296"/>
                    </a:lnTo>
                    <a:lnTo>
                      <a:pt x="178088" y="100539"/>
                    </a:lnTo>
                    <a:lnTo>
                      <a:pt x="179148" y="97872"/>
                    </a:lnTo>
                    <a:lnTo>
                      <a:pt x="181051" y="95612"/>
                    </a:lnTo>
                    <a:lnTo>
                      <a:pt x="183107" y="94945"/>
                    </a:lnTo>
                    <a:lnTo>
                      <a:pt x="190548" y="95978"/>
                    </a:lnTo>
                    <a:lnTo>
                      <a:pt x="203371" y="90473"/>
                    </a:lnTo>
                    <a:lnTo>
                      <a:pt x="205981" y="88484"/>
                    </a:lnTo>
                    <a:lnTo>
                      <a:pt x="207353" y="84661"/>
                    </a:lnTo>
                    <a:lnTo>
                      <a:pt x="207647" y="80953"/>
                    </a:lnTo>
                    <a:lnTo>
                      <a:pt x="206880" y="77781"/>
                    </a:lnTo>
                    <a:lnTo>
                      <a:pt x="205029" y="75411"/>
                    </a:lnTo>
                    <a:lnTo>
                      <a:pt x="191173" y="81998"/>
                    </a:lnTo>
                    <a:lnTo>
                      <a:pt x="186668" y="82526"/>
                    </a:lnTo>
                    <a:lnTo>
                      <a:pt x="185025" y="83428"/>
                    </a:lnTo>
                    <a:lnTo>
                      <a:pt x="183166" y="85051"/>
                    </a:lnTo>
                    <a:lnTo>
                      <a:pt x="181250" y="85709"/>
                    </a:lnTo>
                    <a:lnTo>
                      <a:pt x="179353" y="83690"/>
                    </a:lnTo>
                    <a:lnTo>
                      <a:pt x="176232" y="75678"/>
                    </a:lnTo>
                    <a:lnTo>
                      <a:pt x="174468" y="72108"/>
                    </a:lnTo>
                    <a:lnTo>
                      <a:pt x="172009" y="69163"/>
                    </a:lnTo>
                    <a:lnTo>
                      <a:pt x="167766" y="66443"/>
                    </a:lnTo>
                    <a:lnTo>
                      <a:pt x="148207" y="62227"/>
                    </a:lnTo>
                    <a:lnTo>
                      <a:pt x="144235" y="60149"/>
                    </a:lnTo>
                    <a:lnTo>
                      <a:pt x="140851" y="57347"/>
                    </a:lnTo>
                    <a:lnTo>
                      <a:pt x="138057" y="54243"/>
                    </a:lnTo>
                    <a:lnTo>
                      <a:pt x="148434" y="47064"/>
                    </a:lnTo>
                    <a:lnTo>
                      <a:pt x="146836" y="43450"/>
                    </a:lnTo>
                    <a:lnTo>
                      <a:pt x="142728" y="38410"/>
                    </a:lnTo>
                    <a:lnTo>
                      <a:pt x="141665" y="33727"/>
                    </a:lnTo>
                    <a:lnTo>
                      <a:pt x="149416" y="33332"/>
                    </a:lnTo>
                    <a:lnTo>
                      <a:pt x="152912" y="31858"/>
                    </a:lnTo>
                    <a:lnTo>
                      <a:pt x="156373" y="28887"/>
                    </a:lnTo>
                    <a:lnTo>
                      <a:pt x="158107" y="31914"/>
                    </a:lnTo>
                    <a:lnTo>
                      <a:pt x="159891" y="33526"/>
                    </a:lnTo>
                    <a:lnTo>
                      <a:pt x="161661" y="33598"/>
                    </a:lnTo>
                    <a:lnTo>
                      <a:pt x="163293" y="31999"/>
                    </a:lnTo>
                    <a:lnTo>
                      <a:pt x="164114" y="24640"/>
                    </a:lnTo>
                    <a:lnTo>
                      <a:pt x="170512" y="20057"/>
                    </a:lnTo>
                    <a:lnTo>
                      <a:pt x="178902" y="17758"/>
                    </a:lnTo>
                    <a:close/>
                    <a:moveTo>
                      <a:pt x="114286" y="0"/>
                    </a:moveTo>
                    <a:lnTo>
                      <a:pt x="116286" y="1162"/>
                    </a:lnTo>
                    <a:lnTo>
                      <a:pt x="114714" y="5031"/>
                    </a:lnTo>
                    <a:lnTo>
                      <a:pt x="112549" y="8749"/>
                    </a:lnTo>
                    <a:lnTo>
                      <a:pt x="109312" y="16358"/>
                    </a:lnTo>
                    <a:lnTo>
                      <a:pt x="107687" y="19228"/>
                    </a:lnTo>
                    <a:lnTo>
                      <a:pt x="105999" y="21395"/>
                    </a:lnTo>
                    <a:lnTo>
                      <a:pt x="104302" y="22954"/>
                    </a:lnTo>
                    <a:lnTo>
                      <a:pt x="102300" y="23878"/>
                    </a:lnTo>
                    <a:lnTo>
                      <a:pt x="99559" y="24097"/>
                    </a:lnTo>
                    <a:lnTo>
                      <a:pt x="91334" y="34374"/>
                    </a:lnTo>
                    <a:lnTo>
                      <a:pt x="79948" y="42853"/>
                    </a:lnTo>
                    <a:lnTo>
                      <a:pt x="76375" y="43918"/>
                    </a:lnTo>
                    <a:lnTo>
                      <a:pt x="71398" y="41446"/>
                    </a:lnTo>
                    <a:lnTo>
                      <a:pt x="68933" y="41347"/>
                    </a:lnTo>
                    <a:lnTo>
                      <a:pt x="67706" y="44823"/>
                    </a:lnTo>
                    <a:lnTo>
                      <a:pt x="66699" y="48714"/>
                    </a:lnTo>
                    <a:lnTo>
                      <a:pt x="64917" y="46513"/>
                    </a:lnTo>
                    <a:lnTo>
                      <a:pt x="63152" y="41760"/>
                    </a:lnTo>
                    <a:lnTo>
                      <a:pt x="62147" y="38024"/>
                    </a:lnTo>
                    <a:lnTo>
                      <a:pt x="67962" y="37223"/>
                    </a:lnTo>
                    <a:lnTo>
                      <a:pt x="73761" y="31982"/>
                    </a:lnTo>
                    <a:lnTo>
                      <a:pt x="83977" y="16856"/>
                    </a:lnTo>
                    <a:lnTo>
                      <a:pt x="86538" y="13829"/>
                    </a:lnTo>
                    <a:lnTo>
                      <a:pt x="93517" y="9010"/>
                    </a:lnTo>
                    <a:lnTo>
                      <a:pt x="98563" y="7103"/>
                    </a:lnTo>
                    <a:lnTo>
                      <a:pt x="105059" y="1836"/>
                    </a:lnTo>
                    <a:lnTo>
                      <a:pt x="108510" y="72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89" name="Freeform 180">
                <a:extLst>
                  <a:ext uri="{FF2B5EF4-FFF2-40B4-BE49-F238E27FC236}">
                    <a16:creationId xmlns:a16="http://schemas.microsoft.com/office/drawing/2014/main" id="{63B7B3AB-C824-3B46-FC96-2AD59C56B23A}"/>
                  </a:ext>
                </a:extLst>
              </p:cNvPr>
              <p:cNvSpPr>
                <a:spLocks noChangeAspect="1"/>
              </p:cNvSpPr>
              <p:nvPr>
                <p:custDataLst>
                  <p:tags r:id="rId125"/>
                </p:custDataLst>
              </p:nvPr>
            </p:nvSpPr>
            <p:spPr>
              <a:xfrm>
                <a:off x="4777214" y="1630313"/>
                <a:ext cx="244822" cy="500496"/>
              </a:xfrm>
              <a:custGeom>
                <a:avLst/>
                <a:gdLst/>
                <a:ahLst/>
                <a:cxnLst/>
                <a:rect l="l" t="t" r="r" b="b"/>
                <a:pathLst>
                  <a:path w="251366" h="513875">
                    <a:moveTo>
                      <a:pt x="102996" y="496046"/>
                    </a:moveTo>
                    <a:lnTo>
                      <a:pt x="106821" y="496054"/>
                    </a:lnTo>
                    <a:lnTo>
                      <a:pt x="107014" y="497898"/>
                    </a:lnTo>
                    <a:lnTo>
                      <a:pt x="106745" y="498450"/>
                    </a:lnTo>
                    <a:lnTo>
                      <a:pt x="106249" y="498494"/>
                    </a:lnTo>
                    <a:lnTo>
                      <a:pt x="105694" y="498944"/>
                    </a:lnTo>
                    <a:lnTo>
                      <a:pt x="102935" y="499607"/>
                    </a:lnTo>
                    <a:lnTo>
                      <a:pt x="102105" y="500997"/>
                    </a:lnTo>
                    <a:lnTo>
                      <a:pt x="101745" y="504006"/>
                    </a:lnTo>
                    <a:lnTo>
                      <a:pt x="104394" y="503936"/>
                    </a:lnTo>
                    <a:lnTo>
                      <a:pt x="104471" y="506778"/>
                    </a:lnTo>
                    <a:lnTo>
                      <a:pt x="101302" y="508945"/>
                    </a:lnTo>
                    <a:lnTo>
                      <a:pt x="97937" y="512701"/>
                    </a:lnTo>
                    <a:lnTo>
                      <a:pt x="95204" y="513875"/>
                    </a:lnTo>
                    <a:lnTo>
                      <a:pt x="93934" y="508235"/>
                    </a:lnTo>
                    <a:lnTo>
                      <a:pt x="95240" y="501829"/>
                    </a:lnTo>
                    <a:lnTo>
                      <a:pt x="98707" y="497853"/>
                    </a:lnTo>
                    <a:close/>
                    <a:moveTo>
                      <a:pt x="150889" y="282537"/>
                    </a:moveTo>
                    <a:lnTo>
                      <a:pt x="151906" y="282584"/>
                    </a:lnTo>
                    <a:lnTo>
                      <a:pt x="152163" y="286041"/>
                    </a:lnTo>
                    <a:lnTo>
                      <a:pt x="151044" y="291158"/>
                    </a:lnTo>
                    <a:lnTo>
                      <a:pt x="150800" y="293030"/>
                    </a:lnTo>
                    <a:lnTo>
                      <a:pt x="152308" y="290871"/>
                    </a:lnTo>
                    <a:lnTo>
                      <a:pt x="153606" y="290675"/>
                    </a:lnTo>
                    <a:lnTo>
                      <a:pt x="154357" y="293543"/>
                    </a:lnTo>
                    <a:lnTo>
                      <a:pt x="153526" y="297469"/>
                    </a:lnTo>
                    <a:lnTo>
                      <a:pt x="152135" y="301382"/>
                    </a:lnTo>
                    <a:lnTo>
                      <a:pt x="150599" y="307396"/>
                    </a:lnTo>
                    <a:lnTo>
                      <a:pt x="149386" y="310107"/>
                    </a:lnTo>
                    <a:lnTo>
                      <a:pt x="148342" y="310029"/>
                    </a:lnTo>
                    <a:lnTo>
                      <a:pt x="148450" y="307275"/>
                    </a:lnTo>
                    <a:lnTo>
                      <a:pt x="149117" y="303277"/>
                    </a:lnTo>
                    <a:lnTo>
                      <a:pt x="149112" y="298630"/>
                    </a:lnTo>
                    <a:lnTo>
                      <a:pt x="148793" y="297630"/>
                    </a:lnTo>
                    <a:lnTo>
                      <a:pt x="148643" y="300028"/>
                    </a:lnTo>
                    <a:lnTo>
                      <a:pt x="148226" y="302340"/>
                    </a:lnTo>
                    <a:lnTo>
                      <a:pt x="145420" y="307320"/>
                    </a:lnTo>
                    <a:lnTo>
                      <a:pt x="142816" y="309839"/>
                    </a:lnTo>
                    <a:lnTo>
                      <a:pt x="142392" y="308204"/>
                    </a:lnTo>
                    <a:lnTo>
                      <a:pt x="144739" y="304683"/>
                    </a:lnTo>
                    <a:lnTo>
                      <a:pt x="145552" y="300323"/>
                    </a:lnTo>
                    <a:lnTo>
                      <a:pt x="146241" y="294987"/>
                    </a:lnTo>
                    <a:lnTo>
                      <a:pt x="147945" y="291112"/>
                    </a:lnTo>
                    <a:lnTo>
                      <a:pt x="147406" y="288751"/>
                    </a:lnTo>
                    <a:lnTo>
                      <a:pt x="146099" y="286925"/>
                    </a:lnTo>
                    <a:lnTo>
                      <a:pt x="146295" y="285241"/>
                    </a:lnTo>
                    <a:lnTo>
                      <a:pt x="149677" y="284206"/>
                    </a:lnTo>
                    <a:close/>
                    <a:moveTo>
                      <a:pt x="8915" y="270213"/>
                    </a:moveTo>
                    <a:lnTo>
                      <a:pt x="11113" y="270854"/>
                    </a:lnTo>
                    <a:lnTo>
                      <a:pt x="11999" y="274037"/>
                    </a:lnTo>
                    <a:lnTo>
                      <a:pt x="12295" y="280866"/>
                    </a:lnTo>
                    <a:lnTo>
                      <a:pt x="9546" y="285209"/>
                    </a:lnTo>
                    <a:lnTo>
                      <a:pt x="4947" y="283280"/>
                    </a:lnTo>
                    <a:lnTo>
                      <a:pt x="1362" y="279994"/>
                    </a:lnTo>
                    <a:lnTo>
                      <a:pt x="0" y="277751"/>
                    </a:lnTo>
                    <a:lnTo>
                      <a:pt x="317" y="274948"/>
                    </a:lnTo>
                    <a:lnTo>
                      <a:pt x="1598" y="273122"/>
                    </a:lnTo>
                    <a:lnTo>
                      <a:pt x="4515" y="270999"/>
                    </a:lnTo>
                    <a:close/>
                    <a:moveTo>
                      <a:pt x="195951" y="253338"/>
                    </a:moveTo>
                    <a:lnTo>
                      <a:pt x="196883" y="255404"/>
                    </a:lnTo>
                    <a:lnTo>
                      <a:pt x="197355" y="259135"/>
                    </a:lnTo>
                    <a:lnTo>
                      <a:pt x="198085" y="262467"/>
                    </a:lnTo>
                    <a:lnTo>
                      <a:pt x="199433" y="262483"/>
                    </a:lnTo>
                    <a:lnTo>
                      <a:pt x="201702" y="260275"/>
                    </a:lnTo>
                    <a:lnTo>
                      <a:pt x="201810" y="262882"/>
                    </a:lnTo>
                    <a:lnTo>
                      <a:pt x="201572" y="268378"/>
                    </a:lnTo>
                    <a:lnTo>
                      <a:pt x="200433" y="272536"/>
                    </a:lnTo>
                    <a:lnTo>
                      <a:pt x="199160" y="275797"/>
                    </a:lnTo>
                    <a:lnTo>
                      <a:pt x="198108" y="284040"/>
                    </a:lnTo>
                    <a:lnTo>
                      <a:pt x="196220" y="285083"/>
                    </a:lnTo>
                    <a:lnTo>
                      <a:pt x="190539" y="281032"/>
                    </a:lnTo>
                    <a:lnTo>
                      <a:pt x="188682" y="278483"/>
                    </a:lnTo>
                    <a:lnTo>
                      <a:pt x="188819" y="266075"/>
                    </a:lnTo>
                    <a:lnTo>
                      <a:pt x="185538" y="261461"/>
                    </a:lnTo>
                    <a:lnTo>
                      <a:pt x="185537" y="257358"/>
                    </a:lnTo>
                    <a:lnTo>
                      <a:pt x="189153" y="256677"/>
                    </a:lnTo>
                    <a:lnTo>
                      <a:pt x="192685" y="258252"/>
                    </a:lnTo>
                    <a:lnTo>
                      <a:pt x="194161" y="257269"/>
                    </a:lnTo>
                    <a:lnTo>
                      <a:pt x="194653" y="254082"/>
                    </a:lnTo>
                    <a:close/>
                    <a:moveTo>
                      <a:pt x="224793" y="176501"/>
                    </a:moveTo>
                    <a:lnTo>
                      <a:pt x="225134" y="178200"/>
                    </a:lnTo>
                    <a:lnTo>
                      <a:pt x="223985" y="180401"/>
                    </a:lnTo>
                    <a:lnTo>
                      <a:pt x="221519" y="183615"/>
                    </a:lnTo>
                    <a:lnTo>
                      <a:pt x="218445" y="188545"/>
                    </a:lnTo>
                    <a:lnTo>
                      <a:pt x="213485" y="194660"/>
                    </a:lnTo>
                    <a:lnTo>
                      <a:pt x="206150" y="197281"/>
                    </a:lnTo>
                    <a:lnTo>
                      <a:pt x="202496" y="195108"/>
                    </a:lnTo>
                    <a:lnTo>
                      <a:pt x="203398" y="192978"/>
                    </a:lnTo>
                    <a:lnTo>
                      <a:pt x="204354" y="191499"/>
                    </a:lnTo>
                    <a:lnTo>
                      <a:pt x="204670" y="189562"/>
                    </a:lnTo>
                    <a:lnTo>
                      <a:pt x="205535" y="186656"/>
                    </a:lnTo>
                    <a:lnTo>
                      <a:pt x="207331" y="183935"/>
                    </a:lnTo>
                    <a:lnTo>
                      <a:pt x="209409" y="182836"/>
                    </a:lnTo>
                    <a:lnTo>
                      <a:pt x="211591" y="182511"/>
                    </a:lnTo>
                    <a:lnTo>
                      <a:pt x="213271" y="181067"/>
                    </a:lnTo>
                    <a:lnTo>
                      <a:pt x="214498" y="179065"/>
                    </a:lnTo>
                    <a:lnTo>
                      <a:pt x="221146" y="178173"/>
                    </a:lnTo>
                    <a:lnTo>
                      <a:pt x="223103" y="177402"/>
                    </a:lnTo>
                    <a:lnTo>
                      <a:pt x="223649" y="176776"/>
                    </a:lnTo>
                    <a:close/>
                    <a:moveTo>
                      <a:pt x="238284" y="83582"/>
                    </a:moveTo>
                    <a:lnTo>
                      <a:pt x="240318" y="84593"/>
                    </a:lnTo>
                    <a:lnTo>
                      <a:pt x="240691" y="87081"/>
                    </a:lnTo>
                    <a:lnTo>
                      <a:pt x="240567" y="89776"/>
                    </a:lnTo>
                    <a:lnTo>
                      <a:pt x="241039" y="91280"/>
                    </a:lnTo>
                    <a:lnTo>
                      <a:pt x="242693" y="91341"/>
                    </a:lnTo>
                    <a:lnTo>
                      <a:pt x="243922" y="90331"/>
                    </a:lnTo>
                    <a:lnTo>
                      <a:pt x="244853" y="89114"/>
                    </a:lnTo>
                    <a:lnTo>
                      <a:pt x="245531" y="88497"/>
                    </a:lnTo>
                    <a:lnTo>
                      <a:pt x="248454" y="89131"/>
                    </a:lnTo>
                    <a:lnTo>
                      <a:pt x="250562" y="91194"/>
                    </a:lnTo>
                    <a:lnTo>
                      <a:pt x="251366" y="94458"/>
                    </a:lnTo>
                    <a:lnTo>
                      <a:pt x="250421" y="98738"/>
                    </a:lnTo>
                    <a:lnTo>
                      <a:pt x="245997" y="103308"/>
                    </a:lnTo>
                    <a:lnTo>
                      <a:pt x="240693" y="101925"/>
                    </a:lnTo>
                    <a:lnTo>
                      <a:pt x="235129" y="99135"/>
                    </a:lnTo>
                    <a:lnTo>
                      <a:pt x="229820" y="99520"/>
                    </a:lnTo>
                    <a:lnTo>
                      <a:pt x="229929" y="102360"/>
                    </a:lnTo>
                    <a:lnTo>
                      <a:pt x="231022" y="103532"/>
                    </a:lnTo>
                    <a:lnTo>
                      <a:pt x="231624" y="104660"/>
                    </a:lnTo>
                    <a:lnTo>
                      <a:pt x="232107" y="105855"/>
                    </a:lnTo>
                    <a:lnTo>
                      <a:pt x="232803" y="107242"/>
                    </a:lnTo>
                    <a:lnTo>
                      <a:pt x="227620" y="106208"/>
                    </a:lnTo>
                    <a:lnTo>
                      <a:pt x="223288" y="100134"/>
                    </a:lnTo>
                    <a:lnTo>
                      <a:pt x="216509" y="87218"/>
                    </a:lnTo>
                    <a:lnTo>
                      <a:pt x="216403" y="84392"/>
                    </a:lnTo>
                    <a:close/>
                    <a:moveTo>
                      <a:pt x="148235" y="81210"/>
                    </a:moveTo>
                    <a:lnTo>
                      <a:pt x="150356" y="88757"/>
                    </a:lnTo>
                    <a:lnTo>
                      <a:pt x="150591" y="91795"/>
                    </a:lnTo>
                    <a:lnTo>
                      <a:pt x="149858" y="94429"/>
                    </a:lnTo>
                    <a:lnTo>
                      <a:pt x="150514" y="97734"/>
                    </a:lnTo>
                    <a:lnTo>
                      <a:pt x="150324" y="100164"/>
                    </a:lnTo>
                    <a:lnTo>
                      <a:pt x="149319" y="101717"/>
                    </a:lnTo>
                    <a:lnTo>
                      <a:pt x="147540" y="102316"/>
                    </a:lnTo>
                    <a:lnTo>
                      <a:pt x="149188" y="111044"/>
                    </a:lnTo>
                    <a:lnTo>
                      <a:pt x="147812" y="115189"/>
                    </a:lnTo>
                    <a:lnTo>
                      <a:pt x="145174" y="118191"/>
                    </a:lnTo>
                    <a:lnTo>
                      <a:pt x="143053" y="123322"/>
                    </a:lnTo>
                    <a:lnTo>
                      <a:pt x="146918" y="123204"/>
                    </a:lnTo>
                    <a:lnTo>
                      <a:pt x="146082" y="125109"/>
                    </a:lnTo>
                    <a:lnTo>
                      <a:pt x="145253" y="125787"/>
                    </a:lnTo>
                    <a:lnTo>
                      <a:pt x="143141" y="126147"/>
                    </a:lnTo>
                    <a:lnTo>
                      <a:pt x="144205" y="126844"/>
                    </a:lnTo>
                    <a:lnTo>
                      <a:pt x="144844" y="127664"/>
                    </a:lnTo>
                    <a:lnTo>
                      <a:pt x="145609" y="128340"/>
                    </a:lnTo>
                    <a:lnTo>
                      <a:pt x="147090" y="128637"/>
                    </a:lnTo>
                    <a:lnTo>
                      <a:pt x="143625" y="141546"/>
                    </a:lnTo>
                    <a:lnTo>
                      <a:pt x="145414" y="141119"/>
                    </a:lnTo>
                    <a:lnTo>
                      <a:pt x="147085" y="140104"/>
                    </a:lnTo>
                    <a:lnTo>
                      <a:pt x="148608" y="138535"/>
                    </a:lnTo>
                    <a:lnTo>
                      <a:pt x="149996" y="136379"/>
                    </a:lnTo>
                    <a:lnTo>
                      <a:pt x="151275" y="138701"/>
                    </a:lnTo>
                    <a:lnTo>
                      <a:pt x="148800" y="144590"/>
                    </a:lnTo>
                    <a:lnTo>
                      <a:pt x="148354" y="146949"/>
                    </a:lnTo>
                    <a:lnTo>
                      <a:pt x="149032" y="149212"/>
                    </a:lnTo>
                    <a:lnTo>
                      <a:pt x="149122" y="152053"/>
                    </a:lnTo>
                    <a:lnTo>
                      <a:pt x="145545" y="153794"/>
                    </a:lnTo>
                    <a:lnTo>
                      <a:pt x="141463" y="167220"/>
                    </a:lnTo>
                    <a:lnTo>
                      <a:pt x="138086" y="170647"/>
                    </a:lnTo>
                    <a:lnTo>
                      <a:pt x="138174" y="173503"/>
                    </a:lnTo>
                    <a:lnTo>
                      <a:pt x="140588" y="173710"/>
                    </a:lnTo>
                    <a:lnTo>
                      <a:pt x="142929" y="173299"/>
                    </a:lnTo>
                    <a:lnTo>
                      <a:pt x="145102" y="172207"/>
                    </a:lnTo>
                    <a:lnTo>
                      <a:pt x="147005" y="170378"/>
                    </a:lnTo>
                    <a:lnTo>
                      <a:pt x="146534" y="163493"/>
                    </a:lnTo>
                    <a:lnTo>
                      <a:pt x="151569" y="159422"/>
                    </a:lnTo>
                    <a:lnTo>
                      <a:pt x="163446" y="156826"/>
                    </a:lnTo>
                    <a:lnTo>
                      <a:pt x="154292" y="150215"/>
                    </a:lnTo>
                    <a:lnTo>
                      <a:pt x="151532" y="146757"/>
                    </a:lnTo>
                    <a:lnTo>
                      <a:pt x="153380" y="143810"/>
                    </a:lnTo>
                    <a:lnTo>
                      <a:pt x="155718" y="141609"/>
                    </a:lnTo>
                    <a:lnTo>
                      <a:pt x="157637" y="142574"/>
                    </a:lnTo>
                    <a:lnTo>
                      <a:pt x="158143" y="148929"/>
                    </a:lnTo>
                    <a:lnTo>
                      <a:pt x="159794" y="146608"/>
                    </a:lnTo>
                    <a:lnTo>
                      <a:pt x="163419" y="139671"/>
                    </a:lnTo>
                    <a:lnTo>
                      <a:pt x="164072" y="137132"/>
                    </a:lnTo>
                    <a:lnTo>
                      <a:pt x="165800" y="136051"/>
                    </a:lnTo>
                    <a:lnTo>
                      <a:pt x="169303" y="138083"/>
                    </a:lnTo>
                    <a:lnTo>
                      <a:pt x="171885" y="141869"/>
                    </a:lnTo>
                    <a:lnTo>
                      <a:pt x="170832" y="146145"/>
                    </a:lnTo>
                    <a:lnTo>
                      <a:pt x="173216" y="147187"/>
                    </a:lnTo>
                    <a:lnTo>
                      <a:pt x="175214" y="149065"/>
                    </a:lnTo>
                    <a:lnTo>
                      <a:pt x="176742" y="152013"/>
                    </a:lnTo>
                    <a:lnTo>
                      <a:pt x="177735" y="156362"/>
                    </a:lnTo>
                    <a:lnTo>
                      <a:pt x="176811" y="158118"/>
                    </a:lnTo>
                    <a:lnTo>
                      <a:pt x="176534" y="159013"/>
                    </a:lnTo>
                    <a:lnTo>
                      <a:pt x="179063" y="161277"/>
                    </a:lnTo>
                    <a:lnTo>
                      <a:pt x="176821" y="163386"/>
                    </a:lnTo>
                    <a:lnTo>
                      <a:pt x="172604" y="161193"/>
                    </a:lnTo>
                    <a:lnTo>
                      <a:pt x="170751" y="162978"/>
                    </a:lnTo>
                    <a:lnTo>
                      <a:pt x="169272" y="165669"/>
                    </a:lnTo>
                    <a:lnTo>
                      <a:pt x="167510" y="167698"/>
                    </a:lnTo>
                    <a:lnTo>
                      <a:pt x="165635" y="169110"/>
                    </a:lnTo>
                    <a:lnTo>
                      <a:pt x="166309" y="169974"/>
                    </a:lnTo>
                    <a:lnTo>
                      <a:pt x="168578" y="169295"/>
                    </a:lnTo>
                    <a:lnTo>
                      <a:pt x="172936" y="166948"/>
                    </a:lnTo>
                    <a:lnTo>
                      <a:pt x="172223" y="167919"/>
                    </a:lnTo>
                    <a:lnTo>
                      <a:pt x="170328" y="169644"/>
                    </a:lnTo>
                    <a:lnTo>
                      <a:pt x="170423" y="172499"/>
                    </a:lnTo>
                    <a:lnTo>
                      <a:pt x="176718" y="168518"/>
                    </a:lnTo>
                    <a:lnTo>
                      <a:pt x="178992" y="170028"/>
                    </a:lnTo>
                    <a:lnTo>
                      <a:pt x="179612" y="177390"/>
                    </a:lnTo>
                    <a:lnTo>
                      <a:pt x="181019" y="177343"/>
                    </a:lnTo>
                    <a:lnTo>
                      <a:pt x="181638" y="173390"/>
                    </a:lnTo>
                    <a:lnTo>
                      <a:pt x="182260" y="173137"/>
                    </a:lnTo>
                    <a:lnTo>
                      <a:pt x="183186" y="173665"/>
                    </a:lnTo>
                    <a:lnTo>
                      <a:pt x="184714" y="172029"/>
                    </a:lnTo>
                    <a:lnTo>
                      <a:pt x="185395" y="169722"/>
                    </a:lnTo>
                    <a:lnTo>
                      <a:pt x="185872" y="166831"/>
                    </a:lnTo>
                    <a:lnTo>
                      <a:pt x="186642" y="163759"/>
                    </a:lnTo>
                    <a:lnTo>
                      <a:pt x="188175" y="160972"/>
                    </a:lnTo>
                    <a:lnTo>
                      <a:pt x="188872" y="162224"/>
                    </a:lnTo>
                    <a:lnTo>
                      <a:pt x="189214" y="163455"/>
                    </a:lnTo>
                    <a:lnTo>
                      <a:pt x="189571" y="166396"/>
                    </a:lnTo>
                    <a:lnTo>
                      <a:pt x="191054" y="160035"/>
                    </a:lnTo>
                    <a:lnTo>
                      <a:pt x="193778" y="155544"/>
                    </a:lnTo>
                    <a:lnTo>
                      <a:pt x="197242" y="153140"/>
                    </a:lnTo>
                    <a:lnTo>
                      <a:pt x="200922" y="152966"/>
                    </a:lnTo>
                    <a:lnTo>
                      <a:pt x="198465" y="159658"/>
                    </a:lnTo>
                    <a:lnTo>
                      <a:pt x="185710" y="176145"/>
                    </a:lnTo>
                    <a:lnTo>
                      <a:pt x="184711" y="179069"/>
                    </a:lnTo>
                    <a:lnTo>
                      <a:pt x="185064" y="182181"/>
                    </a:lnTo>
                    <a:lnTo>
                      <a:pt x="186262" y="182763"/>
                    </a:lnTo>
                    <a:lnTo>
                      <a:pt x="187622" y="180883"/>
                    </a:lnTo>
                    <a:lnTo>
                      <a:pt x="189343" y="177065"/>
                    </a:lnTo>
                    <a:lnTo>
                      <a:pt x="190388" y="175910"/>
                    </a:lnTo>
                    <a:lnTo>
                      <a:pt x="192784" y="174027"/>
                    </a:lnTo>
                    <a:lnTo>
                      <a:pt x="195273" y="173909"/>
                    </a:lnTo>
                    <a:lnTo>
                      <a:pt x="196542" y="178015"/>
                    </a:lnTo>
                    <a:lnTo>
                      <a:pt x="196510" y="180147"/>
                    </a:lnTo>
                    <a:lnTo>
                      <a:pt x="196172" y="184089"/>
                    </a:lnTo>
                    <a:lnTo>
                      <a:pt x="195361" y="187956"/>
                    </a:lnTo>
                    <a:lnTo>
                      <a:pt x="193767" y="189720"/>
                    </a:lnTo>
                    <a:lnTo>
                      <a:pt x="179066" y="191845"/>
                    </a:lnTo>
                    <a:lnTo>
                      <a:pt x="176267" y="193149"/>
                    </a:lnTo>
                    <a:lnTo>
                      <a:pt x="180303" y="196949"/>
                    </a:lnTo>
                    <a:lnTo>
                      <a:pt x="189915" y="198989"/>
                    </a:lnTo>
                    <a:lnTo>
                      <a:pt x="194957" y="202704"/>
                    </a:lnTo>
                    <a:lnTo>
                      <a:pt x="186231" y="212401"/>
                    </a:lnTo>
                    <a:lnTo>
                      <a:pt x="184148" y="213762"/>
                    </a:lnTo>
                    <a:lnTo>
                      <a:pt x="183499" y="214637"/>
                    </a:lnTo>
                    <a:lnTo>
                      <a:pt x="183443" y="216598"/>
                    </a:lnTo>
                    <a:lnTo>
                      <a:pt x="183797" y="218809"/>
                    </a:lnTo>
                    <a:lnTo>
                      <a:pt x="184376" y="220390"/>
                    </a:lnTo>
                    <a:lnTo>
                      <a:pt x="185314" y="220965"/>
                    </a:lnTo>
                    <a:lnTo>
                      <a:pt x="186626" y="218916"/>
                    </a:lnTo>
                    <a:lnTo>
                      <a:pt x="187620" y="219085"/>
                    </a:lnTo>
                    <a:lnTo>
                      <a:pt x="189103" y="219998"/>
                    </a:lnTo>
                    <a:lnTo>
                      <a:pt x="191678" y="220331"/>
                    </a:lnTo>
                    <a:lnTo>
                      <a:pt x="192870" y="221270"/>
                    </a:lnTo>
                    <a:lnTo>
                      <a:pt x="185554" y="229039"/>
                    </a:lnTo>
                    <a:lnTo>
                      <a:pt x="182163" y="230674"/>
                    </a:lnTo>
                    <a:lnTo>
                      <a:pt x="178935" y="229801"/>
                    </a:lnTo>
                    <a:lnTo>
                      <a:pt x="176874" y="224819"/>
                    </a:lnTo>
                    <a:lnTo>
                      <a:pt x="175214" y="222090"/>
                    </a:lnTo>
                    <a:lnTo>
                      <a:pt x="173370" y="221917"/>
                    </a:lnTo>
                    <a:lnTo>
                      <a:pt x="172208" y="224099"/>
                    </a:lnTo>
                    <a:lnTo>
                      <a:pt x="172481" y="226515"/>
                    </a:lnTo>
                    <a:lnTo>
                      <a:pt x="173610" y="228623"/>
                    </a:lnTo>
                    <a:lnTo>
                      <a:pt x="175052" y="229929"/>
                    </a:lnTo>
                    <a:lnTo>
                      <a:pt x="175132" y="232304"/>
                    </a:lnTo>
                    <a:lnTo>
                      <a:pt x="173277" y="232303"/>
                    </a:lnTo>
                    <a:lnTo>
                      <a:pt x="171714" y="232927"/>
                    </a:lnTo>
                    <a:lnTo>
                      <a:pt x="168726" y="235122"/>
                    </a:lnTo>
                    <a:lnTo>
                      <a:pt x="168804" y="237482"/>
                    </a:lnTo>
                    <a:lnTo>
                      <a:pt x="176465" y="237234"/>
                    </a:lnTo>
                    <a:lnTo>
                      <a:pt x="175316" y="239851"/>
                    </a:lnTo>
                    <a:lnTo>
                      <a:pt x="174385" y="242539"/>
                    </a:lnTo>
                    <a:lnTo>
                      <a:pt x="172944" y="248010"/>
                    </a:lnTo>
                    <a:lnTo>
                      <a:pt x="176270" y="242711"/>
                    </a:lnTo>
                    <a:lnTo>
                      <a:pt x="178087" y="240849"/>
                    </a:lnTo>
                    <a:lnTo>
                      <a:pt x="180578" y="239958"/>
                    </a:lnTo>
                    <a:lnTo>
                      <a:pt x="175429" y="252902"/>
                    </a:lnTo>
                    <a:lnTo>
                      <a:pt x="174598" y="258618"/>
                    </a:lnTo>
                    <a:lnTo>
                      <a:pt x="177513" y="254109"/>
                    </a:lnTo>
                    <a:lnTo>
                      <a:pt x="181512" y="252190"/>
                    </a:lnTo>
                    <a:lnTo>
                      <a:pt x="183704" y="254029"/>
                    </a:lnTo>
                    <a:lnTo>
                      <a:pt x="181285" y="260777"/>
                    </a:lnTo>
                    <a:lnTo>
                      <a:pt x="187957" y="266011"/>
                    </a:lnTo>
                    <a:lnTo>
                      <a:pt x="188039" y="268386"/>
                    </a:lnTo>
                    <a:lnTo>
                      <a:pt x="182720" y="268563"/>
                    </a:lnTo>
                    <a:lnTo>
                      <a:pt x="182817" y="271404"/>
                    </a:lnTo>
                    <a:lnTo>
                      <a:pt x="184234" y="271357"/>
                    </a:lnTo>
                    <a:lnTo>
                      <a:pt x="184323" y="273965"/>
                    </a:lnTo>
                    <a:lnTo>
                      <a:pt x="181087" y="271834"/>
                    </a:lnTo>
                    <a:lnTo>
                      <a:pt x="179230" y="273792"/>
                    </a:lnTo>
                    <a:lnTo>
                      <a:pt x="177305" y="276497"/>
                    </a:lnTo>
                    <a:lnTo>
                      <a:pt x="173899" y="276685"/>
                    </a:lnTo>
                    <a:lnTo>
                      <a:pt x="176714" y="279437"/>
                    </a:lnTo>
                    <a:lnTo>
                      <a:pt x="175929" y="282634"/>
                    </a:lnTo>
                    <a:lnTo>
                      <a:pt x="174980" y="284436"/>
                    </a:lnTo>
                    <a:lnTo>
                      <a:pt x="173592" y="285166"/>
                    </a:lnTo>
                    <a:lnTo>
                      <a:pt x="171555" y="285059"/>
                    </a:lnTo>
                    <a:lnTo>
                      <a:pt x="171633" y="287404"/>
                    </a:lnTo>
                    <a:lnTo>
                      <a:pt x="173150" y="287759"/>
                    </a:lnTo>
                    <a:lnTo>
                      <a:pt x="177063" y="289840"/>
                    </a:lnTo>
                    <a:lnTo>
                      <a:pt x="173949" y="294261"/>
                    </a:lnTo>
                    <a:lnTo>
                      <a:pt x="175910" y="299266"/>
                    </a:lnTo>
                    <a:lnTo>
                      <a:pt x="179548" y="302784"/>
                    </a:lnTo>
                    <a:lnTo>
                      <a:pt x="181404" y="302738"/>
                    </a:lnTo>
                    <a:lnTo>
                      <a:pt x="180563" y="308221"/>
                    </a:lnTo>
                    <a:lnTo>
                      <a:pt x="177780" y="311250"/>
                    </a:lnTo>
                    <a:lnTo>
                      <a:pt x="174260" y="312032"/>
                    </a:lnTo>
                    <a:lnTo>
                      <a:pt x="171229" y="310901"/>
                    </a:lnTo>
                    <a:lnTo>
                      <a:pt x="172223" y="316045"/>
                    </a:lnTo>
                    <a:lnTo>
                      <a:pt x="176878" y="326853"/>
                    </a:lnTo>
                    <a:lnTo>
                      <a:pt x="175371" y="331145"/>
                    </a:lnTo>
                    <a:lnTo>
                      <a:pt x="172579" y="331048"/>
                    </a:lnTo>
                    <a:lnTo>
                      <a:pt x="166425" y="327187"/>
                    </a:lnTo>
                    <a:lnTo>
                      <a:pt x="167507" y="335033"/>
                    </a:lnTo>
                    <a:lnTo>
                      <a:pt x="167341" y="343105"/>
                    </a:lnTo>
                    <a:lnTo>
                      <a:pt x="165978" y="350329"/>
                    </a:lnTo>
                    <a:lnTo>
                      <a:pt x="163437" y="355725"/>
                    </a:lnTo>
                    <a:lnTo>
                      <a:pt x="162591" y="353932"/>
                    </a:lnTo>
                    <a:lnTo>
                      <a:pt x="162044" y="353157"/>
                    </a:lnTo>
                    <a:lnTo>
                      <a:pt x="163715" y="357566"/>
                    </a:lnTo>
                    <a:lnTo>
                      <a:pt x="164459" y="361754"/>
                    </a:lnTo>
                    <a:lnTo>
                      <a:pt x="164118" y="366195"/>
                    </a:lnTo>
                    <a:lnTo>
                      <a:pt x="162630" y="371402"/>
                    </a:lnTo>
                    <a:lnTo>
                      <a:pt x="164794" y="374070"/>
                    </a:lnTo>
                    <a:lnTo>
                      <a:pt x="165430" y="377298"/>
                    </a:lnTo>
                    <a:lnTo>
                      <a:pt x="164750" y="380210"/>
                    </a:lnTo>
                    <a:lnTo>
                      <a:pt x="162972" y="382038"/>
                    </a:lnTo>
                    <a:lnTo>
                      <a:pt x="162170" y="380183"/>
                    </a:lnTo>
                    <a:lnTo>
                      <a:pt x="158794" y="374350"/>
                    </a:lnTo>
                    <a:lnTo>
                      <a:pt x="157413" y="378340"/>
                    </a:lnTo>
                    <a:lnTo>
                      <a:pt x="155821" y="377923"/>
                    </a:lnTo>
                    <a:lnTo>
                      <a:pt x="155394" y="375045"/>
                    </a:lnTo>
                    <a:lnTo>
                      <a:pt x="157479" y="371562"/>
                    </a:lnTo>
                    <a:lnTo>
                      <a:pt x="157396" y="368954"/>
                    </a:lnTo>
                    <a:lnTo>
                      <a:pt x="154424" y="366340"/>
                    </a:lnTo>
                    <a:lnTo>
                      <a:pt x="148449" y="368045"/>
                    </a:lnTo>
                    <a:lnTo>
                      <a:pt x="145308" y="366491"/>
                    </a:lnTo>
                    <a:lnTo>
                      <a:pt x="142870" y="361854"/>
                    </a:lnTo>
                    <a:lnTo>
                      <a:pt x="146157" y="356814"/>
                    </a:lnTo>
                    <a:lnTo>
                      <a:pt x="144825" y="350839"/>
                    </a:lnTo>
                    <a:lnTo>
                      <a:pt x="146319" y="347686"/>
                    </a:lnTo>
                    <a:lnTo>
                      <a:pt x="148146" y="345750"/>
                    </a:lnTo>
                    <a:lnTo>
                      <a:pt x="150244" y="345020"/>
                    </a:lnTo>
                    <a:lnTo>
                      <a:pt x="152516" y="345385"/>
                    </a:lnTo>
                    <a:lnTo>
                      <a:pt x="152449" y="343242"/>
                    </a:lnTo>
                    <a:lnTo>
                      <a:pt x="148859" y="339093"/>
                    </a:lnTo>
                    <a:lnTo>
                      <a:pt x="147163" y="337947"/>
                    </a:lnTo>
                    <a:lnTo>
                      <a:pt x="147083" y="335354"/>
                    </a:lnTo>
                    <a:lnTo>
                      <a:pt x="152196" y="335199"/>
                    </a:lnTo>
                    <a:lnTo>
                      <a:pt x="150886" y="328432"/>
                    </a:lnTo>
                    <a:lnTo>
                      <a:pt x="152743" y="322407"/>
                    </a:lnTo>
                    <a:lnTo>
                      <a:pt x="155431" y="315874"/>
                    </a:lnTo>
                    <a:lnTo>
                      <a:pt x="157748" y="297618"/>
                    </a:lnTo>
                    <a:lnTo>
                      <a:pt x="160302" y="290064"/>
                    </a:lnTo>
                    <a:lnTo>
                      <a:pt x="162049" y="282424"/>
                    </a:lnTo>
                    <a:lnTo>
                      <a:pt x="160739" y="272115"/>
                    </a:lnTo>
                    <a:lnTo>
                      <a:pt x="159675" y="270609"/>
                    </a:lnTo>
                    <a:lnTo>
                      <a:pt x="158565" y="271064"/>
                    </a:lnTo>
                    <a:lnTo>
                      <a:pt x="157494" y="270771"/>
                    </a:lnTo>
                    <a:lnTo>
                      <a:pt x="156545" y="267024"/>
                    </a:lnTo>
                    <a:lnTo>
                      <a:pt x="156638" y="265575"/>
                    </a:lnTo>
                    <a:lnTo>
                      <a:pt x="157126" y="263649"/>
                    </a:lnTo>
                    <a:lnTo>
                      <a:pt x="159895" y="255606"/>
                    </a:lnTo>
                    <a:lnTo>
                      <a:pt x="157966" y="255790"/>
                    </a:lnTo>
                    <a:lnTo>
                      <a:pt x="155271" y="257957"/>
                    </a:lnTo>
                    <a:lnTo>
                      <a:pt x="154530" y="259253"/>
                    </a:lnTo>
                    <a:lnTo>
                      <a:pt x="152425" y="259038"/>
                    </a:lnTo>
                    <a:lnTo>
                      <a:pt x="151771" y="257692"/>
                    </a:lnTo>
                    <a:lnTo>
                      <a:pt x="152257" y="254475"/>
                    </a:lnTo>
                    <a:lnTo>
                      <a:pt x="154720" y="244328"/>
                    </a:lnTo>
                    <a:lnTo>
                      <a:pt x="156098" y="240509"/>
                    </a:lnTo>
                    <a:lnTo>
                      <a:pt x="157724" y="237428"/>
                    </a:lnTo>
                    <a:lnTo>
                      <a:pt x="159552" y="235412"/>
                    </a:lnTo>
                    <a:lnTo>
                      <a:pt x="159468" y="232804"/>
                    </a:lnTo>
                    <a:lnTo>
                      <a:pt x="155810" y="232499"/>
                    </a:lnTo>
                    <a:lnTo>
                      <a:pt x="153159" y="236590"/>
                    </a:lnTo>
                    <a:lnTo>
                      <a:pt x="148285" y="248784"/>
                    </a:lnTo>
                    <a:lnTo>
                      <a:pt x="145396" y="239998"/>
                    </a:lnTo>
                    <a:lnTo>
                      <a:pt x="142416" y="233654"/>
                    </a:lnTo>
                    <a:lnTo>
                      <a:pt x="138325" y="229783"/>
                    </a:lnTo>
                    <a:lnTo>
                      <a:pt x="132103" y="228412"/>
                    </a:lnTo>
                    <a:lnTo>
                      <a:pt x="132189" y="231253"/>
                    </a:lnTo>
                    <a:lnTo>
                      <a:pt x="135905" y="233009"/>
                    </a:lnTo>
                    <a:lnTo>
                      <a:pt x="138993" y="236197"/>
                    </a:lnTo>
                    <a:lnTo>
                      <a:pt x="141721" y="240684"/>
                    </a:lnTo>
                    <a:lnTo>
                      <a:pt x="144316" y="246294"/>
                    </a:lnTo>
                    <a:lnTo>
                      <a:pt x="143187" y="251799"/>
                    </a:lnTo>
                    <a:lnTo>
                      <a:pt x="139354" y="247965"/>
                    </a:lnTo>
                    <a:lnTo>
                      <a:pt x="137559" y="246682"/>
                    </a:lnTo>
                    <a:lnTo>
                      <a:pt x="135127" y="246568"/>
                    </a:lnTo>
                    <a:lnTo>
                      <a:pt x="135440" y="253582"/>
                    </a:lnTo>
                    <a:lnTo>
                      <a:pt x="134255" y="258652"/>
                    </a:lnTo>
                    <a:lnTo>
                      <a:pt x="132567" y="259666"/>
                    </a:lnTo>
                    <a:lnTo>
                      <a:pt x="131451" y="254491"/>
                    </a:lnTo>
                    <a:lnTo>
                      <a:pt x="129219" y="256747"/>
                    </a:lnTo>
                    <a:lnTo>
                      <a:pt x="128549" y="260745"/>
                    </a:lnTo>
                    <a:lnTo>
                      <a:pt x="128140" y="264984"/>
                    </a:lnTo>
                    <a:lnTo>
                      <a:pt x="126663" y="267917"/>
                    </a:lnTo>
                    <a:lnTo>
                      <a:pt x="124855" y="267829"/>
                    </a:lnTo>
                    <a:lnTo>
                      <a:pt x="117308" y="262728"/>
                    </a:lnTo>
                    <a:lnTo>
                      <a:pt x="116883" y="261947"/>
                    </a:lnTo>
                    <a:lnTo>
                      <a:pt x="112655" y="257357"/>
                    </a:lnTo>
                    <a:lnTo>
                      <a:pt x="112083" y="257668"/>
                    </a:lnTo>
                    <a:lnTo>
                      <a:pt x="110792" y="254192"/>
                    </a:lnTo>
                    <a:lnTo>
                      <a:pt x="110842" y="252419"/>
                    </a:lnTo>
                    <a:lnTo>
                      <a:pt x="111860" y="249843"/>
                    </a:lnTo>
                    <a:lnTo>
                      <a:pt x="113977" y="247609"/>
                    </a:lnTo>
                    <a:lnTo>
                      <a:pt x="119652" y="245895"/>
                    </a:lnTo>
                    <a:lnTo>
                      <a:pt x="122081" y="244598"/>
                    </a:lnTo>
                    <a:lnTo>
                      <a:pt x="119591" y="242758"/>
                    </a:lnTo>
                    <a:lnTo>
                      <a:pt x="114723" y="234829"/>
                    </a:lnTo>
                    <a:lnTo>
                      <a:pt x="113993" y="237927"/>
                    </a:lnTo>
                    <a:lnTo>
                      <a:pt x="113123" y="243157"/>
                    </a:lnTo>
                    <a:lnTo>
                      <a:pt x="110998" y="246774"/>
                    </a:lnTo>
                    <a:lnTo>
                      <a:pt x="108788" y="247379"/>
                    </a:lnTo>
                    <a:lnTo>
                      <a:pt x="107660" y="243588"/>
                    </a:lnTo>
                    <a:lnTo>
                      <a:pt x="106407" y="240265"/>
                    </a:lnTo>
                    <a:lnTo>
                      <a:pt x="103696" y="241209"/>
                    </a:lnTo>
                    <a:lnTo>
                      <a:pt x="98040" y="245260"/>
                    </a:lnTo>
                    <a:lnTo>
                      <a:pt x="93851" y="245947"/>
                    </a:lnTo>
                    <a:lnTo>
                      <a:pt x="92028" y="245419"/>
                    </a:lnTo>
                    <a:lnTo>
                      <a:pt x="90931" y="244049"/>
                    </a:lnTo>
                    <a:lnTo>
                      <a:pt x="90702" y="242144"/>
                    </a:lnTo>
                    <a:lnTo>
                      <a:pt x="90348" y="240475"/>
                    </a:lnTo>
                    <a:lnTo>
                      <a:pt x="88799" y="239802"/>
                    </a:lnTo>
                    <a:lnTo>
                      <a:pt x="84904" y="239249"/>
                    </a:lnTo>
                    <a:lnTo>
                      <a:pt x="83240" y="237116"/>
                    </a:lnTo>
                    <a:lnTo>
                      <a:pt x="81157" y="227193"/>
                    </a:lnTo>
                    <a:lnTo>
                      <a:pt x="78911" y="219824"/>
                    </a:lnTo>
                    <a:lnTo>
                      <a:pt x="79571" y="217601"/>
                    </a:lnTo>
                    <a:lnTo>
                      <a:pt x="82235" y="214146"/>
                    </a:lnTo>
                    <a:lnTo>
                      <a:pt x="84914" y="211622"/>
                    </a:lnTo>
                    <a:lnTo>
                      <a:pt x="88391" y="209528"/>
                    </a:lnTo>
                    <a:lnTo>
                      <a:pt x="92029" y="208330"/>
                    </a:lnTo>
                    <a:lnTo>
                      <a:pt x="95151" y="208590"/>
                    </a:lnTo>
                    <a:lnTo>
                      <a:pt x="97993" y="210969"/>
                    </a:lnTo>
                    <a:lnTo>
                      <a:pt x="100177" y="214080"/>
                    </a:lnTo>
                    <a:lnTo>
                      <a:pt x="102500" y="216332"/>
                    </a:lnTo>
                    <a:lnTo>
                      <a:pt x="105697" y="216138"/>
                    </a:lnTo>
                    <a:lnTo>
                      <a:pt x="104148" y="210959"/>
                    </a:lnTo>
                    <a:lnTo>
                      <a:pt x="110819" y="213387"/>
                    </a:lnTo>
                    <a:lnTo>
                      <a:pt x="110745" y="210778"/>
                    </a:lnTo>
                    <a:lnTo>
                      <a:pt x="109334" y="210817"/>
                    </a:lnTo>
                    <a:lnTo>
                      <a:pt x="109260" y="208209"/>
                    </a:lnTo>
                    <a:lnTo>
                      <a:pt x="118126" y="206810"/>
                    </a:lnTo>
                    <a:lnTo>
                      <a:pt x="120835" y="209764"/>
                    </a:lnTo>
                    <a:lnTo>
                      <a:pt x="121392" y="221139"/>
                    </a:lnTo>
                    <a:lnTo>
                      <a:pt x="122330" y="220723"/>
                    </a:lnTo>
                    <a:lnTo>
                      <a:pt x="124413" y="219125"/>
                    </a:lnTo>
                    <a:lnTo>
                      <a:pt x="125188" y="218170"/>
                    </a:lnTo>
                    <a:lnTo>
                      <a:pt x="124184" y="216087"/>
                    </a:lnTo>
                    <a:lnTo>
                      <a:pt x="123016" y="212079"/>
                    </a:lnTo>
                    <a:lnTo>
                      <a:pt x="122375" y="210451"/>
                    </a:lnTo>
                    <a:lnTo>
                      <a:pt x="126266" y="210339"/>
                    </a:lnTo>
                    <a:lnTo>
                      <a:pt x="125696" y="208802"/>
                    </a:lnTo>
                    <a:lnTo>
                      <a:pt x="124794" y="204911"/>
                    </a:lnTo>
                    <a:lnTo>
                      <a:pt x="129126" y="202812"/>
                    </a:lnTo>
                    <a:lnTo>
                      <a:pt x="134174" y="204296"/>
                    </a:lnTo>
                    <a:lnTo>
                      <a:pt x="138514" y="209295"/>
                    </a:lnTo>
                    <a:lnTo>
                      <a:pt x="140718" y="217714"/>
                    </a:lnTo>
                    <a:lnTo>
                      <a:pt x="143233" y="213226"/>
                    </a:lnTo>
                    <a:lnTo>
                      <a:pt x="145763" y="209762"/>
                    </a:lnTo>
                    <a:lnTo>
                      <a:pt x="140308" y="204456"/>
                    </a:lnTo>
                    <a:lnTo>
                      <a:pt x="143873" y="194170"/>
                    </a:lnTo>
                    <a:lnTo>
                      <a:pt x="145231" y="195714"/>
                    </a:lnTo>
                    <a:lnTo>
                      <a:pt x="146434" y="196222"/>
                    </a:lnTo>
                    <a:lnTo>
                      <a:pt x="149236" y="196384"/>
                    </a:lnTo>
                    <a:lnTo>
                      <a:pt x="146721" y="192141"/>
                    </a:lnTo>
                    <a:lnTo>
                      <a:pt x="150076" y="190826"/>
                    </a:lnTo>
                    <a:lnTo>
                      <a:pt x="159505" y="190844"/>
                    </a:lnTo>
                    <a:lnTo>
                      <a:pt x="154876" y="187757"/>
                    </a:lnTo>
                    <a:lnTo>
                      <a:pt x="149251" y="186656"/>
                    </a:lnTo>
                    <a:lnTo>
                      <a:pt x="144675" y="183889"/>
                    </a:lnTo>
                    <a:lnTo>
                      <a:pt x="143296" y="175712"/>
                    </a:lnTo>
                    <a:lnTo>
                      <a:pt x="139833" y="180120"/>
                    </a:lnTo>
                    <a:lnTo>
                      <a:pt x="137822" y="181564"/>
                    </a:lnTo>
                    <a:lnTo>
                      <a:pt x="135723" y="181128"/>
                    </a:lnTo>
                    <a:lnTo>
                      <a:pt x="133636" y="178299"/>
                    </a:lnTo>
                    <a:lnTo>
                      <a:pt x="132848" y="174640"/>
                    </a:lnTo>
                    <a:lnTo>
                      <a:pt x="133367" y="170974"/>
                    </a:lnTo>
                    <a:lnTo>
                      <a:pt x="135325" y="168119"/>
                    </a:lnTo>
                    <a:lnTo>
                      <a:pt x="135245" y="165511"/>
                    </a:lnTo>
                    <a:lnTo>
                      <a:pt x="129357" y="165745"/>
                    </a:lnTo>
                    <a:lnTo>
                      <a:pt x="126791" y="165028"/>
                    </a:lnTo>
                    <a:lnTo>
                      <a:pt x="124854" y="162955"/>
                    </a:lnTo>
                    <a:lnTo>
                      <a:pt x="125235" y="158220"/>
                    </a:lnTo>
                    <a:lnTo>
                      <a:pt x="124693" y="151617"/>
                    </a:lnTo>
                    <a:lnTo>
                      <a:pt x="122852" y="139550"/>
                    </a:lnTo>
                    <a:lnTo>
                      <a:pt x="120542" y="147044"/>
                    </a:lnTo>
                    <a:lnTo>
                      <a:pt x="118690" y="151136"/>
                    </a:lnTo>
                    <a:lnTo>
                      <a:pt x="116811" y="153007"/>
                    </a:lnTo>
                    <a:lnTo>
                      <a:pt x="113849" y="151786"/>
                    </a:lnTo>
                    <a:lnTo>
                      <a:pt x="113099" y="148683"/>
                    </a:lnTo>
                    <a:lnTo>
                      <a:pt x="114131" y="145065"/>
                    </a:lnTo>
                    <a:lnTo>
                      <a:pt x="116499" y="142342"/>
                    </a:lnTo>
                    <a:lnTo>
                      <a:pt x="112707" y="142541"/>
                    </a:lnTo>
                    <a:lnTo>
                      <a:pt x="109623" y="143606"/>
                    </a:lnTo>
                    <a:lnTo>
                      <a:pt x="106728" y="143500"/>
                    </a:lnTo>
                    <a:lnTo>
                      <a:pt x="103555" y="140091"/>
                    </a:lnTo>
                    <a:lnTo>
                      <a:pt x="101970" y="144562"/>
                    </a:lnTo>
                    <a:lnTo>
                      <a:pt x="99275" y="146127"/>
                    </a:lnTo>
                    <a:lnTo>
                      <a:pt x="92729" y="145835"/>
                    </a:lnTo>
                    <a:lnTo>
                      <a:pt x="92167" y="143799"/>
                    </a:lnTo>
                    <a:lnTo>
                      <a:pt x="93027" y="139318"/>
                    </a:lnTo>
                    <a:lnTo>
                      <a:pt x="94605" y="134785"/>
                    </a:lnTo>
                    <a:lnTo>
                      <a:pt x="96234" y="132707"/>
                    </a:lnTo>
                    <a:lnTo>
                      <a:pt x="100891" y="133125"/>
                    </a:lnTo>
                    <a:lnTo>
                      <a:pt x="101948" y="132553"/>
                    </a:lnTo>
                    <a:lnTo>
                      <a:pt x="102838" y="129888"/>
                    </a:lnTo>
                    <a:lnTo>
                      <a:pt x="102852" y="127091"/>
                    </a:lnTo>
                    <a:lnTo>
                      <a:pt x="102684" y="124407"/>
                    </a:lnTo>
                    <a:lnTo>
                      <a:pt x="103049" y="122113"/>
                    </a:lnTo>
                    <a:lnTo>
                      <a:pt x="104766" y="118400"/>
                    </a:lnTo>
                    <a:lnTo>
                      <a:pt x="106891" y="115342"/>
                    </a:lnTo>
                    <a:lnTo>
                      <a:pt x="109321" y="114902"/>
                    </a:lnTo>
                    <a:lnTo>
                      <a:pt x="111966" y="119023"/>
                    </a:lnTo>
                    <a:lnTo>
                      <a:pt x="114525" y="126969"/>
                    </a:lnTo>
                    <a:lnTo>
                      <a:pt x="120948" y="133265"/>
                    </a:lnTo>
                    <a:lnTo>
                      <a:pt x="128102" y="135608"/>
                    </a:lnTo>
                    <a:lnTo>
                      <a:pt x="134207" y="131636"/>
                    </a:lnTo>
                    <a:lnTo>
                      <a:pt x="132025" y="129960"/>
                    </a:lnTo>
                    <a:lnTo>
                      <a:pt x="129184" y="129297"/>
                    </a:lnTo>
                    <a:lnTo>
                      <a:pt x="124433" y="129312"/>
                    </a:lnTo>
                    <a:lnTo>
                      <a:pt x="123030" y="127985"/>
                    </a:lnTo>
                    <a:lnTo>
                      <a:pt x="121289" y="125114"/>
                    </a:lnTo>
                    <a:lnTo>
                      <a:pt x="118972" y="122414"/>
                    </a:lnTo>
                    <a:lnTo>
                      <a:pt x="115897" y="121756"/>
                    </a:lnTo>
                    <a:lnTo>
                      <a:pt x="117417" y="119009"/>
                    </a:lnTo>
                    <a:lnTo>
                      <a:pt x="119776" y="112292"/>
                    </a:lnTo>
                    <a:lnTo>
                      <a:pt x="120716" y="110944"/>
                    </a:lnTo>
                    <a:lnTo>
                      <a:pt x="122794" y="110325"/>
                    </a:lnTo>
                    <a:lnTo>
                      <a:pt x="128394" y="105734"/>
                    </a:lnTo>
                    <a:lnTo>
                      <a:pt x="126387" y="103587"/>
                    </a:lnTo>
                    <a:lnTo>
                      <a:pt x="125634" y="102971"/>
                    </a:lnTo>
                    <a:lnTo>
                      <a:pt x="127217" y="100175"/>
                    </a:lnTo>
                    <a:lnTo>
                      <a:pt x="127619" y="98299"/>
                    </a:lnTo>
                    <a:lnTo>
                      <a:pt x="127276" y="96817"/>
                    </a:lnTo>
                    <a:lnTo>
                      <a:pt x="126652" y="95127"/>
                    </a:lnTo>
                    <a:lnTo>
                      <a:pt x="131186" y="92694"/>
                    </a:lnTo>
                    <a:lnTo>
                      <a:pt x="136333" y="93333"/>
                    </a:lnTo>
                    <a:lnTo>
                      <a:pt x="141509" y="96083"/>
                    </a:lnTo>
                    <a:lnTo>
                      <a:pt x="146182" y="99980"/>
                    </a:lnTo>
                    <a:lnTo>
                      <a:pt x="146703" y="98349"/>
                    </a:lnTo>
                    <a:lnTo>
                      <a:pt x="147375" y="97116"/>
                    </a:lnTo>
                    <a:lnTo>
                      <a:pt x="143982" y="93521"/>
                    </a:lnTo>
                    <a:lnTo>
                      <a:pt x="144272" y="89629"/>
                    </a:lnTo>
                    <a:close/>
                    <a:moveTo>
                      <a:pt x="188513" y="44580"/>
                    </a:moveTo>
                    <a:lnTo>
                      <a:pt x="190756" y="51139"/>
                    </a:lnTo>
                    <a:lnTo>
                      <a:pt x="192760" y="46657"/>
                    </a:lnTo>
                    <a:lnTo>
                      <a:pt x="196569" y="45220"/>
                    </a:lnTo>
                    <a:lnTo>
                      <a:pt x="204727" y="45694"/>
                    </a:lnTo>
                    <a:lnTo>
                      <a:pt x="204976" y="50814"/>
                    </a:lnTo>
                    <a:lnTo>
                      <a:pt x="204737" y="52393"/>
                    </a:lnTo>
                    <a:lnTo>
                      <a:pt x="203618" y="53286"/>
                    </a:lnTo>
                    <a:lnTo>
                      <a:pt x="203722" y="56126"/>
                    </a:lnTo>
                    <a:lnTo>
                      <a:pt x="204664" y="56652"/>
                    </a:lnTo>
                    <a:lnTo>
                      <a:pt x="205519" y="57741"/>
                    </a:lnTo>
                    <a:lnTo>
                      <a:pt x="206374" y="58410"/>
                    </a:lnTo>
                    <a:lnTo>
                      <a:pt x="204525" y="63091"/>
                    </a:lnTo>
                    <a:lnTo>
                      <a:pt x="204825" y="66717"/>
                    </a:lnTo>
                    <a:lnTo>
                      <a:pt x="208343" y="74005"/>
                    </a:lnTo>
                    <a:lnTo>
                      <a:pt x="207374" y="78158"/>
                    </a:lnTo>
                    <a:lnTo>
                      <a:pt x="206060" y="82121"/>
                    </a:lnTo>
                    <a:lnTo>
                      <a:pt x="199729" y="75148"/>
                    </a:lnTo>
                    <a:lnTo>
                      <a:pt x="196499" y="72556"/>
                    </a:lnTo>
                    <a:lnTo>
                      <a:pt x="192783" y="72172"/>
                    </a:lnTo>
                    <a:lnTo>
                      <a:pt x="195094" y="74889"/>
                    </a:lnTo>
                    <a:lnTo>
                      <a:pt x="197845" y="79642"/>
                    </a:lnTo>
                    <a:lnTo>
                      <a:pt x="202515" y="90079"/>
                    </a:lnTo>
                    <a:lnTo>
                      <a:pt x="200111" y="92090"/>
                    </a:lnTo>
                    <a:lnTo>
                      <a:pt x="197529" y="92987"/>
                    </a:lnTo>
                    <a:lnTo>
                      <a:pt x="194829" y="92521"/>
                    </a:lnTo>
                    <a:lnTo>
                      <a:pt x="192149" y="90438"/>
                    </a:lnTo>
                    <a:lnTo>
                      <a:pt x="193215" y="94628"/>
                    </a:lnTo>
                    <a:lnTo>
                      <a:pt x="195593" y="97002"/>
                    </a:lnTo>
                    <a:lnTo>
                      <a:pt x="198581" y="98018"/>
                    </a:lnTo>
                    <a:lnTo>
                      <a:pt x="201523" y="98163"/>
                    </a:lnTo>
                    <a:lnTo>
                      <a:pt x="201202" y="99449"/>
                    </a:lnTo>
                    <a:lnTo>
                      <a:pt x="201169" y="99792"/>
                    </a:lnTo>
                    <a:lnTo>
                      <a:pt x="200211" y="100586"/>
                    </a:lnTo>
                    <a:lnTo>
                      <a:pt x="203567" y="104339"/>
                    </a:lnTo>
                    <a:lnTo>
                      <a:pt x="203797" y="108993"/>
                    </a:lnTo>
                    <a:lnTo>
                      <a:pt x="201716" y="112828"/>
                    </a:lnTo>
                    <a:lnTo>
                      <a:pt x="198120" y="113946"/>
                    </a:lnTo>
                    <a:lnTo>
                      <a:pt x="201155" y="120415"/>
                    </a:lnTo>
                    <a:lnTo>
                      <a:pt x="202123" y="123661"/>
                    </a:lnTo>
                    <a:lnTo>
                      <a:pt x="202606" y="128120"/>
                    </a:lnTo>
                    <a:lnTo>
                      <a:pt x="202204" y="132920"/>
                    </a:lnTo>
                    <a:lnTo>
                      <a:pt x="200742" y="133857"/>
                    </a:lnTo>
                    <a:lnTo>
                      <a:pt x="196199" y="132041"/>
                    </a:lnTo>
                    <a:lnTo>
                      <a:pt x="191582" y="132447"/>
                    </a:lnTo>
                    <a:lnTo>
                      <a:pt x="189296" y="131562"/>
                    </a:lnTo>
                    <a:lnTo>
                      <a:pt x="188250" y="128614"/>
                    </a:lnTo>
                    <a:lnTo>
                      <a:pt x="187567" y="128823"/>
                    </a:lnTo>
                    <a:lnTo>
                      <a:pt x="186517" y="130381"/>
                    </a:lnTo>
                    <a:lnTo>
                      <a:pt x="186375" y="132671"/>
                    </a:lnTo>
                    <a:lnTo>
                      <a:pt x="188478" y="135133"/>
                    </a:lnTo>
                    <a:lnTo>
                      <a:pt x="188560" y="137492"/>
                    </a:lnTo>
                    <a:lnTo>
                      <a:pt x="182205" y="136260"/>
                    </a:lnTo>
                    <a:lnTo>
                      <a:pt x="177646" y="131703"/>
                    </a:lnTo>
                    <a:lnTo>
                      <a:pt x="174741" y="123360"/>
                    </a:lnTo>
                    <a:lnTo>
                      <a:pt x="171225" y="87502"/>
                    </a:lnTo>
                    <a:lnTo>
                      <a:pt x="172575" y="79316"/>
                    </a:lnTo>
                    <a:lnTo>
                      <a:pt x="178778" y="77867"/>
                    </a:lnTo>
                    <a:lnTo>
                      <a:pt x="178859" y="80227"/>
                    </a:lnTo>
                    <a:lnTo>
                      <a:pt x="178458" y="84777"/>
                    </a:lnTo>
                    <a:lnTo>
                      <a:pt x="180659" y="89226"/>
                    </a:lnTo>
                    <a:lnTo>
                      <a:pt x="183681" y="91751"/>
                    </a:lnTo>
                    <a:lnTo>
                      <a:pt x="185721" y="90657"/>
                    </a:lnTo>
                    <a:lnTo>
                      <a:pt x="185072" y="88907"/>
                    </a:lnTo>
                    <a:lnTo>
                      <a:pt x="182090" y="78921"/>
                    </a:lnTo>
                    <a:lnTo>
                      <a:pt x="181315" y="73742"/>
                    </a:lnTo>
                    <a:lnTo>
                      <a:pt x="181754" y="71210"/>
                    </a:lnTo>
                    <a:lnTo>
                      <a:pt x="183334" y="65532"/>
                    </a:lnTo>
                    <a:lnTo>
                      <a:pt x="182839" y="64445"/>
                    </a:lnTo>
                    <a:lnTo>
                      <a:pt x="181736" y="63006"/>
                    </a:lnTo>
                    <a:lnTo>
                      <a:pt x="181449" y="59566"/>
                    </a:lnTo>
                    <a:lnTo>
                      <a:pt x="181762" y="55624"/>
                    </a:lnTo>
                    <a:lnTo>
                      <a:pt x="182431" y="52727"/>
                    </a:lnTo>
                    <a:lnTo>
                      <a:pt x="184141" y="48458"/>
                    </a:lnTo>
                    <a:lnTo>
                      <a:pt x="186234" y="44736"/>
                    </a:lnTo>
                    <a:close/>
                    <a:moveTo>
                      <a:pt x="235008" y="0"/>
                    </a:moveTo>
                    <a:lnTo>
                      <a:pt x="236300" y="1784"/>
                    </a:lnTo>
                    <a:lnTo>
                      <a:pt x="237412" y="2270"/>
                    </a:lnTo>
                    <a:lnTo>
                      <a:pt x="240075" y="2432"/>
                    </a:lnTo>
                    <a:lnTo>
                      <a:pt x="242483" y="3412"/>
                    </a:lnTo>
                    <a:lnTo>
                      <a:pt x="244595" y="5165"/>
                    </a:lnTo>
                    <a:lnTo>
                      <a:pt x="246195" y="8150"/>
                    </a:lnTo>
                    <a:lnTo>
                      <a:pt x="246975" y="12813"/>
                    </a:lnTo>
                    <a:lnTo>
                      <a:pt x="245480" y="13041"/>
                    </a:lnTo>
                    <a:lnTo>
                      <a:pt x="241986" y="15367"/>
                    </a:lnTo>
                    <a:lnTo>
                      <a:pt x="245704" y="17509"/>
                    </a:lnTo>
                    <a:lnTo>
                      <a:pt x="247174" y="17778"/>
                    </a:lnTo>
                    <a:lnTo>
                      <a:pt x="244497" y="21145"/>
                    </a:lnTo>
                    <a:lnTo>
                      <a:pt x="240859" y="23555"/>
                    </a:lnTo>
                    <a:lnTo>
                      <a:pt x="238596" y="26314"/>
                    </a:lnTo>
                    <a:lnTo>
                      <a:pt x="240046" y="30874"/>
                    </a:lnTo>
                    <a:lnTo>
                      <a:pt x="240158" y="33714"/>
                    </a:lnTo>
                    <a:lnTo>
                      <a:pt x="236482" y="34073"/>
                    </a:lnTo>
                    <a:lnTo>
                      <a:pt x="237779" y="34551"/>
                    </a:lnTo>
                    <a:lnTo>
                      <a:pt x="239033" y="35281"/>
                    </a:lnTo>
                    <a:lnTo>
                      <a:pt x="240260" y="36291"/>
                    </a:lnTo>
                    <a:lnTo>
                      <a:pt x="240373" y="39161"/>
                    </a:lnTo>
                    <a:lnTo>
                      <a:pt x="233004" y="47383"/>
                    </a:lnTo>
                    <a:lnTo>
                      <a:pt x="231736" y="49668"/>
                    </a:lnTo>
                    <a:lnTo>
                      <a:pt x="233225" y="54259"/>
                    </a:lnTo>
                    <a:lnTo>
                      <a:pt x="236039" y="58396"/>
                    </a:lnTo>
                    <a:lnTo>
                      <a:pt x="237489" y="62117"/>
                    </a:lnTo>
                    <a:lnTo>
                      <a:pt x="234896" y="65433"/>
                    </a:lnTo>
                    <a:lnTo>
                      <a:pt x="233076" y="65734"/>
                    </a:lnTo>
                    <a:lnTo>
                      <a:pt x="231488" y="64908"/>
                    </a:lnTo>
                    <a:lnTo>
                      <a:pt x="229992" y="63705"/>
                    </a:lnTo>
                    <a:lnTo>
                      <a:pt x="228410" y="62831"/>
                    </a:lnTo>
                    <a:lnTo>
                      <a:pt x="224718" y="62611"/>
                    </a:lnTo>
                    <a:lnTo>
                      <a:pt x="222005" y="63068"/>
                    </a:lnTo>
                    <a:lnTo>
                      <a:pt x="216396" y="64004"/>
                    </a:lnTo>
                    <a:lnTo>
                      <a:pt x="213462" y="63270"/>
                    </a:lnTo>
                    <a:lnTo>
                      <a:pt x="210409" y="61142"/>
                    </a:lnTo>
                    <a:lnTo>
                      <a:pt x="211176" y="57353"/>
                    </a:lnTo>
                    <a:lnTo>
                      <a:pt x="211302" y="53759"/>
                    </a:lnTo>
                    <a:lnTo>
                      <a:pt x="210832" y="50528"/>
                    </a:lnTo>
                    <a:lnTo>
                      <a:pt x="209918" y="47857"/>
                    </a:lnTo>
                    <a:lnTo>
                      <a:pt x="213304" y="50423"/>
                    </a:lnTo>
                    <a:lnTo>
                      <a:pt x="214194" y="47314"/>
                    </a:lnTo>
                    <a:lnTo>
                      <a:pt x="213511" y="41884"/>
                    </a:lnTo>
                    <a:lnTo>
                      <a:pt x="212093" y="37335"/>
                    </a:lnTo>
                    <a:lnTo>
                      <a:pt x="215172" y="35826"/>
                    </a:lnTo>
                    <a:lnTo>
                      <a:pt x="216763" y="30577"/>
                    </a:lnTo>
                    <a:lnTo>
                      <a:pt x="216539" y="24836"/>
                    </a:lnTo>
                    <a:lnTo>
                      <a:pt x="214063" y="21864"/>
                    </a:lnTo>
                    <a:lnTo>
                      <a:pt x="213957" y="19023"/>
                    </a:lnTo>
                    <a:lnTo>
                      <a:pt x="216837" y="17397"/>
                    </a:lnTo>
                    <a:lnTo>
                      <a:pt x="220223" y="13512"/>
                    </a:lnTo>
                    <a:lnTo>
                      <a:pt x="222595" y="8980"/>
                    </a:lnTo>
                    <a:lnTo>
                      <a:pt x="222368" y="5445"/>
                    </a:lnTo>
                    <a:lnTo>
                      <a:pt x="223994" y="1499"/>
                    </a:lnTo>
                    <a:lnTo>
                      <a:pt x="226114" y="1360"/>
                    </a:lnTo>
                    <a:lnTo>
                      <a:pt x="228045" y="4209"/>
                    </a:lnTo>
                    <a:lnTo>
                      <a:pt x="229019" y="9363"/>
                    </a:lnTo>
                    <a:lnTo>
                      <a:pt x="228408" y="13597"/>
                    </a:lnTo>
                    <a:lnTo>
                      <a:pt x="226668" y="16165"/>
                    </a:lnTo>
                    <a:lnTo>
                      <a:pt x="224609" y="18354"/>
                    </a:lnTo>
                    <a:lnTo>
                      <a:pt x="222983" y="21538"/>
                    </a:lnTo>
                    <a:lnTo>
                      <a:pt x="223526" y="22636"/>
                    </a:lnTo>
                    <a:lnTo>
                      <a:pt x="225761" y="21435"/>
                    </a:lnTo>
                    <a:lnTo>
                      <a:pt x="228321" y="19211"/>
                    </a:lnTo>
                    <a:lnTo>
                      <a:pt x="229890" y="17131"/>
                    </a:lnTo>
                    <a:lnTo>
                      <a:pt x="233326" y="296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90" name="Freeform 189">
                <a:extLst>
                  <a:ext uri="{FF2B5EF4-FFF2-40B4-BE49-F238E27FC236}">
                    <a16:creationId xmlns:a16="http://schemas.microsoft.com/office/drawing/2014/main" id="{E9C37270-8C46-DCAB-EDC3-BC3F35055478}"/>
                  </a:ext>
                </a:extLst>
              </p:cNvPr>
              <p:cNvSpPr>
                <a:spLocks noChangeAspect="1"/>
              </p:cNvSpPr>
              <p:nvPr>
                <p:custDataLst>
                  <p:tags r:id="rId126"/>
                </p:custDataLst>
              </p:nvPr>
            </p:nvSpPr>
            <p:spPr>
              <a:xfrm>
                <a:off x="5114410" y="5225746"/>
                <a:ext cx="228248" cy="166209"/>
              </a:xfrm>
              <a:custGeom>
                <a:avLst/>
                <a:gdLst/>
                <a:ahLst/>
                <a:cxnLst/>
                <a:rect l="0" t="0" r="0" b="0"/>
                <a:pathLst>
                  <a:path w="234349" h="170652">
                    <a:moveTo>
                      <a:pt x="196589" y="9576"/>
                    </a:moveTo>
                    <a:lnTo>
                      <a:pt x="206781" y="6450"/>
                    </a:lnTo>
                    <a:lnTo>
                      <a:pt x="212343" y="8516"/>
                    </a:lnTo>
                    <a:lnTo>
                      <a:pt x="225110" y="7409"/>
                    </a:lnTo>
                    <a:lnTo>
                      <a:pt x="230236" y="7417"/>
                    </a:lnTo>
                    <a:lnTo>
                      <a:pt x="234348" y="16603"/>
                    </a:lnTo>
                    <a:lnTo>
                      <a:pt x="229710" y="17244"/>
                    </a:lnTo>
                    <a:lnTo>
                      <a:pt x="229325" y="21947"/>
                    </a:lnTo>
                    <a:lnTo>
                      <a:pt x="225907" y="24266"/>
                    </a:lnTo>
                    <a:lnTo>
                      <a:pt x="220865" y="25221"/>
                    </a:lnTo>
                    <a:lnTo>
                      <a:pt x="219233" y="30279"/>
                    </a:lnTo>
                    <a:lnTo>
                      <a:pt x="224971" y="32868"/>
                    </a:lnTo>
                    <a:lnTo>
                      <a:pt x="226552" y="37929"/>
                    </a:lnTo>
                    <a:lnTo>
                      <a:pt x="229890" y="38063"/>
                    </a:lnTo>
                    <a:lnTo>
                      <a:pt x="231251" y="40013"/>
                    </a:lnTo>
                    <a:lnTo>
                      <a:pt x="226986" y="47116"/>
                    </a:lnTo>
                    <a:lnTo>
                      <a:pt x="225559" y="51009"/>
                    </a:lnTo>
                    <a:lnTo>
                      <a:pt x="225476" y="62068"/>
                    </a:lnTo>
                    <a:lnTo>
                      <a:pt x="224076" y="66582"/>
                    </a:lnTo>
                    <a:lnTo>
                      <a:pt x="217288" y="67342"/>
                    </a:lnTo>
                    <a:lnTo>
                      <a:pt x="213061" y="62762"/>
                    </a:lnTo>
                    <a:lnTo>
                      <a:pt x="211458" y="62838"/>
                    </a:lnTo>
                    <a:lnTo>
                      <a:pt x="202719" y="72063"/>
                    </a:lnTo>
                    <a:lnTo>
                      <a:pt x="205885" y="79877"/>
                    </a:lnTo>
                    <a:lnTo>
                      <a:pt x="200731" y="88714"/>
                    </a:lnTo>
                    <a:lnTo>
                      <a:pt x="198761" y="98587"/>
                    </a:lnTo>
                    <a:lnTo>
                      <a:pt x="198723" y="102825"/>
                    </a:lnTo>
                    <a:lnTo>
                      <a:pt x="198694" y="105771"/>
                    </a:lnTo>
                    <a:lnTo>
                      <a:pt x="198685" y="107086"/>
                    </a:lnTo>
                    <a:lnTo>
                      <a:pt x="195779" y="106687"/>
                    </a:lnTo>
                    <a:lnTo>
                      <a:pt x="192716" y="102700"/>
                    </a:lnTo>
                    <a:lnTo>
                      <a:pt x="191040" y="102875"/>
                    </a:lnTo>
                    <a:lnTo>
                      <a:pt x="188202" y="105239"/>
                    </a:lnTo>
                    <a:lnTo>
                      <a:pt x="186078" y="110216"/>
                    </a:lnTo>
                    <a:lnTo>
                      <a:pt x="178402" y="109618"/>
                    </a:lnTo>
                    <a:lnTo>
                      <a:pt x="174380" y="112664"/>
                    </a:lnTo>
                    <a:lnTo>
                      <a:pt x="174613" y="116685"/>
                    </a:lnTo>
                    <a:lnTo>
                      <a:pt x="180232" y="126675"/>
                    </a:lnTo>
                    <a:lnTo>
                      <a:pt x="174524" y="130058"/>
                    </a:lnTo>
                    <a:lnTo>
                      <a:pt x="165552" y="126883"/>
                    </a:lnTo>
                    <a:lnTo>
                      <a:pt x="135163" y="139377"/>
                    </a:lnTo>
                    <a:lnTo>
                      <a:pt x="93785" y="141096"/>
                    </a:lnTo>
                    <a:lnTo>
                      <a:pt x="54731" y="155923"/>
                    </a:lnTo>
                    <a:lnTo>
                      <a:pt x="52570" y="155258"/>
                    </a:lnTo>
                    <a:lnTo>
                      <a:pt x="50499" y="153564"/>
                    </a:lnTo>
                    <a:lnTo>
                      <a:pt x="48439" y="152414"/>
                    </a:lnTo>
                    <a:lnTo>
                      <a:pt x="46211" y="153399"/>
                    </a:lnTo>
                    <a:lnTo>
                      <a:pt x="44995" y="156773"/>
                    </a:lnTo>
                    <a:lnTo>
                      <a:pt x="46910" y="163915"/>
                    </a:lnTo>
                    <a:lnTo>
                      <a:pt x="45911" y="167871"/>
                    </a:lnTo>
                    <a:lnTo>
                      <a:pt x="41421" y="170651"/>
                    </a:lnTo>
                    <a:lnTo>
                      <a:pt x="35826" y="169056"/>
                    </a:lnTo>
                    <a:lnTo>
                      <a:pt x="13253" y="155693"/>
                    </a:lnTo>
                    <a:lnTo>
                      <a:pt x="11395" y="153489"/>
                    </a:lnTo>
                    <a:lnTo>
                      <a:pt x="12617" y="149542"/>
                    </a:lnTo>
                    <a:lnTo>
                      <a:pt x="15763" y="146911"/>
                    </a:lnTo>
                    <a:lnTo>
                      <a:pt x="22630" y="143818"/>
                    </a:lnTo>
                    <a:lnTo>
                      <a:pt x="22547" y="141458"/>
                    </a:lnTo>
                    <a:lnTo>
                      <a:pt x="20078" y="139759"/>
                    </a:lnTo>
                    <a:lnTo>
                      <a:pt x="15197" y="135192"/>
                    </a:lnTo>
                    <a:lnTo>
                      <a:pt x="12355" y="133770"/>
                    </a:lnTo>
                    <a:lnTo>
                      <a:pt x="11231" y="135084"/>
                    </a:lnTo>
                    <a:lnTo>
                      <a:pt x="8352" y="136865"/>
                    </a:lnTo>
                    <a:lnTo>
                      <a:pt x="6587" y="136461"/>
                    </a:lnTo>
                    <a:lnTo>
                      <a:pt x="8808" y="131284"/>
                    </a:lnTo>
                    <a:lnTo>
                      <a:pt x="6158" y="129917"/>
                    </a:lnTo>
                    <a:lnTo>
                      <a:pt x="7782" y="126065"/>
                    </a:lnTo>
                    <a:lnTo>
                      <a:pt x="7381" y="120234"/>
                    </a:lnTo>
                    <a:lnTo>
                      <a:pt x="564" y="113147"/>
                    </a:lnTo>
                    <a:lnTo>
                      <a:pt x="0" y="110303"/>
                    </a:lnTo>
                    <a:lnTo>
                      <a:pt x="7053" y="99115"/>
                    </a:lnTo>
                    <a:lnTo>
                      <a:pt x="4752" y="94536"/>
                    </a:lnTo>
                    <a:lnTo>
                      <a:pt x="4544" y="90297"/>
                    </a:lnTo>
                    <a:lnTo>
                      <a:pt x="12971" y="71000"/>
                    </a:lnTo>
                    <a:lnTo>
                      <a:pt x="13287" y="64729"/>
                    </a:lnTo>
                    <a:lnTo>
                      <a:pt x="18981" y="57612"/>
                    </a:lnTo>
                    <a:lnTo>
                      <a:pt x="19641" y="51643"/>
                    </a:lnTo>
                    <a:lnTo>
                      <a:pt x="25425" y="44956"/>
                    </a:lnTo>
                    <a:lnTo>
                      <a:pt x="27517" y="43714"/>
                    </a:lnTo>
                    <a:lnTo>
                      <a:pt x="37287" y="44518"/>
                    </a:lnTo>
                    <a:lnTo>
                      <a:pt x="40208" y="36547"/>
                    </a:lnTo>
                    <a:lnTo>
                      <a:pt x="45155" y="33458"/>
                    </a:lnTo>
                    <a:lnTo>
                      <a:pt x="50719" y="37325"/>
                    </a:lnTo>
                    <a:lnTo>
                      <a:pt x="61161" y="39680"/>
                    </a:lnTo>
                    <a:lnTo>
                      <a:pt x="66858" y="38718"/>
                    </a:lnTo>
                    <a:lnTo>
                      <a:pt x="75692" y="33917"/>
                    </a:lnTo>
                    <a:lnTo>
                      <a:pt x="81817" y="36854"/>
                    </a:lnTo>
                    <a:lnTo>
                      <a:pt x="96239" y="35107"/>
                    </a:lnTo>
                    <a:lnTo>
                      <a:pt x="100952" y="31200"/>
                    </a:lnTo>
                    <a:lnTo>
                      <a:pt x="105338" y="32186"/>
                    </a:lnTo>
                    <a:lnTo>
                      <a:pt x="111788" y="28303"/>
                    </a:lnTo>
                    <a:lnTo>
                      <a:pt x="124951" y="27117"/>
                    </a:lnTo>
                    <a:lnTo>
                      <a:pt x="141188" y="19505"/>
                    </a:lnTo>
                    <a:lnTo>
                      <a:pt x="152949" y="18357"/>
                    </a:lnTo>
                    <a:lnTo>
                      <a:pt x="181083" y="0"/>
                    </a:lnTo>
                    <a:lnTo>
                      <a:pt x="190950" y="3042"/>
                    </a:lnTo>
                    <a:lnTo>
                      <a:pt x="192465" y="838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91" name="Freeform 190">
                <a:extLst>
                  <a:ext uri="{FF2B5EF4-FFF2-40B4-BE49-F238E27FC236}">
                    <a16:creationId xmlns:a16="http://schemas.microsoft.com/office/drawing/2014/main" id="{E30EAB48-7792-2E8B-2914-262D83D217D0}"/>
                  </a:ext>
                </a:extLst>
              </p:cNvPr>
              <p:cNvSpPr>
                <a:spLocks noChangeAspect="1"/>
              </p:cNvSpPr>
              <p:nvPr>
                <p:custDataLst>
                  <p:tags r:id="rId127"/>
                </p:custDataLst>
              </p:nvPr>
            </p:nvSpPr>
            <p:spPr>
              <a:xfrm>
                <a:off x="5014095" y="4680491"/>
                <a:ext cx="220207" cy="251780"/>
              </a:xfrm>
              <a:custGeom>
                <a:avLst/>
                <a:gdLst/>
                <a:ahLst/>
                <a:cxnLst/>
                <a:rect l="0" t="0" r="0" b="0"/>
                <a:pathLst>
                  <a:path w="226094" h="258511">
                    <a:moveTo>
                      <a:pt x="195266" y="28188"/>
                    </a:moveTo>
                    <a:lnTo>
                      <a:pt x="206121" y="26156"/>
                    </a:lnTo>
                    <a:lnTo>
                      <a:pt x="206097" y="28587"/>
                    </a:lnTo>
                    <a:lnTo>
                      <a:pt x="206063" y="32205"/>
                    </a:lnTo>
                    <a:lnTo>
                      <a:pt x="210169" y="36931"/>
                    </a:lnTo>
                    <a:lnTo>
                      <a:pt x="208541" y="46782"/>
                    </a:lnTo>
                    <a:lnTo>
                      <a:pt x="222624" y="54523"/>
                    </a:lnTo>
                    <a:lnTo>
                      <a:pt x="226093" y="67543"/>
                    </a:lnTo>
                    <a:lnTo>
                      <a:pt x="225258" y="70662"/>
                    </a:lnTo>
                    <a:lnTo>
                      <a:pt x="215813" y="84570"/>
                    </a:lnTo>
                    <a:lnTo>
                      <a:pt x="208253" y="91161"/>
                    </a:lnTo>
                    <a:lnTo>
                      <a:pt x="206263" y="96344"/>
                    </a:lnTo>
                    <a:lnTo>
                      <a:pt x="192870" y="103389"/>
                    </a:lnTo>
                    <a:lnTo>
                      <a:pt x="192870" y="109862"/>
                    </a:lnTo>
                    <a:lnTo>
                      <a:pt x="198906" y="119162"/>
                    </a:lnTo>
                    <a:lnTo>
                      <a:pt x="199755" y="124787"/>
                    </a:lnTo>
                    <a:lnTo>
                      <a:pt x="189505" y="127420"/>
                    </a:lnTo>
                    <a:lnTo>
                      <a:pt x="184621" y="135170"/>
                    </a:lnTo>
                    <a:lnTo>
                      <a:pt x="184973" y="143870"/>
                    </a:lnTo>
                    <a:lnTo>
                      <a:pt x="183575" y="148056"/>
                    </a:lnTo>
                    <a:lnTo>
                      <a:pt x="181484" y="149634"/>
                    </a:lnTo>
                    <a:lnTo>
                      <a:pt x="177367" y="148951"/>
                    </a:lnTo>
                    <a:lnTo>
                      <a:pt x="172715" y="143204"/>
                    </a:lnTo>
                    <a:lnTo>
                      <a:pt x="169621" y="142360"/>
                    </a:lnTo>
                    <a:lnTo>
                      <a:pt x="157852" y="145497"/>
                    </a:lnTo>
                    <a:lnTo>
                      <a:pt x="157361" y="148262"/>
                    </a:lnTo>
                    <a:lnTo>
                      <a:pt x="159327" y="153390"/>
                    </a:lnTo>
                    <a:lnTo>
                      <a:pt x="160110" y="161865"/>
                    </a:lnTo>
                    <a:lnTo>
                      <a:pt x="155772" y="171045"/>
                    </a:lnTo>
                    <a:lnTo>
                      <a:pt x="138793" y="183500"/>
                    </a:lnTo>
                    <a:lnTo>
                      <a:pt x="131033" y="183478"/>
                    </a:lnTo>
                    <a:lnTo>
                      <a:pt x="127935" y="189540"/>
                    </a:lnTo>
                    <a:lnTo>
                      <a:pt x="120697" y="187797"/>
                    </a:lnTo>
                    <a:lnTo>
                      <a:pt x="119163" y="190302"/>
                    </a:lnTo>
                    <a:lnTo>
                      <a:pt x="119408" y="193366"/>
                    </a:lnTo>
                    <a:lnTo>
                      <a:pt x="116552" y="197412"/>
                    </a:lnTo>
                    <a:lnTo>
                      <a:pt x="104395" y="202202"/>
                    </a:lnTo>
                    <a:lnTo>
                      <a:pt x="104657" y="206005"/>
                    </a:lnTo>
                    <a:lnTo>
                      <a:pt x="107386" y="207290"/>
                    </a:lnTo>
                    <a:lnTo>
                      <a:pt x="111070" y="213536"/>
                    </a:lnTo>
                    <a:lnTo>
                      <a:pt x="116861" y="218519"/>
                    </a:lnTo>
                    <a:lnTo>
                      <a:pt x="117029" y="221486"/>
                    </a:lnTo>
                    <a:lnTo>
                      <a:pt x="115338" y="222605"/>
                    </a:lnTo>
                    <a:lnTo>
                      <a:pt x="110459" y="223968"/>
                    </a:lnTo>
                    <a:lnTo>
                      <a:pt x="110565" y="230860"/>
                    </a:lnTo>
                    <a:lnTo>
                      <a:pt x="108082" y="233499"/>
                    </a:lnTo>
                    <a:lnTo>
                      <a:pt x="102931" y="238958"/>
                    </a:lnTo>
                    <a:lnTo>
                      <a:pt x="100296" y="239606"/>
                    </a:lnTo>
                    <a:lnTo>
                      <a:pt x="90385" y="219581"/>
                    </a:lnTo>
                    <a:lnTo>
                      <a:pt x="88145" y="218919"/>
                    </a:lnTo>
                    <a:lnTo>
                      <a:pt x="78688" y="223396"/>
                    </a:lnTo>
                    <a:lnTo>
                      <a:pt x="71045" y="223007"/>
                    </a:lnTo>
                    <a:lnTo>
                      <a:pt x="68055" y="227356"/>
                    </a:lnTo>
                    <a:lnTo>
                      <a:pt x="54070" y="231546"/>
                    </a:lnTo>
                    <a:lnTo>
                      <a:pt x="48963" y="235101"/>
                    </a:lnTo>
                    <a:lnTo>
                      <a:pt x="43804" y="241866"/>
                    </a:lnTo>
                    <a:lnTo>
                      <a:pt x="51800" y="244864"/>
                    </a:lnTo>
                    <a:lnTo>
                      <a:pt x="49318" y="246151"/>
                    </a:lnTo>
                    <a:lnTo>
                      <a:pt x="44940" y="252534"/>
                    </a:lnTo>
                    <a:lnTo>
                      <a:pt x="39344" y="253366"/>
                    </a:lnTo>
                    <a:lnTo>
                      <a:pt x="34420" y="257237"/>
                    </a:lnTo>
                    <a:lnTo>
                      <a:pt x="22511" y="256860"/>
                    </a:lnTo>
                    <a:lnTo>
                      <a:pt x="17387" y="258510"/>
                    </a:lnTo>
                    <a:lnTo>
                      <a:pt x="15258" y="257301"/>
                    </a:lnTo>
                    <a:lnTo>
                      <a:pt x="9254" y="238169"/>
                    </a:lnTo>
                    <a:lnTo>
                      <a:pt x="7134" y="234934"/>
                    </a:lnTo>
                    <a:lnTo>
                      <a:pt x="7416" y="222504"/>
                    </a:lnTo>
                    <a:lnTo>
                      <a:pt x="4350" y="220265"/>
                    </a:lnTo>
                    <a:lnTo>
                      <a:pt x="11995" y="216005"/>
                    </a:lnTo>
                    <a:lnTo>
                      <a:pt x="19007" y="214822"/>
                    </a:lnTo>
                    <a:lnTo>
                      <a:pt x="20447" y="212663"/>
                    </a:lnTo>
                    <a:lnTo>
                      <a:pt x="0" y="188263"/>
                    </a:lnTo>
                    <a:lnTo>
                      <a:pt x="762" y="184704"/>
                    </a:lnTo>
                    <a:lnTo>
                      <a:pt x="4030" y="180675"/>
                    </a:lnTo>
                    <a:lnTo>
                      <a:pt x="16619" y="174880"/>
                    </a:lnTo>
                    <a:lnTo>
                      <a:pt x="17284" y="170831"/>
                    </a:lnTo>
                    <a:lnTo>
                      <a:pt x="12429" y="165233"/>
                    </a:lnTo>
                    <a:lnTo>
                      <a:pt x="12216" y="162592"/>
                    </a:lnTo>
                    <a:lnTo>
                      <a:pt x="25473" y="153687"/>
                    </a:lnTo>
                    <a:lnTo>
                      <a:pt x="25014" y="145111"/>
                    </a:lnTo>
                    <a:lnTo>
                      <a:pt x="21321" y="141393"/>
                    </a:lnTo>
                    <a:lnTo>
                      <a:pt x="26158" y="134023"/>
                    </a:lnTo>
                    <a:lnTo>
                      <a:pt x="24807" y="132159"/>
                    </a:lnTo>
                    <a:lnTo>
                      <a:pt x="16907" y="130598"/>
                    </a:lnTo>
                    <a:lnTo>
                      <a:pt x="14984" y="127370"/>
                    </a:lnTo>
                    <a:lnTo>
                      <a:pt x="18658" y="124273"/>
                    </a:lnTo>
                    <a:lnTo>
                      <a:pt x="30720" y="119755"/>
                    </a:lnTo>
                    <a:lnTo>
                      <a:pt x="34306" y="115928"/>
                    </a:lnTo>
                    <a:lnTo>
                      <a:pt x="33706" y="111809"/>
                    </a:lnTo>
                    <a:lnTo>
                      <a:pt x="28929" y="103369"/>
                    </a:lnTo>
                    <a:lnTo>
                      <a:pt x="35942" y="104310"/>
                    </a:lnTo>
                    <a:lnTo>
                      <a:pt x="40881" y="94471"/>
                    </a:lnTo>
                    <a:lnTo>
                      <a:pt x="48455" y="86381"/>
                    </a:lnTo>
                    <a:lnTo>
                      <a:pt x="61633" y="94218"/>
                    </a:lnTo>
                    <a:lnTo>
                      <a:pt x="66593" y="82474"/>
                    </a:lnTo>
                    <a:lnTo>
                      <a:pt x="64069" y="81395"/>
                    </a:lnTo>
                    <a:lnTo>
                      <a:pt x="63122" y="79194"/>
                    </a:lnTo>
                    <a:lnTo>
                      <a:pt x="63793" y="78006"/>
                    </a:lnTo>
                    <a:lnTo>
                      <a:pt x="80033" y="70215"/>
                    </a:lnTo>
                    <a:lnTo>
                      <a:pt x="86006" y="70757"/>
                    </a:lnTo>
                    <a:lnTo>
                      <a:pt x="95442" y="75933"/>
                    </a:lnTo>
                    <a:lnTo>
                      <a:pt x="98484" y="75942"/>
                    </a:lnTo>
                    <a:lnTo>
                      <a:pt x="101577" y="69982"/>
                    </a:lnTo>
                    <a:lnTo>
                      <a:pt x="96243" y="65730"/>
                    </a:lnTo>
                    <a:lnTo>
                      <a:pt x="100868" y="53651"/>
                    </a:lnTo>
                    <a:lnTo>
                      <a:pt x="102815" y="52098"/>
                    </a:lnTo>
                    <a:lnTo>
                      <a:pt x="109997" y="53959"/>
                    </a:lnTo>
                    <a:lnTo>
                      <a:pt x="119822" y="52220"/>
                    </a:lnTo>
                    <a:lnTo>
                      <a:pt x="126445" y="54837"/>
                    </a:lnTo>
                    <a:lnTo>
                      <a:pt x="132579" y="52687"/>
                    </a:lnTo>
                    <a:lnTo>
                      <a:pt x="133609" y="51779"/>
                    </a:lnTo>
                    <a:lnTo>
                      <a:pt x="141029" y="45249"/>
                    </a:lnTo>
                    <a:lnTo>
                      <a:pt x="144279" y="37476"/>
                    </a:lnTo>
                    <a:lnTo>
                      <a:pt x="174584" y="18108"/>
                    </a:lnTo>
                    <a:lnTo>
                      <a:pt x="180313" y="5126"/>
                    </a:lnTo>
                    <a:lnTo>
                      <a:pt x="187076" y="64"/>
                    </a:lnTo>
                    <a:lnTo>
                      <a:pt x="187170" y="0"/>
                    </a:lnTo>
                    <a:lnTo>
                      <a:pt x="191051" y="4245"/>
                    </a:lnTo>
                    <a:lnTo>
                      <a:pt x="193290" y="10208"/>
                    </a:lnTo>
                    <a:lnTo>
                      <a:pt x="192140" y="2597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92" name="Freeform 191">
                <a:extLst>
                  <a:ext uri="{FF2B5EF4-FFF2-40B4-BE49-F238E27FC236}">
                    <a16:creationId xmlns:a16="http://schemas.microsoft.com/office/drawing/2014/main" id="{FF84AB74-037D-1F7F-C267-31DD2C37AD00}"/>
                  </a:ext>
                </a:extLst>
              </p:cNvPr>
              <p:cNvSpPr>
                <a:spLocks noChangeAspect="1"/>
              </p:cNvSpPr>
              <p:nvPr>
                <p:custDataLst>
                  <p:tags r:id="rId128"/>
                </p:custDataLst>
              </p:nvPr>
            </p:nvSpPr>
            <p:spPr>
              <a:xfrm>
                <a:off x="4871790" y="4673805"/>
                <a:ext cx="175719" cy="268686"/>
              </a:xfrm>
              <a:custGeom>
                <a:avLst/>
                <a:gdLst/>
                <a:ahLst/>
                <a:cxnLst/>
                <a:rect l="0" t="0" r="0" b="0"/>
                <a:pathLst>
                  <a:path w="180416" h="275868">
                    <a:moveTo>
                      <a:pt x="175038" y="110233"/>
                    </a:moveTo>
                    <a:lnTo>
                      <a:pt x="179815" y="118673"/>
                    </a:lnTo>
                    <a:lnTo>
                      <a:pt x="180415" y="122792"/>
                    </a:lnTo>
                    <a:lnTo>
                      <a:pt x="176829" y="126619"/>
                    </a:lnTo>
                    <a:lnTo>
                      <a:pt x="164767" y="131137"/>
                    </a:lnTo>
                    <a:lnTo>
                      <a:pt x="161093" y="134234"/>
                    </a:lnTo>
                    <a:lnTo>
                      <a:pt x="163016" y="137462"/>
                    </a:lnTo>
                    <a:lnTo>
                      <a:pt x="170916" y="139023"/>
                    </a:lnTo>
                    <a:lnTo>
                      <a:pt x="172267" y="140887"/>
                    </a:lnTo>
                    <a:lnTo>
                      <a:pt x="167430" y="148257"/>
                    </a:lnTo>
                    <a:lnTo>
                      <a:pt x="171123" y="151975"/>
                    </a:lnTo>
                    <a:lnTo>
                      <a:pt x="171582" y="160551"/>
                    </a:lnTo>
                    <a:lnTo>
                      <a:pt x="158325" y="169456"/>
                    </a:lnTo>
                    <a:lnTo>
                      <a:pt x="158538" y="172097"/>
                    </a:lnTo>
                    <a:lnTo>
                      <a:pt x="163393" y="177695"/>
                    </a:lnTo>
                    <a:lnTo>
                      <a:pt x="162728" y="181744"/>
                    </a:lnTo>
                    <a:lnTo>
                      <a:pt x="150139" y="187539"/>
                    </a:lnTo>
                    <a:lnTo>
                      <a:pt x="146871" y="191568"/>
                    </a:lnTo>
                    <a:lnTo>
                      <a:pt x="146109" y="195127"/>
                    </a:lnTo>
                    <a:lnTo>
                      <a:pt x="143300" y="198785"/>
                    </a:lnTo>
                    <a:lnTo>
                      <a:pt x="141680" y="205627"/>
                    </a:lnTo>
                    <a:lnTo>
                      <a:pt x="134300" y="212004"/>
                    </a:lnTo>
                    <a:lnTo>
                      <a:pt x="139733" y="217158"/>
                    </a:lnTo>
                    <a:lnTo>
                      <a:pt x="138269" y="220697"/>
                    </a:lnTo>
                    <a:lnTo>
                      <a:pt x="133217" y="222118"/>
                    </a:lnTo>
                    <a:lnTo>
                      <a:pt x="126460" y="216260"/>
                    </a:lnTo>
                    <a:lnTo>
                      <a:pt x="122077" y="215969"/>
                    </a:lnTo>
                    <a:lnTo>
                      <a:pt x="119424" y="216559"/>
                    </a:lnTo>
                    <a:lnTo>
                      <a:pt x="119837" y="222076"/>
                    </a:lnTo>
                    <a:lnTo>
                      <a:pt x="118884" y="222952"/>
                    </a:lnTo>
                    <a:lnTo>
                      <a:pt x="111932" y="223996"/>
                    </a:lnTo>
                    <a:lnTo>
                      <a:pt x="110933" y="228585"/>
                    </a:lnTo>
                    <a:lnTo>
                      <a:pt x="106339" y="234774"/>
                    </a:lnTo>
                    <a:lnTo>
                      <a:pt x="106413" y="242513"/>
                    </a:lnTo>
                    <a:lnTo>
                      <a:pt x="103588" y="258725"/>
                    </a:lnTo>
                    <a:lnTo>
                      <a:pt x="101725" y="262596"/>
                    </a:lnTo>
                    <a:lnTo>
                      <a:pt x="95292" y="264140"/>
                    </a:lnTo>
                    <a:lnTo>
                      <a:pt x="94463" y="270117"/>
                    </a:lnTo>
                    <a:lnTo>
                      <a:pt x="85911" y="271083"/>
                    </a:lnTo>
                    <a:lnTo>
                      <a:pt x="84331" y="275468"/>
                    </a:lnTo>
                    <a:lnTo>
                      <a:pt x="81844" y="275867"/>
                    </a:lnTo>
                    <a:lnTo>
                      <a:pt x="70132" y="265078"/>
                    </a:lnTo>
                    <a:lnTo>
                      <a:pt x="70211" y="263091"/>
                    </a:lnTo>
                    <a:lnTo>
                      <a:pt x="74281" y="258427"/>
                    </a:lnTo>
                    <a:lnTo>
                      <a:pt x="79195" y="248547"/>
                    </a:lnTo>
                    <a:lnTo>
                      <a:pt x="77068" y="247110"/>
                    </a:lnTo>
                    <a:lnTo>
                      <a:pt x="68616" y="248697"/>
                    </a:lnTo>
                    <a:lnTo>
                      <a:pt x="64532" y="247209"/>
                    </a:lnTo>
                    <a:lnTo>
                      <a:pt x="56645" y="234340"/>
                    </a:lnTo>
                    <a:lnTo>
                      <a:pt x="54305" y="226874"/>
                    </a:lnTo>
                    <a:lnTo>
                      <a:pt x="49308" y="225296"/>
                    </a:lnTo>
                    <a:lnTo>
                      <a:pt x="44273" y="219157"/>
                    </a:lnTo>
                    <a:lnTo>
                      <a:pt x="42919" y="216740"/>
                    </a:lnTo>
                    <a:lnTo>
                      <a:pt x="38642" y="215142"/>
                    </a:lnTo>
                    <a:lnTo>
                      <a:pt x="37161" y="210299"/>
                    </a:lnTo>
                    <a:lnTo>
                      <a:pt x="31122" y="208740"/>
                    </a:lnTo>
                    <a:lnTo>
                      <a:pt x="27279" y="205529"/>
                    </a:lnTo>
                    <a:lnTo>
                      <a:pt x="24528" y="208040"/>
                    </a:lnTo>
                    <a:lnTo>
                      <a:pt x="16345" y="203108"/>
                    </a:lnTo>
                    <a:lnTo>
                      <a:pt x="14104" y="205191"/>
                    </a:lnTo>
                    <a:lnTo>
                      <a:pt x="12809" y="209227"/>
                    </a:lnTo>
                    <a:lnTo>
                      <a:pt x="7325" y="205653"/>
                    </a:lnTo>
                    <a:lnTo>
                      <a:pt x="3486" y="199475"/>
                    </a:lnTo>
                    <a:lnTo>
                      <a:pt x="0" y="197633"/>
                    </a:lnTo>
                    <a:lnTo>
                      <a:pt x="2714" y="193232"/>
                    </a:lnTo>
                    <a:lnTo>
                      <a:pt x="4765" y="185863"/>
                    </a:lnTo>
                    <a:lnTo>
                      <a:pt x="9525" y="179916"/>
                    </a:lnTo>
                    <a:lnTo>
                      <a:pt x="9224" y="172282"/>
                    </a:lnTo>
                    <a:lnTo>
                      <a:pt x="4917" y="161652"/>
                    </a:lnTo>
                    <a:lnTo>
                      <a:pt x="4912" y="158789"/>
                    </a:lnTo>
                    <a:lnTo>
                      <a:pt x="13559" y="155522"/>
                    </a:lnTo>
                    <a:lnTo>
                      <a:pt x="16791" y="146012"/>
                    </a:lnTo>
                    <a:lnTo>
                      <a:pt x="21504" y="141662"/>
                    </a:lnTo>
                    <a:lnTo>
                      <a:pt x="20487" y="136591"/>
                    </a:lnTo>
                    <a:lnTo>
                      <a:pt x="15109" y="131082"/>
                    </a:lnTo>
                    <a:lnTo>
                      <a:pt x="14336" y="128550"/>
                    </a:lnTo>
                    <a:lnTo>
                      <a:pt x="19833" y="121636"/>
                    </a:lnTo>
                    <a:lnTo>
                      <a:pt x="21985" y="116394"/>
                    </a:lnTo>
                    <a:lnTo>
                      <a:pt x="21597" y="113521"/>
                    </a:lnTo>
                    <a:lnTo>
                      <a:pt x="23751" y="114623"/>
                    </a:lnTo>
                    <a:lnTo>
                      <a:pt x="26775" y="116168"/>
                    </a:lnTo>
                    <a:lnTo>
                      <a:pt x="28704" y="121002"/>
                    </a:lnTo>
                    <a:lnTo>
                      <a:pt x="32951" y="125268"/>
                    </a:lnTo>
                    <a:lnTo>
                      <a:pt x="41895" y="130787"/>
                    </a:lnTo>
                    <a:lnTo>
                      <a:pt x="43558" y="126818"/>
                    </a:lnTo>
                    <a:lnTo>
                      <a:pt x="52112" y="123650"/>
                    </a:lnTo>
                    <a:lnTo>
                      <a:pt x="59750" y="128341"/>
                    </a:lnTo>
                    <a:lnTo>
                      <a:pt x="62284" y="125829"/>
                    </a:lnTo>
                    <a:lnTo>
                      <a:pt x="69586" y="124905"/>
                    </a:lnTo>
                    <a:lnTo>
                      <a:pt x="78500" y="120440"/>
                    </a:lnTo>
                    <a:lnTo>
                      <a:pt x="81163" y="115592"/>
                    </a:lnTo>
                    <a:lnTo>
                      <a:pt x="87405" y="116277"/>
                    </a:lnTo>
                    <a:lnTo>
                      <a:pt x="93596" y="122374"/>
                    </a:lnTo>
                    <a:lnTo>
                      <a:pt x="99561" y="117749"/>
                    </a:lnTo>
                    <a:lnTo>
                      <a:pt x="110796" y="118073"/>
                    </a:lnTo>
                    <a:lnTo>
                      <a:pt x="117864" y="111081"/>
                    </a:lnTo>
                    <a:lnTo>
                      <a:pt x="115885" y="93637"/>
                    </a:lnTo>
                    <a:lnTo>
                      <a:pt x="114728" y="91439"/>
                    </a:lnTo>
                    <a:lnTo>
                      <a:pt x="111852" y="90452"/>
                    </a:lnTo>
                    <a:lnTo>
                      <a:pt x="73491" y="89031"/>
                    </a:lnTo>
                    <a:lnTo>
                      <a:pt x="63839" y="96819"/>
                    </a:lnTo>
                    <a:lnTo>
                      <a:pt x="58847" y="91207"/>
                    </a:lnTo>
                    <a:lnTo>
                      <a:pt x="44678" y="69463"/>
                    </a:lnTo>
                    <a:lnTo>
                      <a:pt x="46354" y="64012"/>
                    </a:lnTo>
                    <a:lnTo>
                      <a:pt x="41495" y="55220"/>
                    </a:lnTo>
                    <a:lnTo>
                      <a:pt x="41463" y="50759"/>
                    </a:lnTo>
                    <a:lnTo>
                      <a:pt x="37118" y="44699"/>
                    </a:lnTo>
                    <a:lnTo>
                      <a:pt x="35483" y="39920"/>
                    </a:lnTo>
                    <a:lnTo>
                      <a:pt x="41038" y="38248"/>
                    </a:lnTo>
                    <a:lnTo>
                      <a:pt x="61517" y="39133"/>
                    </a:lnTo>
                    <a:lnTo>
                      <a:pt x="66636" y="37404"/>
                    </a:lnTo>
                    <a:lnTo>
                      <a:pt x="68551" y="34274"/>
                    </a:lnTo>
                    <a:lnTo>
                      <a:pt x="68492" y="26633"/>
                    </a:lnTo>
                    <a:lnTo>
                      <a:pt x="70704" y="19685"/>
                    </a:lnTo>
                    <a:lnTo>
                      <a:pt x="68525" y="15059"/>
                    </a:lnTo>
                    <a:lnTo>
                      <a:pt x="68866" y="13352"/>
                    </a:lnTo>
                    <a:lnTo>
                      <a:pt x="75763" y="8079"/>
                    </a:lnTo>
                    <a:lnTo>
                      <a:pt x="80384" y="0"/>
                    </a:lnTo>
                    <a:lnTo>
                      <a:pt x="91424" y="13196"/>
                    </a:lnTo>
                    <a:lnTo>
                      <a:pt x="90894" y="17654"/>
                    </a:lnTo>
                    <a:lnTo>
                      <a:pt x="85825" y="20989"/>
                    </a:lnTo>
                    <a:lnTo>
                      <a:pt x="89900" y="28840"/>
                    </a:lnTo>
                    <a:lnTo>
                      <a:pt x="89267" y="36501"/>
                    </a:lnTo>
                    <a:lnTo>
                      <a:pt x="95834" y="38772"/>
                    </a:lnTo>
                    <a:lnTo>
                      <a:pt x="101311" y="45516"/>
                    </a:lnTo>
                    <a:lnTo>
                      <a:pt x="119608" y="53083"/>
                    </a:lnTo>
                    <a:lnTo>
                      <a:pt x="122736" y="56588"/>
                    </a:lnTo>
                    <a:lnTo>
                      <a:pt x="124820" y="61623"/>
                    </a:lnTo>
                    <a:lnTo>
                      <a:pt x="149027" y="73549"/>
                    </a:lnTo>
                    <a:lnTo>
                      <a:pt x="161804" y="93542"/>
                    </a:lnTo>
                    <a:lnTo>
                      <a:pt x="168781" y="9725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93" name="Freeform 192">
                <a:extLst>
                  <a:ext uri="{FF2B5EF4-FFF2-40B4-BE49-F238E27FC236}">
                    <a16:creationId xmlns:a16="http://schemas.microsoft.com/office/drawing/2014/main" id="{0DFAC436-3B09-79A9-6EC5-33789C474B5A}"/>
                  </a:ext>
                </a:extLst>
              </p:cNvPr>
              <p:cNvSpPr>
                <a:spLocks noChangeAspect="1"/>
              </p:cNvSpPr>
              <p:nvPr>
                <p:custDataLst>
                  <p:tags r:id="rId129"/>
                </p:custDataLst>
              </p:nvPr>
            </p:nvSpPr>
            <p:spPr>
              <a:xfrm>
                <a:off x="4928955" y="4863852"/>
                <a:ext cx="196004" cy="260966"/>
              </a:xfrm>
              <a:custGeom>
                <a:avLst/>
                <a:gdLst/>
                <a:ahLst/>
                <a:cxnLst/>
                <a:rect l="0" t="0" r="0" b="0"/>
                <a:pathLst>
                  <a:path w="201243" h="267942">
                    <a:moveTo>
                      <a:pt x="104803" y="70247"/>
                    </a:moveTo>
                    <a:lnTo>
                      <a:pt x="109927" y="68597"/>
                    </a:lnTo>
                    <a:lnTo>
                      <a:pt x="121836" y="68974"/>
                    </a:lnTo>
                    <a:lnTo>
                      <a:pt x="126760" y="65103"/>
                    </a:lnTo>
                    <a:lnTo>
                      <a:pt x="132356" y="64271"/>
                    </a:lnTo>
                    <a:lnTo>
                      <a:pt x="136734" y="57888"/>
                    </a:lnTo>
                    <a:lnTo>
                      <a:pt x="139216" y="56601"/>
                    </a:lnTo>
                    <a:lnTo>
                      <a:pt x="151139" y="61084"/>
                    </a:lnTo>
                    <a:lnTo>
                      <a:pt x="152383" y="62455"/>
                    </a:lnTo>
                    <a:lnTo>
                      <a:pt x="147337" y="72075"/>
                    </a:lnTo>
                    <a:lnTo>
                      <a:pt x="145961" y="78067"/>
                    </a:lnTo>
                    <a:lnTo>
                      <a:pt x="148082" y="81077"/>
                    </a:lnTo>
                    <a:lnTo>
                      <a:pt x="154049" y="81193"/>
                    </a:lnTo>
                    <a:lnTo>
                      <a:pt x="154426" y="82662"/>
                    </a:lnTo>
                    <a:lnTo>
                      <a:pt x="147943" y="90632"/>
                    </a:lnTo>
                    <a:lnTo>
                      <a:pt x="146831" y="98953"/>
                    </a:lnTo>
                    <a:lnTo>
                      <a:pt x="148002" y="102529"/>
                    </a:lnTo>
                    <a:lnTo>
                      <a:pt x="151529" y="106125"/>
                    </a:lnTo>
                    <a:lnTo>
                      <a:pt x="151731" y="112271"/>
                    </a:lnTo>
                    <a:lnTo>
                      <a:pt x="155229" y="118958"/>
                    </a:lnTo>
                    <a:lnTo>
                      <a:pt x="155772" y="123384"/>
                    </a:lnTo>
                    <a:lnTo>
                      <a:pt x="150629" y="127072"/>
                    </a:lnTo>
                    <a:lnTo>
                      <a:pt x="139443" y="122029"/>
                    </a:lnTo>
                    <a:lnTo>
                      <a:pt x="137331" y="123579"/>
                    </a:lnTo>
                    <a:lnTo>
                      <a:pt x="136692" y="126149"/>
                    </a:lnTo>
                    <a:lnTo>
                      <a:pt x="140336" y="131224"/>
                    </a:lnTo>
                    <a:lnTo>
                      <a:pt x="141927" y="144227"/>
                    </a:lnTo>
                    <a:lnTo>
                      <a:pt x="148844" y="146556"/>
                    </a:lnTo>
                    <a:lnTo>
                      <a:pt x="152389" y="154713"/>
                    </a:lnTo>
                    <a:lnTo>
                      <a:pt x="158547" y="157597"/>
                    </a:lnTo>
                    <a:lnTo>
                      <a:pt x="163686" y="153908"/>
                    </a:lnTo>
                    <a:lnTo>
                      <a:pt x="170154" y="154851"/>
                    </a:lnTo>
                    <a:lnTo>
                      <a:pt x="176055" y="152099"/>
                    </a:lnTo>
                    <a:lnTo>
                      <a:pt x="188934" y="157590"/>
                    </a:lnTo>
                    <a:lnTo>
                      <a:pt x="195763" y="166590"/>
                    </a:lnTo>
                    <a:lnTo>
                      <a:pt x="197890" y="172559"/>
                    </a:lnTo>
                    <a:lnTo>
                      <a:pt x="196523" y="178770"/>
                    </a:lnTo>
                    <a:lnTo>
                      <a:pt x="198855" y="184947"/>
                    </a:lnTo>
                    <a:lnTo>
                      <a:pt x="198304" y="186351"/>
                    </a:lnTo>
                    <a:lnTo>
                      <a:pt x="189738" y="184525"/>
                    </a:lnTo>
                    <a:lnTo>
                      <a:pt x="187675" y="185664"/>
                    </a:lnTo>
                    <a:lnTo>
                      <a:pt x="186740" y="192818"/>
                    </a:lnTo>
                    <a:lnTo>
                      <a:pt x="183027" y="194321"/>
                    </a:lnTo>
                    <a:lnTo>
                      <a:pt x="185931" y="198149"/>
                    </a:lnTo>
                    <a:lnTo>
                      <a:pt x="182839" y="204204"/>
                    </a:lnTo>
                    <a:lnTo>
                      <a:pt x="185798" y="211329"/>
                    </a:lnTo>
                    <a:lnTo>
                      <a:pt x="189588" y="210345"/>
                    </a:lnTo>
                    <a:lnTo>
                      <a:pt x="191111" y="212306"/>
                    </a:lnTo>
                    <a:lnTo>
                      <a:pt x="190941" y="215176"/>
                    </a:lnTo>
                    <a:lnTo>
                      <a:pt x="187101" y="218502"/>
                    </a:lnTo>
                    <a:lnTo>
                      <a:pt x="186447" y="222663"/>
                    </a:lnTo>
                    <a:lnTo>
                      <a:pt x="197411" y="230834"/>
                    </a:lnTo>
                    <a:lnTo>
                      <a:pt x="198507" y="238400"/>
                    </a:lnTo>
                    <a:lnTo>
                      <a:pt x="199758" y="242166"/>
                    </a:lnTo>
                    <a:lnTo>
                      <a:pt x="200973" y="244166"/>
                    </a:lnTo>
                    <a:lnTo>
                      <a:pt x="201242" y="246221"/>
                    </a:lnTo>
                    <a:lnTo>
                      <a:pt x="199657" y="250100"/>
                    </a:lnTo>
                    <a:lnTo>
                      <a:pt x="198186" y="252563"/>
                    </a:lnTo>
                    <a:lnTo>
                      <a:pt x="193662" y="258354"/>
                    </a:lnTo>
                    <a:lnTo>
                      <a:pt x="187958" y="261085"/>
                    </a:lnTo>
                    <a:lnTo>
                      <a:pt x="180222" y="267143"/>
                    </a:lnTo>
                    <a:lnTo>
                      <a:pt x="174842" y="267941"/>
                    </a:lnTo>
                    <a:lnTo>
                      <a:pt x="170857" y="265708"/>
                    </a:lnTo>
                    <a:lnTo>
                      <a:pt x="161533" y="257276"/>
                    </a:lnTo>
                    <a:lnTo>
                      <a:pt x="157345" y="255482"/>
                    </a:lnTo>
                    <a:lnTo>
                      <a:pt x="152041" y="254947"/>
                    </a:lnTo>
                    <a:lnTo>
                      <a:pt x="146682" y="253051"/>
                    </a:lnTo>
                    <a:lnTo>
                      <a:pt x="141870" y="249930"/>
                    </a:lnTo>
                    <a:lnTo>
                      <a:pt x="138186" y="245685"/>
                    </a:lnTo>
                    <a:lnTo>
                      <a:pt x="135972" y="239643"/>
                    </a:lnTo>
                    <a:lnTo>
                      <a:pt x="127113" y="242800"/>
                    </a:lnTo>
                    <a:lnTo>
                      <a:pt x="122607" y="242410"/>
                    </a:lnTo>
                    <a:lnTo>
                      <a:pt x="116840" y="239194"/>
                    </a:lnTo>
                    <a:lnTo>
                      <a:pt x="107933" y="239804"/>
                    </a:lnTo>
                    <a:lnTo>
                      <a:pt x="101738" y="233820"/>
                    </a:lnTo>
                    <a:lnTo>
                      <a:pt x="97522" y="232141"/>
                    </a:lnTo>
                    <a:lnTo>
                      <a:pt x="94061" y="233518"/>
                    </a:lnTo>
                    <a:lnTo>
                      <a:pt x="90174" y="238521"/>
                    </a:lnTo>
                    <a:lnTo>
                      <a:pt x="83752" y="235737"/>
                    </a:lnTo>
                    <a:lnTo>
                      <a:pt x="78506" y="239296"/>
                    </a:lnTo>
                    <a:lnTo>
                      <a:pt x="71264" y="237903"/>
                    </a:lnTo>
                    <a:lnTo>
                      <a:pt x="64083" y="240969"/>
                    </a:lnTo>
                    <a:lnTo>
                      <a:pt x="54953" y="235811"/>
                    </a:lnTo>
                    <a:lnTo>
                      <a:pt x="43625" y="234735"/>
                    </a:lnTo>
                    <a:lnTo>
                      <a:pt x="35756" y="236741"/>
                    </a:lnTo>
                    <a:lnTo>
                      <a:pt x="34095" y="238809"/>
                    </a:lnTo>
                    <a:lnTo>
                      <a:pt x="31993" y="247700"/>
                    </a:lnTo>
                    <a:lnTo>
                      <a:pt x="27621" y="246727"/>
                    </a:lnTo>
                    <a:lnTo>
                      <a:pt x="16722" y="228544"/>
                    </a:lnTo>
                    <a:lnTo>
                      <a:pt x="11583" y="228869"/>
                    </a:lnTo>
                    <a:lnTo>
                      <a:pt x="9895" y="227114"/>
                    </a:lnTo>
                    <a:lnTo>
                      <a:pt x="9050" y="216839"/>
                    </a:lnTo>
                    <a:lnTo>
                      <a:pt x="13231" y="212381"/>
                    </a:lnTo>
                    <a:lnTo>
                      <a:pt x="14287" y="204397"/>
                    </a:lnTo>
                    <a:lnTo>
                      <a:pt x="7129" y="197468"/>
                    </a:lnTo>
                    <a:lnTo>
                      <a:pt x="6302" y="190380"/>
                    </a:lnTo>
                    <a:lnTo>
                      <a:pt x="7011" y="186728"/>
                    </a:lnTo>
                    <a:lnTo>
                      <a:pt x="15126" y="188383"/>
                    </a:lnTo>
                    <a:lnTo>
                      <a:pt x="16276" y="186084"/>
                    </a:lnTo>
                    <a:lnTo>
                      <a:pt x="15491" y="183555"/>
                    </a:lnTo>
                    <a:lnTo>
                      <a:pt x="8477" y="176731"/>
                    </a:lnTo>
                    <a:lnTo>
                      <a:pt x="7307" y="166582"/>
                    </a:lnTo>
                    <a:lnTo>
                      <a:pt x="4061" y="154765"/>
                    </a:lnTo>
                    <a:lnTo>
                      <a:pt x="0" y="150095"/>
                    </a:lnTo>
                    <a:lnTo>
                      <a:pt x="6894" y="141436"/>
                    </a:lnTo>
                    <a:lnTo>
                      <a:pt x="7143" y="119236"/>
                    </a:lnTo>
                    <a:lnTo>
                      <a:pt x="11146" y="108532"/>
                    </a:lnTo>
                    <a:lnTo>
                      <a:pt x="15827" y="104268"/>
                    </a:lnTo>
                    <a:lnTo>
                      <a:pt x="13640" y="98163"/>
                    </a:lnTo>
                    <a:lnTo>
                      <a:pt x="21295" y="89694"/>
                    </a:lnTo>
                    <a:lnTo>
                      <a:pt x="21281" y="86733"/>
                    </a:lnTo>
                    <a:lnTo>
                      <a:pt x="19718" y="84640"/>
                    </a:lnTo>
                    <a:lnTo>
                      <a:pt x="10639" y="79459"/>
                    </a:lnTo>
                    <a:lnTo>
                      <a:pt x="11439" y="69951"/>
                    </a:lnTo>
                    <a:lnTo>
                      <a:pt x="23151" y="80740"/>
                    </a:lnTo>
                    <a:lnTo>
                      <a:pt x="25638" y="80341"/>
                    </a:lnTo>
                    <a:lnTo>
                      <a:pt x="27218" y="75956"/>
                    </a:lnTo>
                    <a:lnTo>
                      <a:pt x="35770" y="74990"/>
                    </a:lnTo>
                    <a:lnTo>
                      <a:pt x="36599" y="69013"/>
                    </a:lnTo>
                    <a:lnTo>
                      <a:pt x="43032" y="67469"/>
                    </a:lnTo>
                    <a:lnTo>
                      <a:pt x="44895" y="63598"/>
                    </a:lnTo>
                    <a:lnTo>
                      <a:pt x="47720" y="47386"/>
                    </a:lnTo>
                    <a:lnTo>
                      <a:pt x="47646" y="39647"/>
                    </a:lnTo>
                    <a:lnTo>
                      <a:pt x="52240" y="33458"/>
                    </a:lnTo>
                    <a:lnTo>
                      <a:pt x="53239" y="28869"/>
                    </a:lnTo>
                    <a:lnTo>
                      <a:pt x="60191" y="27825"/>
                    </a:lnTo>
                    <a:lnTo>
                      <a:pt x="61144" y="26949"/>
                    </a:lnTo>
                    <a:lnTo>
                      <a:pt x="60731" y="21432"/>
                    </a:lnTo>
                    <a:lnTo>
                      <a:pt x="63384" y="20842"/>
                    </a:lnTo>
                    <a:lnTo>
                      <a:pt x="67767" y="21133"/>
                    </a:lnTo>
                    <a:lnTo>
                      <a:pt x="74524" y="26991"/>
                    </a:lnTo>
                    <a:lnTo>
                      <a:pt x="79576" y="25570"/>
                    </a:lnTo>
                    <a:lnTo>
                      <a:pt x="81040" y="22031"/>
                    </a:lnTo>
                    <a:lnTo>
                      <a:pt x="75607" y="16877"/>
                    </a:lnTo>
                    <a:lnTo>
                      <a:pt x="82987" y="10500"/>
                    </a:lnTo>
                    <a:lnTo>
                      <a:pt x="84607" y="3658"/>
                    </a:lnTo>
                    <a:lnTo>
                      <a:pt x="87416" y="0"/>
                    </a:lnTo>
                    <a:lnTo>
                      <a:pt x="107863" y="24400"/>
                    </a:lnTo>
                    <a:lnTo>
                      <a:pt x="106423" y="26559"/>
                    </a:lnTo>
                    <a:lnTo>
                      <a:pt x="99411" y="27742"/>
                    </a:lnTo>
                    <a:lnTo>
                      <a:pt x="91766" y="32002"/>
                    </a:lnTo>
                    <a:lnTo>
                      <a:pt x="94832" y="34241"/>
                    </a:lnTo>
                    <a:lnTo>
                      <a:pt x="94550" y="46671"/>
                    </a:lnTo>
                    <a:lnTo>
                      <a:pt x="96670" y="49906"/>
                    </a:lnTo>
                    <a:lnTo>
                      <a:pt x="102674" y="6903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94" name="Freeform 193">
                <a:extLst>
                  <a:ext uri="{FF2B5EF4-FFF2-40B4-BE49-F238E27FC236}">
                    <a16:creationId xmlns:a16="http://schemas.microsoft.com/office/drawing/2014/main" id="{064F5C3A-6106-F305-B67A-A3673AC443BC}"/>
                  </a:ext>
                </a:extLst>
              </p:cNvPr>
              <p:cNvSpPr>
                <a:spLocks noChangeAspect="1"/>
              </p:cNvSpPr>
              <p:nvPr>
                <p:custDataLst>
                  <p:tags r:id="rId130"/>
                </p:custDataLst>
              </p:nvPr>
            </p:nvSpPr>
            <p:spPr>
              <a:xfrm>
                <a:off x="5210853" y="4945448"/>
                <a:ext cx="33187" cy="35892"/>
              </a:xfrm>
              <a:custGeom>
                <a:avLst/>
                <a:gdLst/>
                <a:ahLst/>
                <a:cxnLst/>
                <a:rect l="0" t="0" r="0" b="0"/>
                <a:pathLst>
                  <a:path w="34074" h="36851">
                    <a:moveTo>
                      <a:pt x="23959" y="36850"/>
                    </a:moveTo>
                    <a:lnTo>
                      <a:pt x="14547" y="30022"/>
                    </a:lnTo>
                    <a:lnTo>
                      <a:pt x="6551" y="28780"/>
                    </a:lnTo>
                    <a:lnTo>
                      <a:pt x="6447" y="28784"/>
                    </a:lnTo>
                    <a:lnTo>
                      <a:pt x="5729" y="27649"/>
                    </a:lnTo>
                    <a:lnTo>
                      <a:pt x="1647" y="21616"/>
                    </a:lnTo>
                    <a:lnTo>
                      <a:pt x="198" y="17528"/>
                    </a:lnTo>
                    <a:lnTo>
                      <a:pt x="0" y="12715"/>
                    </a:lnTo>
                    <a:lnTo>
                      <a:pt x="1053" y="7159"/>
                    </a:lnTo>
                    <a:lnTo>
                      <a:pt x="2610" y="3635"/>
                    </a:lnTo>
                    <a:lnTo>
                      <a:pt x="7284" y="3439"/>
                    </a:lnTo>
                    <a:lnTo>
                      <a:pt x="17030" y="2332"/>
                    </a:lnTo>
                    <a:lnTo>
                      <a:pt x="21181" y="0"/>
                    </a:lnTo>
                    <a:lnTo>
                      <a:pt x="24640" y="5068"/>
                    </a:lnTo>
                    <a:lnTo>
                      <a:pt x="25739" y="10849"/>
                    </a:lnTo>
                    <a:lnTo>
                      <a:pt x="30438" y="14903"/>
                    </a:lnTo>
                    <a:lnTo>
                      <a:pt x="30950" y="20719"/>
                    </a:lnTo>
                    <a:lnTo>
                      <a:pt x="34073" y="26215"/>
                    </a:lnTo>
                    <a:lnTo>
                      <a:pt x="33076" y="29026"/>
                    </a:lnTo>
                    <a:lnTo>
                      <a:pt x="29066" y="31956"/>
                    </a:lnTo>
                    <a:lnTo>
                      <a:pt x="27604" y="36061"/>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95" name="Freeform 194">
                <a:extLst>
                  <a:ext uri="{FF2B5EF4-FFF2-40B4-BE49-F238E27FC236}">
                    <a16:creationId xmlns:a16="http://schemas.microsoft.com/office/drawing/2014/main" id="{B66A3A6A-3735-95C5-D174-FDE88E53B2AE}"/>
                  </a:ext>
                </a:extLst>
              </p:cNvPr>
              <p:cNvSpPr>
                <a:spLocks noChangeAspect="1"/>
              </p:cNvSpPr>
              <p:nvPr>
                <p:custDataLst>
                  <p:tags r:id="rId131"/>
                </p:custDataLst>
              </p:nvPr>
            </p:nvSpPr>
            <p:spPr>
              <a:xfrm>
                <a:off x="5211642" y="5059147"/>
                <a:ext cx="29708" cy="60997"/>
              </a:xfrm>
              <a:custGeom>
                <a:avLst/>
                <a:gdLst/>
                <a:ahLst/>
                <a:cxnLst/>
                <a:rect l="0" t="0" r="0" b="0"/>
                <a:pathLst>
                  <a:path w="30502" h="62628">
                    <a:moveTo>
                      <a:pt x="7879" y="2433"/>
                    </a:moveTo>
                    <a:lnTo>
                      <a:pt x="14207" y="467"/>
                    </a:lnTo>
                    <a:lnTo>
                      <a:pt x="21842" y="309"/>
                    </a:lnTo>
                    <a:lnTo>
                      <a:pt x="24686" y="11015"/>
                    </a:lnTo>
                    <a:lnTo>
                      <a:pt x="24877" y="11462"/>
                    </a:lnTo>
                    <a:lnTo>
                      <a:pt x="25064" y="12125"/>
                    </a:lnTo>
                    <a:lnTo>
                      <a:pt x="25267" y="12572"/>
                    </a:lnTo>
                    <a:lnTo>
                      <a:pt x="25455" y="13234"/>
                    </a:lnTo>
                    <a:lnTo>
                      <a:pt x="25652" y="13671"/>
                    </a:lnTo>
                    <a:lnTo>
                      <a:pt x="25828" y="14344"/>
                    </a:lnTo>
                    <a:lnTo>
                      <a:pt x="30268" y="23460"/>
                    </a:lnTo>
                    <a:lnTo>
                      <a:pt x="30501" y="25327"/>
                    </a:lnTo>
                    <a:lnTo>
                      <a:pt x="24591" y="30836"/>
                    </a:lnTo>
                    <a:lnTo>
                      <a:pt x="21868" y="31605"/>
                    </a:lnTo>
                    <a:lnTo>
                      <a:pt x="21704" y="31790"/>
                    </a:lnTo>
                    <a:lnTo>
                      <a:pt x="21577" y="31994"/>
                    </a:lnTo>
                    <a:lnTo>
                      <a:pt x="21513" y="32214"/>
                    </a:lnTo>
                    <a:lnTo>
                      <a:pt x="21491" y="32718"/>
                    </a:lnTo>
                    <a:lnTo>
                      <a:pt x="21519" y="32964"/>
                    </a:lnTo>
                    <a:lnTo>
                      <a:pt x="21579" y="33198"/>
                    </a:lnTo>
                    <a:lnTo>
                      <a:pt x="21680" y="33431"/>
                    </a:lnTo>
                    <a:lnTo>
                      <a:pt x="22078" y="33967"/>
                    </a:lnTo>
                    <a:lnTo>
                      <a:pt x="22466" y="34286"/>
                    </a:lnTo>
                    <a:lnTo>
                      <a:pt x="23448" y="34660"/>
                    </a:lnTo>
                    <a:lnTo>
                      <a:pt x="28504" y="34975"/>
                    </a:lnTo>
                    <a:lnTo>
                      <a:pt x="29493" y="35368"/>
                    </a:lnTo>
                    <a:lnTo>
                      <a:pt x="29856" y="35667"/>
                    </a:lnTo>
                    <a:lnTo>
                      <a:pt x="30012" y="35859"/>
                    </a:lnTo>
                    <a:lnTo>
                      <a:pt x="30375" y="36593"/>
                    </a:lnTo>
                    <a:lnTo>
                      <a:pt x="30422" y="36829"/>
                    </a:lnTo>
                    <a:lnTo>
                      <a:pt x="30404" y="37285"/>
                    </a:lnTo>
                    <a:lnTo>
                      <a:pt x="30023" y="38585"/>
                    </a:lnTo>
                    <a:lnTo>
                      <a:pt x="25470" y="46486"/>
                    </a:lnTo>
                    <a:lnTo>
                      <a:pt x="22779" y="53083"/>
                    </a:lnTo>
                    <a:lnTo>
                      <a:pt x="20541" y="55983"/>
                    </a:lnTo>
                    <a:lnTo>
                      <a:pt x="20005" y="57291"/>
                    </a:lnTo>
                    <a:lnTo>
                      <a:pt x="19953" y="57529"/>
                    </a:lnTo>
                    <a:lnTo>
                      <a:pt x="19932" y="60721"/>
                    </a:lnTo>
                    <a:lnTo>
                      <a:pt x="19868" y="60951"/>
                    </a:lnTo>
                    <a:lnTo>
                      <a:pt x="18958" y="62037"/>
                    </a:lnTo>
                    <a:lnTo>
                      <a:pt x="18089" y="62627"/>
                    </a:lnTo>
                    <a:lnTo>
                      <a:pt x="15501" y="62618"/>
                    </a:lnTo>
                    <a:lnTo>
                      <a:pt x="14503" y="62147"/>
                    </a:lnTo>
                    <a:lnTo>
                      <a:pt x="6757" y="60575"/>
                    </a:lnTo>
                    <a:lnTo>
                      <a:pt x="862" y="53571"/>
                    </a:lnTo>
                    <a:lnTo>
                      <a:pt x="3634" y="47113"/>
                    </a:lnTo>
                    <a:lnTo>
                      <a:pt x="5864" y="25773"/>
                    </a:lnTo>
                    <a:lnTo>
                      <a:pt x="0" y="10349"/>
                    </a:lnTo>
                    <a:lnTo>
                      <a:pt x="1642" y="7683"/>
                    </a:lnTo>
                    <a:lnTo>
                      <a:pt x="2466" y="646"/>
                    </a:lnTo>
                    <a:lnTo>
                      <a:pt x="5140"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96" name="Freeform 195">
                <a:extLst>
                  <a:ext uri="{FF2B5EF4-FFF2-40B4-BE49-F238E27FC236}">
                    <a16:creationId xmlns:a16="http://schemas.microsoft.com/office/drawing/2014/main" id="{B4B4DB8A-F26E-E4FC-5C98-58FF5A049873}"/>
                  </a:ext>
                </a:extLst>
              </p:cNvPr>
              <p:cNvSpPr>
                <a:spLocks noChangeAspect="1"/>
              </p:cNvSpPr>
              <p:nvPr>
                <p:custDataLst>
                  <p:tags r:id="rId132"/>
                </p:custDataLst>
              </p:nvPr>
            </p:nvSpPr>
            <p:spPr>
              <a:xfrm>
                <a:off x="5256778" y="5125336"/>
                <a:ext cx="20334" cy="41277"/>
              </a:xfrm>
              <a:custGeom>
                <a:avLst/>
                <a:gdLst/>
                <a:ahLst/>
                <a:cxnLst/>
                <a:rect l="0" t="0" r="0" b="0"/>
                <a:pathLst>
                  <a:path w="20878" h="42380">
                    <a:moveTo>
                      <a:pt x="15430" y="305"/>
                    </a:moveTo>
                    <a:lnTo>
                      <a:pt x="16330" y="2260"/>
                    </a:lnTo>
                    <a:lnTo>
                      <a:pt x="16403" y="2534"/>
                    </a:lnTo>
                    <a:lnTo>
                      <a:pt x="16575" y="5302"/>
                    </a:lnTo>
                    <a:lnTo>
                      <a:pt x="16851" y="6386"/>
                    </a:lnTo>
                    <a:lnTo>
                      <a:pt x="16981" y="7527"/>
                    </a:lnTo>
                    <a:lnTo>
                      <a:pt x="17214" y="8326"/>
                    </a:lnTo>
                    <a:lnTo>
                      <a:pt x="17391" y="10116"/>
                    </a:lnTo>
                    <a:lnTo>
                      <a:pt x="17986" y="12698"/>
                    </a:lnTo>
                    <a:lnTo>
                      <a:pt x="19333" y="15265"/>
                    </a:lnTo>
                    <a:lnTo>
                      <a:pt x="20299" y="16466"/>
                    </a:lnTo>
                    <a:lnTo>
                      <a:pt x="20705" y="17415"/>
                    </a:lnTo>
                    <a:lnTo>
                      <a:pt x="20877" y="18080"/>
                    </a:lnTo>
                    <a:lnTo>
                      <a:pt x="20159" y="18606"/>
                    </a:lnTo>
                    <a:lnTo>
                      <a:pt x="19695" y="18982"/>
                    </a:lnTo>
                    <a:lnTo>
                      <a:pt x="18810" y="19912"/>
                    </a:lnTo>
                    <a:lnTo>
                      <a:pt x="18432" y="20422"/>
                    </a:lnTo>
                    <a:lnTo>
                      <a:pt x="18267" y="20608"/>
                    </a:lnTo>
                    <a:lnTo>
                      <a:pt x="17963" y="20839"/>
                    </a:lnTo>
                    <a:lnTo>
                      <a:pt x="16709" y="22772"/>
                    </a:lnTo>
                    <a:lnTo>
                      <a:pt x="10890" y="27599"/>
                    </a:lnTo>
                    <a:lnTo>
                      <a:pt x="5467" y="40366"/>
                    </a:lnTo>
                    <a:lnTo>
                      <a:pt x="1038" y="42379"/>
                    </a:lnTo>
                    <a:lnTo>
                      <a:pt x="0" y="33614"/>
                    </a:lnTo>
                    <a:lnTo>
                      <a:pt x="3658" y="24522"/>
                    </a:lnTo>
                    <a:lnTo>
                      <a:pt x="1372" y="19327"/>
                    </a:lnTo>
                    <a:lnTo>
                      <a:pt x="2531" y="17003"/>
                    </a:lnTo>
                    <a:lnTo>
                      <a:pt x="2650" y="16495"/>
                    </a:lnTo>
                    <a:lnTo>
                      <a:pt x="3014" y="11075"/>
                    </a:lnTo>
                    <a:lnTo>
                      <a:pt x="2734" y="7441"/>
                    </a:lnTo>
                    <a:lnTo>
                      <a:pt x="1709" y="4553"/>
                    </a:lnTo>
                    <a:lnTo>
                      <a:pt x="1534" y="2920"/>
                    </a:lnTo>
                    <a:lnTo>
                      <a:pt x="1622" y="2542"/>
                    </a:lnTo>
                    <a:lnTo>
                      <a:pt x="1690" y="2400"/>
                    </a:lnTo>
                    <a:lnTo>
                      <a:pt x="1830" y="2216"/>
                    </a:lnTo>
                    <a:lnTo>
                      <a:pt x="2351" y="1868"/>
                    </a:lnTo>
                    <a:lnTo>
                      <a:pt x="2871" y="1775"/>
                    </a:lnTo>
                    <a:lnTo>
                      <a:pt x="3404" y="1850"/>
                    </a:lnTo>
                    <a:lnTo>
                      <a:pt x="6615" y="3960"/>
                    </a:lnTo>
                    <a:lnTo>
                      <a:pt x="7166" y="4005"/>
                    </a:lnTo>
                    <a:lnTo>
                      <a:pt x="10491" y="2938"/>
                    </a:lnTo>
                    <a:lnTo>
                      <a:pt x="13216" y="148"/>
                    </a:lnTo>
                    <a:lnTo>
                      <a:pt x="13876"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97" name="Freeform 196">
                <a:extLst>
                  <a:ext uri="{FF2B5EF4-FFF2-40B4-BE49-F238E27FC236}">
                    <a16:creationId xmlns:a16="http://schemas.microsoft.com/office/drawing/2014/main" id="{58E34A27-FFAE-65D8-82A4-3224A97B70B8}"/>
                  </a:ext>
                </a:extLst>
              </p:cNvPr>
              <p:cNvSpPr>
                <a:spLocks noChangeAspect="1"/>
              </p:cNvSpPr>
              <p:nvPr>
                <p:custDataLst>
                  <p:tags r:id="rId133"/>
                </p:custDataLst>
              </p:nvPr>
            </p:nvSpPr>
            <p:spPr>
              <a:xfrm>
                <a:off x="5136687" y="5111323"/>
                <a:ext cx="211625" cy="153071"/>
              </a:xfrm>
              <a:custGeom>
                <a:avLst/>
                <a:gdLst/>
                <a:ahLst/>
                <a:cxnLst/>
                <a:rect l="0" t="0" r="0" b="0"/>
                <a:pathLst>
                  <a:path w="217282" h="157163">
                    <a:moveTo>
                      <a:pt x="91462" y="8576"/>
                    </a:moveTo>
                    <a:lnTo>
                      <a:pt x="91982" y="14620"/>
                    </a:lnTo>
                    <a:lnTo>
                      <a:pt x="94148" y="17510"/>
                    </a:lnTo>
                    <a:lnTo>
                      <a:pt x="101713" y="19193"/>
                    </a:lnTo>
                    <a:lnTo>
                      <a:pt x="105679" y="23340"/>
                    </a:lnTo>
                    <a:lnTo>
                      <a:pt x="108193" y="23598"/>
                    </a:lnTo>
                    <a:lnTo>
                      <a:pt x="114206" y="28276"/>
                    </a:lnTo>
                    <a:lnTo>
                      <a:pt x="114320" y="28775"/>
                    </a:lnTo>
                    <a:lnTo>
                      <a:pt x="117837" y="28661"/>
                    </a:lnTo>
                    <a:lnTo>
                      <a:pt x="123346" y="30681"/>
                    </a:lnTo>
                    <a:lnTo>
                      <a:pt x="124673" y="33715"/>
                    </a:lnTo>
                    <a:lnTo>
                      <a:pt x="126959" y="38910"/>
                    </a:lnTo>
                    <a:lnTo>
                      <a:pt x="123301" y="48002"/>
                    </a:lnTo>
                    <a:lnTo>
                      <a:pt x="124339" y="56767"/>
                    </a:lnTo>
                    <a:lnTo>
                      <a:pt x="128768" y="54754"/>
                    </a:lnTo>
                    <a:lnTo>
                      <a:pt x="134191" y="41987"/>
                    </a:lnTo>
                    <a:lnTo>
                      <a:pt x="140010" y="37160"/>
                    </a:lnTo>
                    <a:lnTo>
                      <a:pt x="146326" y="44739"/>
                    </a:lnTo>
                    <a:lnTo>
                      <a:pt x="146411" y="54180"/>
                    </a:lnTo>
                    <a:lnTo>
                      <a:pt x="153573" y="49507"/>
                    </a:lnTo>
                    <a:lnTo>
                      <a:pt x="156035" y="49601"/>
                    </a:lnTo>
                    <a:lnTo>
                      <a:pt x="159878" y="56884"/>
                    </a:lnTo>
                    <a:lnTo>
                      <a:pt x="163149" y="63085"/>
                    </a:lnTo>
                    <a:lnTo>
                      <a:pt x="168893" y="68124"/>
                    </a:lnTo>
                    <a:lnTo>
                      <a:pt x="175074" y="66451"/>
                    </a:lnTo>
                    <a:lnTo>
                      <a:pt x="178861" y="59278"/>
                    </a:lnTo>
                    <a:lnTo>
                      <a:pt x="183343" y="57049"/>
                    </a:lnTo>
                    <a:lnTo>
                      <a:pt x="187860" y="57150"/>
                    </a:lnTo>
                    <a:lnTo>
                      <a:pt x="192358" y="51085"/>
                    </a:lnTo>
                    <a:lnTo>
                      <a:pt x="198756" y="51280"/>
                    </a:lnTo>
                    <a:lnTo>
                      <a:pt x="202046" y="54471"/>
                    </a:lnTo>
                    <a:lnTo>
                      <a:pt x="202844" y="55261"/>
                    </a:lnTo>
                    <a:lnTo>
                      <a:pt x="204842" y="66201"/>
                    </a:lnTo>
                    <a:lnTo>
                      <a:pt x="210915" y="63878"/>
                    </a:lnTo>
                    <a:lnTo>
                      <a:pt x="212463" y="65719"/>
                    </a:lnTo>
                    <a:lnTo>
                      <a:pt x="213224" y="74614"/>
                    </a:lnTo>
                    <a:lnTo>
                      <a:pt x="215593" y="83825"/>
                    </a:lnTo>
                    <a:lnTo>
                      <a:pt x="211532" y="96357"/>
                    </a:lnTo>
                    <a:lnTo>
                      <a:pt x="215847" y="106983"/>
                    </a:lnTo>
                    <a:lnTo>
                      <a:pt x="215231" y="112222"/>
                    </a:lnTo>
                    <a:lnTo>
                      <a:pt x="217281" y="124413"/>
                    </a:lnTo>
                    <a:lnTo>
                      <a:pt x="207364" y="124899"/>
                    </a:lnTo>
                    <a:lnTo>
                      <a:pt x="202238" y="124891"/>
                    </a:lnTo>
                    <a:lnTo>
                      <a:pt x="189471" y="125998"/>
                    </a:lnTo>
                    <a:lnTo>
                      <a:pt x="183909" y="123932"/>
                    </a:lnTo>
                    <a:lnTo>
                      <a:pt x="173717" y="127058"/>
                    </a:lnTo>
                    <a:lnTo>
                      <a:pt x="169593" y="125868"/>
                    </a:lnTo>
                    <a:lnTo>
                      <a:pt x="168078" y="120524"/>
                    </a:lnTo>
                    <a:lnTo>
                      <a:pt x="158211" y="117482"/>
                    </a:lnTo>
                    <a:lnTo>
                      <a:pt x="130077" y="135839"/>
                    </a:lnTo>
                    <a:lnTo>
                      <a:pt x="118316" y="136987"/>
                    </a:lnTo>
                    <a:lnTo>
                      <a:pt x="102079" y="144599"/>
                    </a:lnTo>
                    <a:lnTo>
                      <a:pt x="88916" y="145785"/>
                    </a:lnTo>
                    <a:lnTo>
                      <a:pt x="82466" y="149668"/>
                    </a:lnTo>
                    <a:lnTo>
                      <a:pt x="78080" y="148682"/>
                    </a:lnTo>
                    <a:lnTo>
                      <a:pt x="73367" y="152589"/>
                    </a:lnTo>
                    <a:lnTo>
                      <a:pt x="58945" y="154336"/>
                    </a:lnTo>
                    <a:lnTo>
                      <a:pt x="52820" y="151399"/>
                    </a:lnTo>
                    <a:lnTo>
                      <a:pt x="43986" y="156200"/>
                    </a:lnTo>
                    <a:lnTo>
                      <a:pt x="38289" y="157162"/>
                    </a:lnTo>
                    <a:lnTo>
                      <a:pt x="27847" y="154807"/>
                    </a:lnTo>
                    <a:lnTo>
                      <a:pt x="22283" y="150940"/>
                    </a:lnTo>
                    <a:lnTo>
                      <a:pt x="24347" y="144957"/>
                    </a:lnTo>
                    <a:lnTo>
                      <a:pt x="23570" y="142242"/>
                    </a:lnTo>
                    <a:lnTo>
                      <a:pt x="15479" y="137864"/>
                    </a:lnTo>
                    <a:lnTo>
                      <a:pt x="12559" y="129046"/>
                    </a:lnTo>
                    <a:lnTo>
                      <a:pt x="4637" y="127542"/>
                    </a:lnTo>
                    <a:lnTo>
                      <a:pt x="4013" y="115675"/>
                    </a:lnTo>
                    <a:lnTo>
                      <a:pt x="0" y="107745"/>
                    </a:lnTo>
                    <a:lnTo>
                      <a:pt x="2288" y="99188"/>
                    </a:lnTo>
                    <a:lnTo>
                      <a:pt x="5192" y="94933"/>
                    </a:lnTo>
                    <a:lnTo>
                      <a:pt x="9215" y="93925"/>
                    </a:lnTo>
                    <a:lnTo>
                      <a:pt x="21540" y="96337"/>
                    </a:lnTo>
                    <a:lnTo>
                      <a:pt x="25494" y="91505"/>
                    </a:lnTo>
                    <a:lnTo>
                      <a:pt x="26524" y="81611"/>
                    </a:lnTo>
                    <a:lnTo>
                      <a:pt x="25149" y="73268"/>
                    </a:lnTo>
                    <a:lnTo>
                      <a:pt x="16098" y="58422"/>
                    </a:lnTo>
                    <a:lnTo>
                      <a:pt x="26242" y="45613"/>
                    </a:lnTo>
                    <a:lnTo>
                      <a:pt x="31492" y="44246"/>
                    </a:lnTo>
                    <a:lnTo>
                      <a:pt x="40949" y="38031"/>
                    </a:lnTo>
                    <a:lnTo>
                      <a:pt x="50003" y="35560"/>
                    </a:lnTo>
                    <a:lnTo>
                      <a:pt x="54730" y="29317"/>
                    </a:lnTo>
                    <a:lnTo>
                      <a:pt x="56446" y="20547"/>
                    </a:lnTo>
                    <a:lnTo>
                      <a:pt x="59626" y="13031"/>
                    </a:lnTo>
                    <a:lnTo>
                      <a:pt x="70302" y="17180"/>
                    </a:lnTo>
                    <a:lnTo>
                      <a:pt x="73377" y="14861"/>
                    </a:lnTo>
                    <a:lnTo>
                      <a:pt x="72547" y="10757"/>
                    </a:lnTo>
                    <a:lnTo>
                      <a:pt x="74140" y="922"/>
                    </a:lnTo>
                    <a:lnTo>
                      <a:pt x="77821" y="0"/>
                    </a:lnTo>
                    <a:lnTo>
                      <a:pt x="83716" y="700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98" name="Freeform 197">
                <a:extLst>
                  <a:ext uri="{FF2B5EF4-FFF2-40B4-BE49-F238E27FC236}">
                    <a16:creationId xmlns:a16="http://schemas.microsoft.com/office/drawing/2014/main" id="{19DEF301-5296-1C5D-9011-64D39C841979}"/>
                  </a:ext>
                </a:extLst>
              </p:cNvPr>
              <p:cNvSpPr>
                <a:spLocks noChangeAspect="1"/>
              </p:cNvSpPr>
              <p:nvPr>
                <p:custDataLst>
                  <p:tags r:id="rId134"/>
                </p:custDataLst>
              </p:nvPr>
            </p:nvSpPr>
            <p:spPr>
              <a:xfrm>
                <a:off x="4900912" y="5044918"/>
                <a:ext cx="60286" cy="82345"/>
              </a:xfrm>
              <a:custGeom>
                <a:avLst/>
                <a:gdLst/>
                <a:ahLst/>
                <a:cxnLst/>
                <a:rect l="0" t="0" r="0" b="0"/>
                <a:pathLst>
                  <a:path w="61898" h="84546">
                    <a:moveTo>
                      <a:pt x="35804" y="822"/>
                    </a:moveTo>
                    <a:lnTo>
                      <a:pt x="35095" y="4474"/>
                    </a:lnTo>
                    <a:lnTo>
                      <a:pt x="35922" y="11562"/>
                    </a:lnTo>
                    <a:lnTo>
                      <a:pt x="43080" y="18491"/>
                    </a:lnTo>
                    <a:lnTo>
                      <a:pt x="42024" y="26475"/>
                    </a:lnTo>
                    <a:lnTo>
                      <a:pt x="37843" y="30933"/>
                    </a:lnTo>
                    <a:lnTo>
                      <a:pt x="38688" y="41208"/>
                    </a:lnTo>
                    <a:lnTo>
                      <a:pt x="40376" y="42963"/>
                    </a:lnTo>
                    <a:lnTo>
                      <a:pt x="45515" y="42638"/>
                    </a:lnTo>
                    <a:lnTo>
                      <a:pt x="56414" y="60821"/>
                    </a:lnTo>
                    <a:lnTo>
                      <a:pt x="60786" y="61794"/>
                    </a:lnTo>
                    <a:lnTo>
                      <a:pt x="61897" y="67254"/>
                    </a:lnTo>
                    <a:lnTo>
                      <a:pt x="57242" y="72173"/>
                    </a:lnTo>
                    <a:lnTo>
                      <a:pt x="49293" y="76364"/>
                    </a:lnTo>
                    <a:lnTo>
                      <a:pt x="40726" y="80883"/>
                    </a:lnTo>
                    <a:lnTo>
                      <a:pt x="34402" y="84356"/>
                    </a:lnTo>
                    <a:lnTo>
                      <a:pt x="26557" y="84545"/>
                    </a:lnTo>
                    <a:lnTo>
                      <a:pt x="19305" y="83710"/>
                    </a:lnTo>
                    <a:lnTo>
                      <a:pt x="13252" y="81207"/>
                    </a:lnTo>
                    <a:lnTo>
                      <a:pt x="7381" y="77374"/>
                    </a:lnTo>
                    <a:lnTo>
                      <a:pt x="1366" y="66888"/>
                    </a:lnTo>
                    <a:lnTo>
                      <a:pt x="0" y="60957"/>
                    </a:lnTo>
                    <a:lnTo>
                      <a:pt x="7" y="52012"/>
                    </a:lnTo>
                    <a:lnTo>
                      <a:pt x="1707" y="44690"/>
                    </a:lnTo>
                    <a:lnTo>
                      <a:pt x="4669" y="38986"/>
                    </a:lnTo>
                    <a:lnTo>
                      <a:pt x="10436" y="29574"/>
                    </a:lnTo>
                    <a:lnTo>
                      <a:pt x="15167" y="20184"/>
                    </a:lnTo>
                    <a:lnTo>
                      <a:pt x="18755" y="15134"/>
                    </a:lnTo>
                    <a:lnTo>
                      <a:pt x="20250" y="8770"/>
                    </a:lnTo>
                    <a:lnTo>
                      <a:pt x="26193" y="7129"/>
                    </a:lnTo>
                    <a:lnTo>
                      <a:pt x="31563"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299" name="Freeform 198">
                <a:extLst>
                  <a:ext uri="{FF2B5EF4-FFF2-40B4-BE49-F238E27FC236}">
                    <a16:creationId xmlns:a16="http://schemas.microsoft.com/office/drawing/2014/main" id="{2B8E4B3A-DA9F-28E9-A20B-EE4A2A7F013C}"/>
                  </a:ext>
                </a:extLst>
              </p:cNvPr>
              <p:cNvSpPr>
                <a:spLocks noChangeAspect="1"/>
              </p:cNvSpPr>
              <p:nvPr>
                <p:custDataLst>
                  <p:tags r:id="rId135"/>
                </p:custDataLst>
              </p:nvPr>
            </p:nvSpPr>
            <p:spPr>
              <a:xfrm>
                <a:off x="4784612" y="5039186"/>
                <a:ext cx="200088" cy="277461"/>
              </a:xfrm>
              <a:custGeom>
                <a:avLst/>
                <a:gdLst/>
                <a:ahLst/>
                <a:cxnLst/>
                <a:rect l="0" t="0" r="0" b="0"/>
                <a:pathLst>
                  <a:path w="205437" h="284878">
                    <a:moveTo>
                      <a:pt x="137630" y="15218"/>
                    </a:moveTo>
                    <a:lnTo>
                      <a:pt x="139658" y="14655"/>
                    </a:lnTo>
                    <a:lnTo>
                      <a:pt x="138163" y="21019"/>
                    </a:lnTo>
                    <a:lnTo>
                      <a:pt x="134575" y="26069"/>
                    </a:lnTo>
                    <a:lnTo>
                      <a:pt x="129844" y="35459"/>
                    </a:lnTo>
                    <a:lnTo>
                      <a:pt x="124077" y="44871"/>
                    </a:lnTo>
                    <a:lnTo>
                      <a:pt x="121115" y="50575"/>
                    </a:lnTo>
                    <a:lnTo>
                      <a:pt x="119415" y="57897"/>
                    </a:lnTo>
                    <a:lnTo>
                      <a:pt x="119408" y="66842"/>
                    </a:lnTo>
                    <a:lnTo>
                      <a:pt x="120774" y="72773"/>
                    </a:lnTo>
                    <a:lnTo>
                      <a:pt x="126789" y="83259"/>
                    </a:lnTo>
                    <a:lnTo>
                      <a:pt x="132660" y="87092"/>
                    </a:lnTo>
                    <a:lnTo>
                      <a:pt x="138713" y="89595"/>
                    </a:lnTo>
                    <a:lnTo>
                      <a:pt x="145965" y="90430"/>
                    </a:lnTo>
                    <a:lnTo>
                      <a:pt x="153810" y="90241"/>
                    </a:lnTo>
                    <a:lnTo>
                      <a:pt x="160134" y="86768"/>
                    </a:lnTo>
                    <a:lnTo>
                      <a:pt x="168701" y="82249"/>
                    </a:lnTo>
                    <a:lnTo>
                      <a:pt x="176650" y="78058"/>
                    </a:lnTo>
                    <a:lnTo>
                      <a:pt x="181305" y="73139"/>
                    </a:lnTo>
                    <a:lnTo>
                      <a:pt x="182402" y="78521"/>
                    </a:lnTo>
                    <a:lnTo>
                      <a:pt x="188816" y="88855"/>
                    </a:lnTo>
                    <a:lnTo>
                      <a:pt x="194207" y="92543"/>
                    </a:lnTo>
                    <a:lnTo>
                      <a:pt x="196103" y="99067"/>
                    </a:lnTo>
                    <a:lnTo>
                      <a:pt x="195990" y="102268"/>
                    </a:lnTo>
                    <a:lnTo>
                      <a:pt x="188577" y="104579"/>
                    </a:lnTo>
                    <a:lnTo>
                      <a:pt x="186261" y="107720"/>
                    </a:lnTo>
                    <a:lnTo>
                      <a:pt x="193751" y="120789"/>
                    </a:lnTo>
                    <a:lnTo>
                      <a:pt x="202280" y="124903"/>
                    </a:lnTo>
                    <a:lnTo>
                      <a:pt x="202676" y="129354"/>
                    </a:lnTo>
                    <a:lnTo>
                      <a:pt x="205436" y="133307"/>
                    </a:lnTo>
                    <a:lnTo>
                      <a:pt x="205275" y="137665"/>
                    </a:lnTo>
                    <a:lnTo>
                      <a:pt x="195820" y="138977"/>
                    </a:lnTo>
                    <a:lnTo>
                      <a:pt x="197692" y="149332"/>
                    </a:lnTo>
                    <a:lnTo>
                      <a:pt x="193385" y="159744"/>
                    </a:lnTo>
                    <a:lnTo>
                      <a:pt x="196334" y="168482"/>
                    </a:lnTo>
                    <a:lnTo>
                      <a:pt x="193887" y="171409"/>
                    </a:lnTo>
                    <a:lnTo>
                      <a:pt x="183866" y="166797"/>
                    </a:lnTo>
                    <a:lnTo>
                      <a:pt x="179059" y="168936"/>
                    </a:lnTo>
                    <a:lnTo>
                      <a:pt x="175669" y="174324"/>
                    </a:lnTo>
                    <a:lnTo>
                      <a:pt x="172514" y="176102"/>
                    </a:lnTo>
                    <a:lnTo>
                      <a:pt x="159909" y="174176"/>
                    </a:lnTo>
                    <a:lnTo>
                      <a:pt x="156137" y="175553"/>
                    </a:lnTo>
                    <a:lnTo>
                      <a:pt x="159090" y="187464"/>
                    </a:lnTo>
                    <a:lnTo>
                      <a:pt x="166657" y="200227"/>
                    </a:lnTo>
                    <a:lnTo>
                      <a:pt x="168591" y="208352"/>
                    </a:lnTo>
                    <a:lnTo>
                      <a:pt x="167610" y="217399"/>
                    </a:lnTo>
                    <a:lnTo>
                      <a:pt x="173429" y="220756"/>
                    </a:lnTo>
                    <a:lnTo>
                      <a:pt x="175175" y="224117"/>
                    </a:lnTo>
                    <a:lnTo>
                      <a:pt x="173122" y="232649"/>
                    </a:lnTo>
                    <a:lnTo>
                      <a:pt x="176093" y="244784"/>
                    </a:lnTo>
                    <a:lnTo>
                      <a:pt x="175879" y="252428"/>
                    </a:lnTo>
                    <a:lnTo>
                      <a:pt x="180568" y="255270"/>
                    </a:lnTo>
                    <a:lnTo>
                      <a:pt x="182119" y="258625"/>
                    </a:lnTo>
                    <a:lnTo>
                      <a:pt x="177694" y="263419"/>
                    </a:lnTo>
                    <a:lnTo>
                      <a:pt x="176390" y="267478"/>
                    </a:lnTo>
                    <a:lnTo>
                      <a:pt x="181775" y="274131"/>
                    </a:lnTo>
                    <a:lnTo>
                      <a:pt x="179334" y="280769"/>
                    </a:lnTo>
                    <a:lnTo>
                      <a:pt x="168717" y="284651"/>
                    </a:lnTo>
                    <a:lnTo>
                      <a:pt x="164868" y="283049"/>
                    </a:lnTo>
                    <a:lnTo>
                      <a:pt x="158126" y="275465"/>
                    </a:lnTo>
                    <a:lnTo>
                      <a:pt x="147864" y="274548"/>
                    </a:lnTo>
                    <a:lnTo>
                      <a:pt x="141508" y="271412"/>
                    </a:lnTo>
                    <a:lnTo>
                      <a:pt x="130837" y="269329"/>
                    </a:lnTo>
                    <a:lnTo>
                      <a:pt x="124272" y="263210"/>
                    </a:lnTo>
                    <a:lnTo>
                      <a:pt x="121952" y="264001"/>
                    </a:lnTo>
                    <a:lnTo>
                      <a:pt x="119520" y="268832"/>
                    </a:lnTo>
                    <a:lnTo>
                      <a:pt x="116916" y="268358"/>
                    </a:lnTo>
                    <a:lnTo>
                      <a:pt x="117776" y="265258"/>
                    </a:lnTo>
                    <a:lnTo>
                      <a:pt x="116755" y="264650"/>
                    </a:lnTo>
                    <a:lnTo>
                      <a:pt x="102971" y="267356"/>
                    </a:lnTo>
                    <a:lnTo>
                      <a:pt x="97377" y="271756"/>
                    </a:lnTo>
                    <a:lnTo>
                      <a:pt x="92468" y="270160"/>
                    </a:lnTo>
                    <a:lnTo>
                      <a:pt x="86366" y="276107"/>
                    </a:lnTo>
                    <a:lnTo>
                      <a:pt x="77447" y="278515"/>
                    </a:lnTo>
                    <a:lnTo>
                      <a:pt x="71380" y="283095"/>
                    </a:lnTo>
                    <a:lnTo>
                      <a:pt x="61716" y="284877"/>
                    </a:lnTo>
                    <a:lnTo>
                      <a:pt x="58173" y="281331"/>
                    </a:lnTo>
                    <a:lnTo>
                      <a:pt x="55725" y="275317"/>
                    </a:lnTo>
                    <a:lnTo>
                      <a:pt x="50679" y="273514"/>
                    </a:lnTo>
                    <a:lnTo>
                      <a:pt x="38273" y="251668"/>
                    </a:lnTo>
                    <a:lnTo>
                      <a:pt x="30920" y="243503"/>
                    </a:lnTo>
                    <a:lnTo>
                      <a:pt x="27420" y="241331"/>
                    </a:lnTo>
                    <a:lnTo>
                      <a:pt x="21274" y="241335"/>
                    </a:lnTo>
                    <a:lnTo>
                      <a:pt x="15487" y="238132"/>
                    </a:lnTo>
                    <a:lnTo>
                      <a:pt x="7396" y="237096"/>
                    </a:lnTo>
                    <a:lnTo>
                      <a:pt x="1125" y="232752"/>
                    </a:lnTo>
                    <a:lnTo>
                      <a:pt x="0" y="228841"/>
                    </a:lnTo>
                    <a:lnTo>
                      <a:pt x="661" y="224055"/>
                    </a:lnTo>
                    <a:lnTo>
                      <a:pt x="19965" y="188952"/>
                    </a:lnTo>
                    <a:lnTo>
                      <a:pt x="23004" y="175203"/>
                    </a:lnTo>
                    <a:lnTo>
                      <a:pt x="26802" y="167717"/>
                    </a:lnTo>
                    <a:lnTo>
                      <a:pt x="25076" y="159683"/>
                    </a:lnTo>
                    <a:lnTo>
                      <a:pt x="18241" y="155759"/>
                    </a:lnTo>
                    <a:lnTo>
                      <a:pt x="17317" y="151649"/>
                    </a:lnTo>
                    <a:lnTo>
                      <a:pt x="19110" y="147909"/>
                    </a:lnTo>
                    <a:lnTo>
                      <a:pt x="15863" y="144023"/>
                    </a:lnTo>
                    <a:lnTo>
                      <a:pt x="13528" y="144712"/>
                    </a:lnTo>
                    <a:lnTo>
                      <a:pt x="11869" y="138887"/>
                    </a:lnTo>
                    <a:lnTo>
                      <a:pt x="4569" y="138152"/>
                    </a:lnTo>
                    <a:lnTo>
                      <a:pt x="3001" y="136479"/>
                    </a:lnTo>
                    <a:lnTo>
                      <a:pt x="15660" y="126528"/>
                    </a:lnTo>
                    <a:lnTo>
                      <a:pt x="13913" y="121345"/>
                    </a:lnTo>
                    <a:lnTo>
                      <a:pt x="16226" y="116323"/>
                    </a:lnTo>
                    <a:lnTo>
                      <a:pt x="15217" y="108256"/>
                    </a:lnTo>
                    <a:lnTo>
                      <a:pt x="13354" y="93245"/>
                    </a:lnTo>
                    <a:lnTo>
                      <a:pt x="14511" y="87383"/>
                    </a:lnTo>
                    <a:lnTo>
                      <a:pt x="13341" y="84973"/>
                    </a:lnTo>
                    <a:lnTo>
                      <a:pt x="7666" y="85578"/>
                    </a:lnTo>
                    <a:lnTo>
                      <a:pt x="5336" y="84134"/>
                    </a:lnTo>
                    <a:lnTo>
                      <a:pt x="6993" y="80287"/>
                    </a:lnTo>
                    <a:lnTo>
                      <a:pt x="14693" y="74017"/>
                    </a:lnTo>
                    <a:lnTo>
                      <a:pt x="23036" y="70582"/>
                    </a:lnTo>
                    <a:lnTo>
                      <a:pt x="18890" y="59724"/>
                    </a:lnTo>
                    <a:lnTo>
                      <a:pt x="18892" y="51877"/>
                    </a:lnTo>
                    <a:lnTo>
                      <a:pt x="16410" y="48305"/>
                    </a:lnTo>
                    <a:lnTo>
                      <a:pt x="23910" y="47432"/>
                    </a:lnTo>
                    <a:lnTo>
                      <a:pt x="35262" y="39914"/>
                    </a:lnTo>
                    <a:lnTo>
                      <a:pt x="45475" y="43147"/>
                    </a:lnTo>
                    <a:lnTo>
                      <a:pt x="56610" y="31157"/>
                    </a:lnTo>
                    <a:lnTo>
                      <a:pt x="66703" y="14193"/>
                    </a:lnTo>
                    <a:lnTo>
                      <a:pt x="83240" y="20864"/>
                    </a:lnTo>
                    <a:lnTo>
                      <a:pt x="88010" y="25129"/>
                    </a:lnTo>
                    <a:lnTo>
                      <a:pt x="92637" y="22901"/>
                    </a:lnTo>
                    <a:lnTo>
                      <a:pt x="92283" y="15170"/>
                    </a:lnTo>
                    <a:lnTo>
                      <a:pt x="94503" y="14057"/>
                    </a:lnTo>
                    <a:lnTo>
                      <a:pt x="105130" y="18174"/>
                    </a:lnTo>
                    <a:lnTo>
                      <a:pt x="110157" y="22210"/>
                    </a:lnTo>
                    <a:lnTo>
                      <a:pt x="111436" y="20059"/>
                    </a:lnTo>
                    <a:lnTo>
                      <a:pt x="107021" y="14006"/>
                    </a:lnTo>
                    <a:lnTo>
                      <a:pt x="106738" y="10182"/>
                    </a:lnTo>
                    <a:lnTo>
                      <a:pt x="111881" y="9754"/>
                    </a:lnTo>
                    <a:lnTo>
                      <a:pt x="119970" y="15950"/>
                    </a:lnTo>
                    <a:lnTo>
                      <a:pt x="123688" y="10872"/>
                    </a:lnTo>
                    <a:lnTo>
                      <a:pt x="124675" y="2142"/>
                    </a:lnTo>
                    <a:lnTo>
                      <a:pt x="125944" y="0"/>
                    </a:lnTo>
                    <a:lnTo>
                      <a:pt x="128411" y="1326"/>
                    </a:lnTo>
                    <a:lnTo>
                      <a:pt x="133090" y="1420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00" name="Freeform 199">
                <a:extLst>
                  <a:ext uri="{FF2B5EF4-FFF2-40B4-BE49-F238E27FC236}">
                    <a16:creationId xmlns:a16="http://schemas.microsoft.com/office/drawing/2014/main" id="{FB082812-168F-66C1-E078-CA245CB0883A}"/>
                  </a:ext>
                </a:extLst>
              </p:cNvPr>
              <p:cNvSpPr>
                <a:spLocks noChangeAspect="1"/>
              </p:cNvSpPr>
              <p:nvPr>
                <p:custDataLst>
                  <p:tags r:id="rId136"/>
                </p:custDataLst>
              </p:nvPr>
            </p:nvSpPr>
            <p:spPr>
              <a:xfrm>
                <a:off x="4971771" y="5379928"/>
                <a:ext cx="119356" cy="70769"/>
              </a:xfrm>
              <a:custGeom>
                <a:avLst/>
                <a:gdLst/>
                <a:ahLst/>
                <a:cxnLst/>
                <a:rect l="0" t="0" r="0" b="0"/>
                <a:pathLst>
                  <a:path w="122547" h="72661">
                    <a:moveTo>
                      <a:pt x="117256" y="21220"/>
                    </a:moveTo>
                    <a:lnTo>
                      <a:pt x="122453" y="28883"/>
                    </a:lnTo>
                    <a:lnTo>
                      <a:pt x="122546" y="31757"/>
                    </a:lnTo>
                    <a:lnTo>
                      <a:pt x="121424" y="31809"/>
                    </a:lnTo>
                    <a:lnTo>
                      <a:pt x="120795" y="32499"/>
                    </a:lnTo>
                    <a:lnTo>
                      <a:pt x="120284" y="33479"/>
                    </a:lnTo>
                    <a:lnTo>
                      <a:pt x="119487" y="34439"/>
                    </a:lnTo>
                    <a:lnTo>
                      <a:pt x="110517" y="37439"/>
                    </a:lnTo>
                    <a:lnTo>
                      <a:pt x="106714" y="39475"/>
                    </a:lnTo>
                    <a:lnTo>
                      <a:pt x="100188" y="45671"/>
                    </a:lnTo>
                    <a:lnTo>
                      <a:pt x="98825" y="47549"/>
                    </a:lnTo>
                    <a:lnTo>
                      <a:pt x="98283" y="49493"/>
                    </a:lnTo>
                    <a:lnTo>
                      <a:pt x="98677" y="57721"/>
                    </a:lnTo>
                    <a:lnTo>
                      <a:pt x="98592" y="61982"/>
                    </a:lnTo>
                    <a:lnTo>
                      <a:pt x="97819" y="63826"/>
                    </a:lnTo>
                    <a:lnTo>
                      <a:pt x="71188" y="72660"/>
                    </a:lnTo>
                    <a:lnTo>
                      <a:pt x="62295" y="70376"/>
                    </a:lnTo>
                    <a:lnTo>
                      <a:pt x="30037" y="48783"/>
                    </a:lnTo>
                    <a:lnTo>
                      <a:pt x="28317" y="46485"/>
                    </a:lnTo>
                    <a:lnTo>
                      <a:pt x="20127" y="40960"/>
                    </a:lnTo>
                    <a:lnTo>
                      <a:pt x="17318" y="39901"/>
                    </a:lnTo>
                    <a:lnTo>
                      <a:pt x="8209" y="41265"/>
                    </a:lnTo>
                    <a:lnTo>
                      <a:pt x="4288" y="43002"/>
                    </a:lnTo>
                    <a:lnTo>
                      <a:pt x="0" y="45819"/>
                    </a:lnTo>
                    <a:lnTo>
                      <a:pt x="5580" y="34947"/>
                    </a:lnTo>
                    <a:lnTo>
                      <a:pt x="14901" y="26443"/>
                    </a:lnTo>
                    <a:lnTo>
                      <a:pt x="35744" y="15903"/>
                    </a:lnTo>
                    <a:lnTo>
                      <a:pt x="35247" y="17192"/>
                    </a:lnTo>
                    <a:lnTo>
                      <a:pt x="34698" y="19787"/>
                    </a:lnTo>
                    <a:lnTo>
                      <a:pt x="34273" y="21167"/>
                    </a:lnTo>
                    <a:lnTo>
                      <a:pt x="40180" y="20284"/>
                    </a:lnTo>
                    <a:lnTo>
                      <a:pt x="45691" y="15462"/>
                    </a:lnTo>
                    <a:lnTo>
                      <a:pt x="53636" y="4971"/>
                    </a:lnTo>
                    <a:lnTo>
                      <a:pt x="59554" y="552"/>
                    </a:lnTo>
                    <a:lnTo>
                      <a:pt x="65040" y="0"/>
                    </a:lnTo>
                    <a:lnTo>
                      <a:pt x="102124" y="13894"/>
                    </a:lnTo>
                    <a:lnTo>
                      <a:pt x="108103" y="13545"/>
                    </a:lnTo>
                    <a:lnTo>
                      <a:pt x="110639" y="13975"/>
                    </a:lnTo>
                    <a:lnTo>
                      <a:pt x="113634" y="16131"/>
                    </a:lnTo>
                    <a:lnTo>
                      <a:pt x="113812" y="17089"/>
                    </a:lnTo>
                    <a:lnTo>
                      <a:pt x="113620" y="20314"/>
                    </a:lnTo>
                    <a:lnTo>
                      <a:pt x="113800" y="21334"/>
                    </a:lnTo>
                    <a:lnTo>
                      <a:pt x="114488" y="21576"/>
                    </a:lnTo>
                    <a:lnTo>
                      <a:pt x="116568" y="2097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01" name="Freeform 200">
                <a:extLst>
                  <a:ext uri="{FF2B5EF4-FFF2-40B4-BE49-F238E27FC236}">
                    <a16:creationId xmlns:a16="http://schemas.microsoft.com/office/drawing/2014/main" id="{527FE5EA-A2C5-91F1-955E-13CD101BF9BB}"/>
                  </a:ext>
                </a:extLst>
              </p:cNvPr>
              <p:cNvSpPr>
                <a:spLocks noChangeAspect="1"/>
              </p:cNvSpPr>
              <p:nvPr>
                <p:custDataLst>
                  <p:tags r:id="rId137"/>
                </p:custDataLst>
              </p:nvPr>
            </p:nvSpPr>
            <p:spPr>
              <a:xfrm>
                <a:off x="5080224" y="5346670"/>
                <a:ext cx="38810" cy="28785"/>
              </a:xfrm>
              <a:custGeom>
                <a:avLst/>
                <a:gdLst/>
                <a:ahLst/>
                <a:cxnLst/>
                <a:rect l="l" t="t" r="r" b="b"/>
                <a:pathLst>
                  <a:path w="39847" h="29554">
                    <a:moveTo>
                      <a:pt x="31068" y="10017"/>
                    </a:moveTo>
                    <a:lnTo>
                      <a:pt x="34138" y="10082"/>
                    </a:lnTo>
                    <a:lnTo>
                      <a:pt x="36518" y="12113"/>
                    </a:lnTo>
                    <a:lnTo>
                      <a:pt x="37195" y="14374"/>
                    </a:lnTo>
                    <a:lnTo>
                      <a:pt x="36400" y="16455"/>
                    </a:lnTo>
                    <a:lnTo>
                      <a:pt x="34411" y="18126"/>
                    </a:lnTo>
                    <a:lnTo>
                      <a:pt x="34491" y="20486"/>
                    </a:lnTo>
                    <a:lnTo>
                      <a:pt x="35811" y="21685"/>
                    </a:lnTo>
                    <a:lnTo>
                      <a:pt x="38064" y="24280"/>
                    </a:lnTo>
                    <a:lnTo>
                      <a:pt x="39750" y="25526"/>
                    </a:lnTo>
                    <a:lnTo>
                      <a:pt x="39847" y="28369"/>
                    </a:lnTo>
                    <a:lnTo>
                      <a:pt x="19963" y="26210"/>
                    </a:lnTo>
                    <a:lnTo>
                      <a:pt x="19878" y="23633"/>
                    </a:lnTo>
                    <a:lnTo>
                      <a:pt x="25130" y="21215"/>
                    </a:lnTo>
                    <a:close/>
                    <a:moveTo>
                      <a:pt x="10500" y="0"/>
                    </a:moveTo>
                    <a:lnTo>
                      <a:pt x="17317" y="304"/>
                    </a:lnTo>
                    <a:lnTo>
                      <a:pt x="24532" y="2210"/>
                    </a:lnTo>
                    <a:lnTo>
                      <a:pt x="25471" y="3602"/>
                    </a:lnTo>
                    <a:lnTo>
                      <a:pt x="25466" y="3602"/>
                    </a:lnTo>
                    <a:lnTo>
                      <a:pt x="23777" y="3644"/>
                    </a:lnTo>
                    <a:lnTo>
                      <a:pt x="19265" y="5120"/>
                    </a:lnTo>
                    <a:lnTo>
                      <a:pt x="16395" y="11996"/>
                    </a:lnTo>
                    <a:lnTo>
                      <a:pt x="14505" y="21233"/>
                    </a:lnTo>
                    <a:lnTo>
                      <a:pt x="11458" y="28549"/>
                    </a:lnTo>
                    <a:lnTo>
                      <a:pt x="5073" y="29554"/>
                    </a:lnTo>
                    <a:lnTo>
                      <a:pt x="0" y="24171"/>
                    </a:lnTo>
                    <a:lnTo>
                      <a:pt x="2057" y="17433"/>
                    </a:lnTo>
                    <a:lnTo>
                      <a:pt x="6267" y="10764"/>
                    </a:lnTo>
                    <a:lnTo>
                      <a:pt x="7582" y="5513"/>
                    </a:lnTo>
                    <a:lnTo>
                      <a:pt x="3127" y="3312"/>
                    </a:lnTo>
                    <a:lnTo>
                      <a:pt x="2939" y="3334"/>
                    </a:lnTo>
                    <a:lnTo>
                      <a:pt x="6075" y="14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02" name="Freeform 202">
                <a:extLst>
                  <a:ext uri="{FF2B5EF4-FFF2-40B4-BE49-F238E27FC236}">
                    <a16:creationId xmlns:a16="http://schemas.microsoft.com/office/drawing/2014/main" id="{CD50FA38-FDB8-6837-72E8-513EA9E6FC92}"/>
                  </a:ext>
                </a:extLst>
              </p:cNvPr>
              <p:cNvSpPr>
                <a:spLocks noChangeAspect="1"/>
              </p:cNvSpPr>
              <p:nvPr>
                <p:custDataLst>
                  <p:tags r:id="rId138"/>
                </p:custDataLst>
              </p:nvPr>
            </p:nvSpPr>
            <p:spPr>
              <a:xfrm>
                <a:off x="5196392" y="4667944"/>
                <a:ext cx="100225" cy="59764"/>
              </a:xfrm>
              <a:custGeom>
                <a:avLst/>
                <a:gdLst/>
                <a:ahLst/>
                <a:cxnLst/>
                <a:rect l="0" t="0" r="0" b="0"/>
                <a:pathLst>
                  <a:path w="102904" h="61362">
                    <a:moveTo>
                      <a:pt x="52810" y="6406"/>
                    </a:moveTo>
                    <a:lnTo>
                      <a:pt x="67135" y="2395"/>
                    </a:lnTo>
                    <a:lnTo>
                      <a:pt x="71183" y="7685"/>
                    </a:lnTo>
                    <a:lnTo>
                      <a:pt x="76418" y="6495"/>
                    </a:lnTo>
                    <a:lnTo>
                      <a:pt x="81793" y="8477"/>
                    </a:lnTo>
                    <a:lnTo>
                      <a:pt x="89924" y="2995"/>
                    </a:lnTo>
                    <a:lnTo>
                      <a:pt x="94267" y="3541"/>
                    </a:lnTo>
                    <a:lnTo>
                      <a:pt x="101387" y="0"/>
                    </a:lnTo>
                    <a:lnTo>
                      <a:pt x="101836" y="136"/>
                    </a:lnTo>
                    <a:lnTo>
                      <a:pt x="102545" y="15124"/>
                    </a:lnTo>
                    <a:lnTo>
                      <a:pt x="102903" y="22719"/>
                    </a:lnTo>
                    <a:lnTo>
                      <a:pt x="101932" y="26571"/>
                    </a:lnTo>
                    <a:lnTo>
                      <a:pt x="100069" y="27934"/>
                    </a:lnTo>
                    <a:lnTo>
                      <a:pt x="94327" y="28840"/>
                    </a:lnTo>
                    <a:lnTo>
                      <a:pt x="82128" y="31944"/>
                    </a:lnTo>
                    <a:lnTo>
                      <a:pt x="70154" y="40128"/>
                    </a:lnTo>
                    <a:lnTo>
                      <a:pt x="65238" y="42250"/>
                    </a:lnTo>
                    <a:lnTo>
                      <a:pt x="60172" y="50090"/>
                    </a:lnTo>
                    <a:lnTo>
                      <a:pt x="52752" y="56767"/>
                    </a:lnTo>
                    <a:lnTo>
                      <a:pt x="49471" y="61361"/>
                    </a:lnTo>
                    <a:lnTo>
                      <a:pt x="40175" y="60508"/>
                    </a:lnTo>
                    <a:lnTo>
                      <a:pt x="32901" y="53198"/>
                    </a:lnTo>
                    <a:lnTo>
                      <a:pt x="26825" y="46485"/>
                    </a:lnTo>
                    <a:lnTo>
                      <a:pt x="22760" y="41592"/>
                    </a:lnTo>
                    <a:lnTo>
                      <a:pt x="18927" y="41469"/>
                    </a:lnTo>
                    <a:lnTo>
                      <a:pt x="18951" y="39038"/>
                    </a:lnTo>
                    <a:lnTo>
                      <a:pt x="8096" y="41070"/>
                    </a:lnTo>
                    <a:lnTo>
                      <a:pt x="4970" y="38859"/>
                    </a:lnTo>
                    <a:lnTo>
                      <a:pt x="6120" y="23090"/>
                    </a:lnTo>
                    <a:lnTo>
                      <a:pt x="3881" y="17127"/>
                    </a:lnTo>
                    <a:lnTo>
                      <a:pt x="0" y="12882"/>
                    </a:lnTo>
                    <a:lnTo>
                      <a:pt x="5455" y="10066"/>
                    </a:lnTo>
                    <a:lnTo>
                      <a:pt x="12774" y="12287"/>
                    </a:lnTo>
                    <a:lnTo>
                      <a:pt x="20553" y="11855"/>
                    </a:lnTo>
                    <a:lnTo>
                      <a:pt x="40260" y="79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03" name="Freeform 203">
                <a:extLst>
                  <a:ext uri="{FF2B5EF4-FFF2-40B4-BE49-F238E27FC236}">
                    <a16:creationId xmlns:a16="http://schemas.microsoft.com/office/drawing/2014/main" id="{91E1B7FE-D6AD-6509-3A8A-AFE084B2E1F1}"/>
                  </a:ext>
                </a:extLst>
              </p:cNvPr>
              <p:cNvSpPr>
                <a:spLocks noChangeAspect="1"/>
              </p:cNvSpPr>
              <p:nvPr>
                <p:custDataLst>
                  <p:tags r:id="rId139"/>
                </p:custDataLst>
              </p:nvPr>
            </p:nvSpPr>
            <p:spPr>
              <a:xfrm>
                <a:off x="5040792" y="4678566"/>
                <a:ext cx="28011" cy="33712"/>
              </a:xfrm>
              <a:custGeom>
                <a:avLst/>
                <a:gdLst/>
                <a:ahLst/>
                <a:cxnLst/>
                <a:rect l="0" t="0" r="0" b="0"/>
                <a:pathLst>
                  <a:path w="28760" h="34613">
                    <a:moveTo>
                      <a:pt x="14307" y="34612"/>
                    </a:moveTo>
                    <a:lnTo>
                      <a:pt x="3663" y="31104"/>
                    </a:lnTo>
                    <a:lnTo>
                      <a:pt x="241" y="14857"/>
                    </a:lnTo>
                    <a:lnTo>
                      <a:pt x="0" y="7182"/>
                    </a:lnTo>
                    <a:lnTo>
                      <a:pt x="4446" y="302"/>
                    </a:lnTo>
                    <a:lnTo>
                      <a:pt x="13774" y="0"/>
                    </a:lnTo>
                    <a:lnTo>
                      <a:pt x="24944" y="2515"/>
                    </a:lnTo>
                    <a:lnTo>
                      <a:pt x="28759" y="12007"/>
                    </a:lnTo>
                    <a:lnTo>
                      <a:pt x="27359" y="2262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04" name="Freeform 204">
                <a:extLst>
                  <a:ext uri="{FF2B5EF4-FFF2-40B4-BE49-F238E27FC236}">
                    <a16:creationId xmlns:a16="http://schemas.microsoft.com/office/drawing/2014/main" id="{72ADC6BF-E8E8-235C-76BA-D55F5D6CEFB9}"/>
                  </a:ext>
                </a:extLst>
              </p:cNvPr>
              <p:cNvSpPr>
                <a:spLocks noChangeAspect="1"/>
              </p:cNvSpPr>
              <p:nvPr>
                <p:custDataLst>
                  <p:tags r:id="rId140"/>
                </p:custDataLst>
              </p:nvPr>
            </p:nvSpPr>
            <p:spPr>
              <a:xfrm>
                <a:off x="5124443" y="4640663"/>
                <a:ext cx="88180" cy="90259"/>
              </a:xfrm>
              <a:custGeom>
                <a:avLst/>
                <a:gdLst/>
                <a:ahLst/>
                <a:cxnLst/>
                <a:rect l="0" t="0" r="0" b="0"/>
                <a:pathLst>
                  <a:path w="90537" h="92672">
                    <a:moveTo>
                      <a:pt x="49814" y="2635"/>
                    </a:moveTo>
                    <a:lnTo>
                      <a:pt x="55378" y="1875"/>
                    </a:lnTo>
                    <a:lnTo>
                      <a:pt x="64227" y="7461"/>
                    </a:lnTo>
                    <a:lnTo>
                      <a:pt x="66974" y="13197"/>
                    </a:lnTo>
                    <a:lnTo>
                      <a:pt x="90536" y="21020"/>
                    </a:lnTo>
                    <a:lnTo>
                      <a:pt x="89560" y="25312"/>
                    </a:lnTo>
                    <a:lnTo>
                      <a:pt x="82968" y="30908"/>
                    </a:lnTo>
                    <a:lnTo>
                      <a:pt x="72586" y="35591"/>
                    </a:lnTo>
                    <a:lnTo>
                      <a:pt x="68434" y="34914"/>
                    </a:lnTo>
                    <a:lnTo>
                      <a:pt x="69564" y="38799"/>
                    </a:lnTo>
                    <a:lnTo>
                      <a:pt x="73872" y="40892"/>
                    </a:lnTo>
                    <a:lnTo>
                      <a:pt x="73778" y="40956"/>
                    </a:lnTo>
                    <a:lnTo>
                      <a:pt x="67015" y="46018"/>
                    </a:lnTo>
                    <a:lnTo>
                      <a:pt x="61286" y="59000"/>
                    </a:lnTo>
                    <a:lnTo>
                      <a:pt x="30981" y="78368"/>
                    </a:lnTo>
                    <a:lnTo>
                      <a:pt x="27731" y="86141"/>
                    </a:lnTo>
                    <a:lnTo>
                      <a:pt x="20311" y="92671"/>
                    </a:lnTo>
                    <a:lnTo>
                      <a:pt x="17363" y="90561"/>
                    </a:lnTo>
                    <a:lnTo>
                      <a:pt x="11811" y="83075"/>
                    </a:lnTo>
                    <a:lnTo>
                      <a:pt x="6092" y="70804"/>
                    </a:lnTo>
                    <a:lnTo>
                      <a:pt x="2748" y="59370"/>
                    </a:lnTo>
                    <a:lnTo>
                      <a:pt x="1808" y="49793"/>
                    </a:lnTo>
                    <a:lnTo>
                      <a:pt x="1314" y="36346"/>
                    </a:lnTo>
                    <a:lnTo>
                      <a:pt x="1654" y="29597"/>
                    </a:lnTo>
                    <a:lnTo>
                      <a:pt x="282" y="23878"/>
                    </a:lnTo>
                    <a:lnTo>
                      <a:pt x="0" y="16204"/>
                    </a:lnTo>
                    <a:lnTo>
                      <a:pt x="5095" y="12160"/>
                    </a:lnTo>
                    <a:lnTo>
                      <a:pt x="17934" y="12641"/>
                    </a:lnTo>
                    <a:lnTo>
                      <a:pt x="28142" y="5508"/>
                    </a:lnTo>
                    <a:lnTo>
                      <a:pt x="35066" y="0"/>
                    </a:lnTo>
                    <a:lnTo>
                      <a:pt x="35263" y="448"/>
                    </a:lnTo>
                    <a:lnTo>
                      <a:pt x="44969" y="37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05" name="Freeform 205">
                <a:extLst>
                  <a:ext uri="{FF2B5EF4-FFF2-40B4-BE49-F238E27FC236}">
                    <a16:creationId xmlns:a16="http://schemas.microsoft.com/office/drawing/2014/main" id="{0856D869-5AB8-E2F0-D69D-6B3191F38260}"/>
                  </a:ext>
                </a:extLst>
              </p:cNvPr>
              <p:cNvSpPr>
                <a:spLocks noChangeAspect="1"/>
              </p:cNvSpPr>
              <p:nvPr>
                <p:custDataLst>
                  <p:tags r:id="rId141"/>
                </p:custDataLst>
              </p:nvPr>
            </p:nvSpPr>
            <p:spPr>
              <a:xfrm>
                <a:off x="5026472" y="4552726"/>
                <a:ext cx="28053" cy="45723"/>
              </a:xfrm>
              <a:custGeom>
                <a:avLst/>
                <a:gdLst/>
                <a:ahLst/>
                <a:cxnLst/>
                <a:rect l="0" t="0" r="0" b="0"/>
                <a:pathLst>
                  <a:path w="28803" h="46945">
                    <a:moveTo>
                      <a:pt x="13953" y="46944"/>
                    </a:moveTo>
                    <a:lnTo>
                      <a:pt x="7078" y="44446"/>
                    </a:lnTo>
                    <a:lnTo>
                      <a:pt x="4122" y="39502"/>
                    </a:lnTo>
                    <a:lnTo>
                      <a:pt x="108" y="30708"/>
                    </a:lnTo>
                    <a:lnTo>
                      <a:pt x="0" y="19848"/>
                    </a:lnTo>
                    <a:lnTo>
                      <a:pt x="2044" y="10104"/>
                    </a:lnTo>
                    <a:lnTo>
                      <a:pt x="7607" y="1395"/>
                    </a:lnTo>
                    <a:lnTo>
                      <a:pt x="14800" y="0"/>
                    </a:lnTo>
                    <a:lnTo>
                      <a:pt x="20794" y="4843"/>
                    </a:lnTo>
                    <a:lnTo>
                      <a:pt x="25472" y="12454"/>
                    </a:lnTo>
                    <a:lnTo>
                      <a:pt x="28775" y="20484"/>
                    </a:lnTo>
                    <a:lnTo>
                      <a:pt x="28802" y="28622"/>
                    </a:lnTo>
                    <a:lnTo>
                      <a:pt x="20246" y="3898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06" name="Freeform 206">
                <a:extLst>
                  <a:ext uri="{FF2B5EF4-FFF2-40B4-BE49-F238E27FC236}">
                    <a16:creationId xmlns:a16="http://schemas.microsoft.com/office/drawing/2014/main" id="{6D247E9C-69B8-2E1C-F24E-1B76F48365C6}"/>
                  </a:ext>
                </a:extLst>
              </p:cNvPr>
              <p:cNvSpPr>
                <a:spLocks noChangeAspect="1"/>
              </p:cNvSpPr>
              <p:nvPr>
                <p:custDataLst>
                  <p:tags r:id="rId142"/>
                </p:custDataLst>
              </p:nvPr>
            </p:nvSpPr>
            <p:spPr>
              <a:xfrm>
                <a:off x="5002469" y="4367748"/>
                <a:ext cx="152271" cy="268023"/>
              </a:xfrm>
              <a:custGeom>
                <a:avLst/>
                <a:gdLst/>
                <a:ahLst/>
                <a:cxnLst/>
                <a:rect l="l" t="t" r="r" b="b"/>
                <a:pathLst>
                  <a:path w="156341" h="275188">
                    <a:moveTo>
                      <a:pt x="39446" y="189923"/>
                    </a:moveTo>
                    <a:lnTo>
                      <a:pt x="32253" y="191318"/>
                    </a:lnTo>
                    <a:lnTo>
                      <a:pt x="26690" y="200027"/>
                    </a:lnTo>
                    <a:lnTo>
                      <a:pt x="24646" y="209771"/>
                    </a:lnTo>
                    <a:lnTo>
                      <a:pt x="24754" y="220631"/>
                    </a:lnTo>
                    <a:lnTo>
                      <a:pt x="28768" y="229425"/>
                    </a:lnTo>
                    <a:lnTo>
                      <a:pt x="31724" y="234369"/>
                    </a:lnTo>
                    <a:lnTo>
                      <a:pt x="38599" y="236867"/>
                    </a:lnTo>
                    <a:lnTo>
                      <a:pt x="44892" y="228911"/>
                    </a:lnTo>
                    <a:lnTo>
                      <a:pt x="53448" y="218545"/>
                    </a:lnTo>
                    <a:lnTo>
                      <a:pt x="53421" y="210407"/>
                    </a:lnTo>
                    <a:lnTo>
                      <a:pt x="50118" y="202377"/>
                    </a:lnTo>
                    <a:lnTo>
                      <a:pt x="45440" y="194766"/>
                    </a:lnTo>
                    <a:close/>
                    <a:moveTo>
                      <a:pt x="88328" y="0"/>
                    </a:moveTo>
                    <a:lnTo>
                      <a:pt x="95023" y="5925"/>
                    </a:lnTo>
                    <a:lnTo>
                      <a:pt x="95018" y="7604"/>
                    </a:lnTo>
                    <a:lnTo>
                      <a:pt x="90817" y="10206"/>
                    </a:lnTo>
                    <a:lnTo>
                      <a:pt x="91989" y="11232"/>
                    </a:lnTo>
                    <a:lnTo>
                      <a:pt x="116593" y="12404"/>
                    </a:lnTo>
                    <a:lnTo>
                      <a:pt x="115776" y="17197"/>
                    </a:lnTo>
                    <a:lnTo>
                      <a:pt x="116580" y="21257"/>
                    </a:lnTo>
                    <a:lnTo>
                      <a:pt x="118952" y="24883"/>
                    </a:lnTo>
                    <a:lnTo>
                      <a:pt x="122244" y="31695"/>
                    </a:lnTo>
                    <a:lnTo>
                      <a:pt x="122560" y="33698"/>
                    </a:lnTo>
                    <a:lnTo>
                      <a:pt x="122328" y="35841"/>
                    </a:lnTo>
                    <a:lnTo>
                      <a:pt x="121463" y="39984"/>
                    </a:lnTo>
                    <a:lnTo>
                      <a:pt x="121730" y="42543"/>
                    </a:lnTo>
                    <a:lnTo>
                      <a:pt x="122980" y="43820"/>
                    </a:lnTo>
                    <a:lnTo>
                      <a:pt x="124507" y="44770"/>
                    </a:lnTo>
                    <a:lnTo>
                      <a:pt x="125635" y="46388"/>
                    </a:lnTo>
                    <a:lnTo>
                      <a:pt x="129722" y="58443"/>
                    </a:lnTo>
                    <a:lnTo>
                      <a:pt x="130330" y="61434"/>
                    </a:lnTo>
                    <a:lnTo>
                      <a:pt x="129705" y="65678"/>
                    </a:lnTo>
                    <a:lnTo>
                      <a:pt x="125626" y="78459"/>
                    </a:lnTo>
                    <a:lnTo>
                      <a:pt x="124389" y="95509"/>
                    </a:lnTo>
                    <a:lnTo>
                      <a:pt x="136482" y="96895"/>
                    </a:lnTo>
                    <a:lnTo>
                      <a:pt x="140694" y="92268"/>
                    </a:lnTo>
                    <a:lnTo>
                      <a:pt x="146525" y="91824"/>
                    </a:lnTo>
                    <a:lnTo>
                      <a:pt x="151761" y="95551"/>
                    </a:lnTo>
                    <a:lnTo>
                      <a:pt x="154365" y="90882"/>
                    </a:lnTo>
                    <a:lnTo>
                      <a:pt x="155724" y="91461"/>
                    </a:lnTo>
                    <a:lnTo>
                      <a:pt x="156341" y="94085"/>
                    </a:lnTo>
                    <a:lnTo>
                      <a:pt x="152092" y="100853"/>
                    </a:lnTo>
                    <a:lnTo>
                      <a:pt x="150459" y="106331"/>
                    </a:lnTo>
                    <a:lnTo>
                      <a:pt x="144098" y="106362"/>
                    </a:lnTo>
                    <a:lnTo>
                      <a:pt x="141010" y="110415"/>
                    </a:lnTo>
                    <a:lnTo>
                      <a:pt x="135451" y="111360"/>
                    </a:lnTo>
                    <a:lnTo>
                      <a:pt x="132507" y="119456"/>
                    </a:lnTo>
                    <a:lnTo>
                      <a:pt x="133066" y="122518"/>
                    </a:lnTo>
                    <a:lnTo>
                      <a:pt x="134169" y="122999"/>
                    </a:lnTo>
                    <a:lnTo>
                      <a:pt x="141555" y="123140"/>
                    </a:lnTo>
                    <a:lnTo>
                      <a:pt x="140770" y="130817"/>
                    </a:lnTo>
                    <a:lnTo>
                      <a:pt x="141927" y="139388"/>
                    </a:lnTo>
                    <a:lnTo>
                      <a:pt x="140471" y="143040"/>
                    </a:lnTo>
                    <a:lnTo>
                      <a:pt x="143183" y="147402"/>
                    </a:lnTo>
                    <a:lnTo>
                      <a:pt x="141349" y="152670"/>
                    </a:lnTo>
                    <a:lnTo>
                      <a:pt x="145228" y="157420"/>
                    </a:lnTo>
                    <a:lnTo>
                      <a:pt x="147190" y="165188"/>
                    </a:lnTo>
                    <a:lnTo>
                      <a:pt x="135840" y="170734"/>
                    </a:lnTo>
                    <a:lnTo>
                      <a:pt x="131947" y="177669"/>
                    </a:lnTo>
                    <a:lnTo>
                      <a:pt x="126504" y="182658"/>
                    </a:lnTo>
                    <a:lnTo>
                      <a:pt x="125639" y="190129"/>
                    </a:lnTo>
                    <a:lnTo>
                      <a:pt x="130528" y="199677"/>
                    </a:lnTo>
                    <a:lnTo>
                      <a:pt x="124833" y="201313"/>
                    </a:lnTo>
                    <a:lnTo>
                      <a:pt x="118668" y="207706"/>
                    </a:lnTo>
                    <a:lnTo>
                      <a:pt x="118458" y="212379"/>
                    </a:lnTo>
                    <a:lnTo>
                      <a:pt x="112359" y="226414"/>
                    </a:lnTo>
                    <a:lnTo>
                      <a:pt x="102023" y="236667"/>
                    </a:lnTo>
                    <a:lnTo>
                      <a:pt x="95436" y="238808"/>
                    </a:lnTo>
                    <a:lnTo>
                      <a:pt x="94767" y="239791"/>
                    </a:lnTo>
                    <a:lnTo>
                      <a:pt x="95733" y="243688"/>
                    </a:lnTo>
                    <a:lnTo>
                      <a:pt x="91205" y="249893"/>
                    </a:lnTo>
                    <a:lnTo>
                      <a:pt x="85790" y="253166"/>
                    </a:lnTo>
                    <a:lnTo>
                      <a:pt x="85063" y="258080"/>
                    </a:lnTo>
                    <a:lnTo>
                      <a:pt x="83590" y="260039"/>
                    </a:lnTo>
                    <a:lnTo>
                      <a:pt x="66847" y="262113"/>
                    </a:lnTo>
                    <a:lnTo>
                      <a:pt x="62566" y="259275"/>
                    </a:lnTo>
                    <a:lnTo>
                      <a:pt x="55757" y="260883"/>
                    </a:lnTo>
                    <a:lnTo>
                      <a:pt x="48199" y="267294"/>
                    </a:lnTo>
                    <a:lnTo>
                      <a:pt x="40696" y="269769"/>
                    </a:lnTo>
                    <a:lnTo>
                      <a:pt x="35829" y="275188"/>
                    </a:lnTo>
                    <a:lnTo>
                      <a:pt x="27116" y="273271"/>
                    </a:lnTo>
                    <a:lnTo>
                      <a:pt x="18978" y="265454"/>
                    </a:lnTo>
                    <a:lnTo>
                      <a:pt x="16826" y="257875"/>
                    </a:lnTo>
                    <a:lnTo>
                      <a:pt x="17551" y="241616"/>
                    </a:lnTo>
                    <a:lnTo>
                      <a:pt x="21615" y="240305"/>
                    </a:lnTo>
                    <a:lnTo>
                      <a:pt x="24287" y="234099"/>
                    </a:lnTo>
                    <a:lnTo>
                      <a:pt x="15209" y="227446"/>
                    </a:lnTo>
                    <a:lnTo>
                      <a:pt x="15350" y="219689"/>
                    </a:lnTo>
                    <a:lnTo>
                      <a:pt x="12035" y="209488"/>
                    </a:lnTo>
                    <a:lnTo>
                      <a:pt x="11258" y="194340"/>
                    </a:lnTo>
                    <a:lnTo>
                      <a:pt x="2330" y="184200"/>
                    </a:lnTo>
                    <a:lnTo>
                      <a:pt x="1970" y="176457"/>
                    </a:lnTo>
                    <a:lnTo>
                      <a:pt x="0" y="170047"/>
                    </a:lnTo>
                    <a:lnTo>
                      <a:pt x="1812" y="164680"/>
                    </a:lnTo>
                    <a:lnTo>
                      <a:pt x="6481" y="160608"/>
                    </a:lnTo>
                    <a:lnTo>
                      <a:pt x="8289" y="156939"/>
                    </a:lnTo>
                    <a:lnTo>
                      <a:pt x="2964" y="139064"/>
                    </a:lnTo>
                    <a:lnTo>
                      <a:pt x="3535" y="134563"/>
                    </a:lnTo>
                    <a:lnTo>
                      <a:pt x="11047" y="129988"/>
                    </a:lnTo>
                    <a:lnTo>
                      <a:pt x="18521" y="130708"/>
                    </a:lnTo>
                    <a:lnTo>
                      <a:pt x="21566" y="126483"/>
                    </a:lnTo>
                    <a:lnTo>
                      <a:pt x="30473" y="124189"/>
                    </a:lnTo>
                    <a:lnTo>
                      <a:pt x="30999" y="122473"/>
                    </a:lnTo>
                    <a:lnTo>
                      <a:pt x="29304" y="117331"/>
                    </a:lnTo>
                    <a:lnTo>
                      <a:pt x="30294" y="108153"/>
                    </a:lnTo>
                    <a:lnTo>
                      <a:pt x="28556" y="99496"/>
                    </a:lnTo>
                    <a:lnTo>
                      <a:pt x="30208" y="95630"/>
                    </a:lnTo>
                    <a:lnTo>
                      <a:pt x="34187" y="92846"/>
                    </a:lnTo>
                    <a:lnTo>
                      <a:pt x="36328" y="87887"/>
                    </a:lnTo>
                    <a:lnTo>
                      <a:pt x="35237" y="83676"/>
                    </a:lnTo>
                    <a:lnTo>
                      <a:pt x="36041" y="78868"/>
                    </a:lnTo>
                    <a:lnTo>
                      <a:pt x="32362" y="76261"/>
                    </a:lnTo>
                    <a:lnTo>
                      <a:pt x="34458" y="71067"/>
                    </a:lnTo>
                    <a:lnTo>
                      <a:pt x="41318" y="63406"/>
                    </a:lnTo>
                    <a:lnTo>
                      <a:pt x="38955" y="58920"/>
                    </a:lnTo>
                    <a:lnTo>
                      <a:pt x="44251" y="55773"/>
                    </a:lnTo>
                    <a:lnTo>
                      <a:pt x="45751" y="51684"/>
                    </a:lnTo>
                    <a:lnTo>
                      <a:pt x="44530" y="43130"/>
                    </a:lnTo>
                    <a:lnTo>
                      <a:pt x="51178" y="33664"/>
                    </a:lnTo>
                    <a:lnTo>
                      <a:pt x="55860" y="29577"/>
                    </a:lnTo>
                    <a:lnTo>
                      <a:pt x="64325" y="28974"/>
                    </a:lnTo>
                    <a:lnTo>
                      <a:pt x="68061" y="30980"/>
                    </a:lnTo>
                    <a:lnTo>
                      <a:pt x="69911" y="29424"/>
                    </a:lnTo>
                    <a:lnTo>
                      <a:pt x="75811" y="20735"/>
                    </a:lnTo>
                    <a:lnTo>
                      <a:pt x="77197" y="974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07" name="Freeform 208">
                <a:extLst>
                  <a:ext uri="{FF2B5EF4-FFF2-40B4-BE49-F238E27FC236}">
                    <a16:creationId xmlns:a16="http://schemas.microsoft.com/office/drawing/2014/main" id="{08AA17D9-D1F4-558B-30E2-72EF95A372B0}"/>
                  </a:ext>
                </a:extLst>
              </p:cNvPr>
              <p:cNvSpPr>
                <a:spLocks noChangeAspect="1"/>
              </p:cNvSpPr>
              <p:nvPr>
                <p:custDataLst>
                  <p:tags r:id="rId143"/>
                </p:custDataLst>
              </p:nvPr>
            </p:nvSpPr>
            <p:spPr>
              <a:xfrm>
                <a:off x="5304438" y="5071124"/>
                <a:ext cx="19557" cy="21628"/>
              </a:xfrm>
              <a:custGeom>
                <a:avLst/>
                <a:gdLst/>
                <a:ahLst/>
                <a:cxnLst/>
                <a:rect l="0" t="0" r="0" b="0"/>
                <a:pathLst>
                  <a:path w="20080" h="22206">
                    <a:moveTo>
                      <a:pt x="13543" y="5384"/>
                    </a:moveTo>
                    <a:lnTo>
                      <a:pt x="16642" y="4879"/>
                    </a:lnTo>
                    <a:lnTo>
                      <a:pt x="17423" y="5147"/>
                    </a:lnTo>
                    <a:lnTo>
                      <a:pt x="19961" y="7604"/>
                    </a:lnTo>
                    <a:lnTo>
                      <a:pt x="20079" y="9575"/>
                    </a:lnTo>
                    <a:lnTo>
                      <a:pt x="20077" y="10573"/>
                    </a:lnTo>
                    <a:lnTo>
                      <a:pt x="20030" y="11021"/>
                    </a:lnTo>
                    <a:lnTo>
                      <a:pt x="17415" y="12807"/>
                    </a:lnTo>
                    <a:lnTo>
                      <a:pt x="16031" y="14632"/>
                    </a:lnTo>
                    <a:lnTo>
                      <a:pt x="15136" y="15357"/>
                    </a:lnTo>
                    <a:lnTo>
                      <a:pt x="14031" y="15785"/>
                    </a:lnTo>
                    <a:lnTo>
                      <a:pt x="10042" y="15986"/>
                    </a:lnTo>
                    <a:lnTo>
                      <a:pt x="9142" y="16859"/>
                    </a:lnTo>
                    <a:lnTo>
                      <a:pt x="7429" y="17850"/>
                    </a:lnTo>
                    <a:lnTo>
                      <a:pt x="7117" y="18142"/>
                    </a:lnTo>
                    <a:lnTo>
                      <a:pt x="6949" y="18506"/>
                    </a:lnTo>
                    <a:lnTo>
                      <a:pt x="6752" y="20747"/>
                    </a:lnTo>
                    <a:lnTo>
                      <a:pt x="6032" y="22205"/>
                    </a:lnTo>
                    <a:lnTo>
                      <a:pt x="5106" y="20687"/>
                    </a:lnTo>
                    <a:lnTo>
                      <a:pt x="4798" y="19614"/>
                    </a:lnTo>
                    <a:lnTo>
                      <a:pt x="4691" y="19422"/>
                    </a:lnTo>
                    <a:lnTo>
                      <a:pt x="2464" y="18501"/>
                    </a:lnTo>
                    <a:lnTo>
                      <a:pt x="2186" y="18198"/>
                    </a:lnTo>
                    <a:lnTo>
                      <a:pt x="2122" y="18022"/>
                    </a:lnTo>
                    <a:lnTo>
                      <a:pt x="2081" y="17787"/>
                    </a:lnTo>
                    <a:lnTo>
                      <a:pt x="2099" y="17529"/>
                    </a:lnTo>
                    <a:lnTo>
                      <a:pt x="2284" y="16986"/>
                    </a:lnTo>
                    <a:lnTo>
                      <a:pt x="5923" y="11380"/>
                    </a:lnTo>
                    <a:lnTo>
                      <a:pt x="5968" y="11160"/>
                    </a:lnTo>
                    <a:lnTo>
                      <a:pt x="5964" y="10933"/>
                    </a:lnTo>
                    <a:lnTo>
                      <a:pt x="5917" y="10728"/>
                    </a:lnTo>
                    <a:lnTo>
                      <a:pt x="5697" y="10364"/>
                    </a:lnTo>
                    <a:lnTo>
                      <a:pt x="5580" y="10231"/>
                    </a:lnTo>
                    <a:lnTo>
                      <a:pt x="3460" y="9718"/>
                    </a:lnTo>
                    <a:lnTo>
                      <a:pt x="3294" y="9588"/>
                    </a:lnTo>
                    <a:lnTo>
                      <a:pt x="3169" y="9406"/>
                    </a:lnTo>
                    <a:lnTo>
                      <a:pt x="3125" y="9260"/>
                    </a:lnTo>
                    <a:lnTo>
                      <a:pt x="3099" y="9102"/>
                    </a:lnTo>
                    <a:lnTo>
                      <a:pt x="3103" y="8253"/>
                    </a:lnTo>
                    <a:lnTo>
                      <a:pt x="3044" y="8039"/>
                    </a:lnTo>
                    <a:lnTo>
                      <a:pt x="2774" y="7656"/>
                    </a:lnTo>
                    <a:lnTo>
                      <a:pt x="299" y="5698"/>
                    </a:lnTo>
                    <a:lnTo>
                      <a:pt x="117" y="5627"/>
                    </a:lnTo>
                    <a:lnTo>
                      <a:pt x="0" y="5633"/>
                    </a:lnTo>
                    <a:lnTo>
                      <a:pt x="195" y="2522"/>
                    </a:lnTo>
                    <a:lnTo>
                      <a:pt x="317" y="2100"/>
                    </a:lnTo>
                    <a:lnTo>
                      <a:pt x="496" y="1726"/>
                    </a:lnTo>
                    <a:lnTo>
                      <a:pt x="722" y="1419"/>
                    </a:lnTo>
                    <a:lnTo>
                      <a:pt x="1795" y="834"/>
                    </a:lnTo>
                    <a:lnTo>
                      <a:pt x="9591" y="0"/>
                    </a:lnTo>
                    <a:lnTo>
                      <a:pt x="10780" y="3085"/>
                    </a:lnTo>
                    <a:lnTo>
                      <a:pt x="12785" y="508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08" name="Freeform 209">
                <a:extLst>
                  <a:ext uri="{FF2B5EF4-FFF2-40B4-BE49-F238E27FC236}">
                    <a16:creationId xmlns:a16="http://schemas.microsoft.com/office/drawing/2014/main" id="{C7A69BDD-54DD-39D5-533F-241ED997980B}"/>
                  </a:ext>
                </a:extLst>
              </p:cNvPr>
              <p:cNvSpPr>
                <a:spLocks noChangeAspect="1"/>
              </p:cNvSpPr>
              <p:nvPr>
                <p:custDataLst>
                  <p:tags r:id="rId144"/>
                </p:custDataLst>
              </p:nvPr>
            </p:nvSpPr>
            <p:spPr>
              <a:xfrm>
                <a:off x="5288484" y="5059268"/>
                <a:ext cx="30076" cy="17343"/>
              </a:xfrm>
              <a:custGeom>
                <a:avLst/>
                <a:gdLst/>
                <a:ahLst/>
                <a:cxnLst/>
                <a:rect l="0" t="0" r="0" b="0"/>
                <a:pathLst>
                  <a:path w="30880" h="17807">
                    <a:moveTo>
                      <a:pt x="30879" y="1434"/>
                    </a:moveTo>
                    <a:lnTo>
                      <a:pt x="30191" y="2603"/>
                    </a:lnTo>
                    <a:lnTo>
                      <a:pt x="29968" y="3069"/>
                    </a:lnTo>
                    <a:lnTo>
                      <a:pt x="29387" y="3927"/>
                    </a:lnTo>
                    <a:lnTo>
                      <a:pt x="29011" y="4676"/>
                    </a:lnTo>
                    <a:lnTo>
                      <a:pt x="28885" y="4999"/>
                    </a:lnTo>
                    <a:lnTo>
                      <a:pt x="28301" y="6172"/>
                    </a:lnTo>
                    <a:lnTo>
                      <a:pt x="28169" y="6495"/>
                    </a:lnTo>
                    <a:lnTo>
                      <a:pt x="27943" y="6930"/>
                    </a:lnTo>
                    <a:lnTo>
                      <a:pt x="27811" y="7243"/>
                    </a:lnTo>
                    <a:lnTo>
                      <a:pt x="27586" y="7688"/>
                    </a:lnTo>
                    <a:lnTo>
                      <a:pt x="27253" y="8456"/>
                    </a:lnTo>
                    <a:lnTo>
                      <a:pt x="27093" y="9115"/>
                    </a:lnTo>
                    <a:lnTo>
                      <a:pt x="26900" y="9580"/>
                    </a:lnTo>
                    <a:lnTo>
                      <a:pt x="26723" y="10259"/>
                    </a:lnTo>
                    <a:lnTo>
                      <a:pt x="26512" y="10744"/>
                    </a:lnTo>
                    <a:lnTo>
                      <a:pt x="25971" y="12173"/>
                    </a:lnTo>
                    <a:lnTo>
                      <a:pt x="18175" y="13007"/>
                    </a:lnTo>
                    <a:lnTo>
                      <a:pt x="17102" y="13592"/>
                    </a:lnTo>
                    <a:lnTo>
                      <a:pt x="16876" y="13899"/>
                    </a:lnTo>
                    <a:lnTo>
                      <a:pt x="16697" y="14273"/>
                    </a:lnTo>
                    <a:lnTo>
                      <a:pt x="16575" y="14695"/>
                    </a:lnTo>
                    <a:lnTo>
                      <a:pt x="16380" y="17806"/>
                    </a:lnTo>
                    <a:lnTo>
                      <a:pt x="14454" y="16277"/>
                    </a:lnTo>
                    <a:lnTo>
                      <a:pt x="13138" y="14391"/>
                    </a:lnTo>
                    <a:lnTo>
                      <a:pt x="12773" y="14063"/>
                    </a:lnTo>
                    <a:lnTo>
                      <a:pt x="12229" y="13871"/>
                    </a:lnTo>
                    <a:lnTo>
                      <a:pt x="11426" y="13908"/>
                    </a:lnTo>
                    <a:lnTo>
                      <a:pt x="8120" y="15920"/>
                    </a:lnTo>
                    <a:lnTo>
                      <a:pt x="7569" y="16658"/>
                    </a:lnTo>
                    <a:lnTo>
                      <a:pt x="3264" y="15772"/>
                    </a:lnTo>
                    <a:lnTo>
                      <a:pt x="0" y="16160"/>
                    </a:lnTo>
                    <a:lnTo>
                      <a:pt x="557" y="11639"/>
                    </a:lnTo>
                    <a:lnTo>
                      <a:pt x="621" y="11428"/>
                    </a:lnTo>
                    <a:lnTo>
                      <a:pt x="911" y="11039"/>
                    </a:lnTo>
                    <a:lnTo>
                      <a:pt x="2525" y="10312"/>
                    </a:lnTo>
                    <a:lnTo>
                      <a:pt x="3256" y="9636"/>
                    </a:lnTo>
                    <a:lnTo>
                      <a:pt x="3375" y="9423"/>
                    </a:lnTo>
                    <a:lnTo>
                      <a:pt x="3591" y="8503"/>
                    </a:lnTo>
                    <a:lnTo>
                      <a:pt x="3606" y="8029"/>
                    </a:lnTo>
                    <a:lnTo>
                      <a:pt x="2734" y="4235"/>
                    </a:lnTo>
                    <a:lnTo>
                      <a:pt x="2720" y="4058"/>
                    </a:lnTo>
                    <a:lnTo>
                      <a:pt x="2731" y="3900"/>
                    </a:lnTo>
                    <a:lnTo>
                      <a:pt x="2816" y="3482"/>
                    </a:lnTo>
                    <a:lnTo>
                      <a:pt x="3094" y="2835"/>
                    </a:lnTo>
                    <a:lnTo>
                      <a:pt x="3236" y="2711"/>
                    </a:lnTo>
                    <a:lnTo>
                      <a:pt x="3364" y="2685"/>
                    </a:lnTo>
                    <a:lnTo>
                      <a:pt x="3487" y="2699"/>
                    </a:lnTo>
                    <a:lnTo>
                      <a:pt x="3633" y="2811"/>
                    </a:lnTo>
                    <a:lnTo>
                      <a:pt x="4015" y="3505"/>
                    </a:lnTo>
                    <a:lnTo>
                      <a:pt x="4242" y="4165"/>
                    </a:lnTo>
                    <a:lnTo>
                      <a:pt x="4621" y="4681"/>
                    </a:lnTo>
                    <a:lnTo>
                      <a:pt x="4891" y="4807"/>
                    </a:lnTo>
                    <a:lnTo>
                      <a:pt x="5236" y="4831"/>
                    </a:lnTo>
                    <a:lnTo>
                      <a:pt x="5590" y="4637"/>
                    </a:lnTo>
                    <a:lnTo>
                      <a:pt x="5841" y="4368"/>
                    </a:lnTo>
                    <a:lnTo>
                      <a:pt x="6258" y="3400"/>
                    </a:lnTo>
                    <a:lnTo>
                      <a:pt x="6365" y="1834"/>
                    </a:lnTo>
                    <a:lnTo>
                      <a:pt x="6426" y="1555"/>
                    </a:lnTo>
                    <a:lnTo>
                      <a:pt x="6801" y="628"/>
                    </a:lnTo>
                    <a:lnTo>
                      <a:pt x="6914"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09" name="Freeform 210">
                <a:extLst>
                  <a:ext uri="{FF2B5EF4-FFF2-40B4-BE49-F238E27FC236}">
                    <a16:creationId xmlns:a16="http://schemas.microsoft.com/office/drawing/2014/main" id="{3E44F0CD-27B3-EEAA-2F4C-4D8064A47DCE}"/>
                  </a:ext>
                </a:extLst>
              </p:cNvPr>
              <p:cNvSpPr>
                <a:spLocks noChangeAspect="1"/>
              </p:cNvSpPr>
              <p:nvPr>
                <p:custDataLst>
                  <p:tags r:id="rId145"/>
                </p:custDataLst>
              </p:nvPr>
            </p:nvSpPr>
            <p:spPr>
              <a:xfrm>
                <a:off x="5232916" y="5049620"/>
                <a:ext cx="30940" cy="34195"/>
              </a:xfrm>
              <a:custGeom>
                <a:avLst/>
                <a:gdLst/>
                <a:ahLst/>
                <a:cxnLst/>
                <a:rect l="0" t="0" r="0" b="0"/>
                <a:pathLst>
                  <a:path w="31767" h="35109">
                    <a:moveTo>
                      <a:pt x="31766" y="13975"/>
                    </a:moveTo>
                    <a:lnTo>
                      <a:pt x="28464" y="18529"/>
                    </a:lnTo>
                    <a:lnTo>
                      <a:pt x="28375" y="18750"/>
                    </a:lnTo>
                    <a:lnTo>
                      <a:pt x="28336" y="18970"/>
                    </a:lnTo>
                    <a:lnTo>
                      <a:pt x="28352" y="19207"/>
                    </a:lnTo>
                    <a:lnTo>
                      <a:pt x="28410" y="19421"/>
                    </a:lnTo>
                    <a:lnTo>
                      <a:pt x="28919" y="20229"/>
                    </a:lnTo>
                    <a:lnTo>
                      <a:pt x="28950" y="20385"/>
                    </a:lnTo>
                    <a:lnTo>
                      <a:pt x="28932" y="20544"/>
                    </a:lnTo>
                    <a:lnTo>
                      <a:pt x="28686" y="20951"/>
                    </a:lnTo>
                    <a:lnTo>
                      <a:pt x="28327" y="21302"/>
                    </a:lnTo>
                    <a:lnTo>
                      <a:pt x="21348" y="24151"/>
                    </a:lnTo>
                    <a:lnTo>
                      <a:pt x="21034" y="24688"/>
                    </a:lnTo>
                    <a:lnTo>
                      <a:pt x="20994" y="24907"/>
                    </a:lnTo>
                    <a:lnTo>
                      <a:pt x="20979" y="25856"/>
                    </a:lnTo>
                    <a:lnTo>
                      <a:pt x="21096" y="26720"/>
                    </a:lnTo>
                    <a:lnTo>
                      <a:pt x="21085" y="26878"/>
                    </a:lnTo>
                    <a:lnTo>
                      <a:pt x="20966" y="27250"/>
                    </a:lnTo>
                    <a:lnTo>
                      <a:pt x="20886" y="27392"/>
                    </a:lnTo>
                    <a:lnTo>
                      <a:pt x="20745" y="27545"/>
                    </a:lnTo>
                    <a:lnTo>
                      <a:pt x="19775" y="28142"/>
                    </a:lnTo>
                    <a:lnTo>
                      <a:pt x="19629" y="28306"/>
                    </a:lnTo>
                    <a:lnTo>
                      <a:pt x="19239" y="29389"/>
                    </a:lnTo>
                    <a:lnTo>
                      <a:pt x="19138" y="31331"/>
                    </a:lnTo>
                    <a:lnTo>
                      <a:pt x="18909" y="32013"/>
                    </a:lnTo>
                    <a:lnTo>
                      <a:pt x="18682" y="34315"/>
                    </a:lnTo>
                    <a:lnTo>
                      <a:pt x="8659" y="35108"/>
                    </a:lnTo>
                    <a:lnTo>
                      <a:pt x="8426" y="33241"/>
                    </a:lnTo>
                    <a:lnTo>
                      <a:pt x="3986" y="24125"/>
                    </a:lnTo>
                    <a:lnTo>
                      <a:pt x="3810" y="23452"/>
                    </a:lnTo>
                    <a:lnTo>
                      <a:pt x="3613" y="23015"/>
                    </a:lnTo>
                    <a:lnTo>
                      <a:pt x="3425" y="22353"/>
                    </a:lnTo>
                    <a:lnTo>
                      <a:pt x="3222" y="21906"/>
                    </a:lnTo>
                    <a:lnTo>
                      <a:pt x="3035" y="21243"/>
                    </a:lnTo>
                    <a:lnTo>
                      <a:pt x="2844" y="20796"/>
                    </a:lnTo>
                    <a:lnTo>
                      <a:pt x="0" y="10090"/>
                    </a:lnTo>
                    <a:lnTo>
                      <a:pt x="6140" y="9985"/>
                    </a:lnTo>
                    <a:lnTo>
                      <a:pt x="18396" y="1804"/>
                    </a:lnTo>
                    <a:lnTo>
                      <a:pt x="24785" y="0"/>
                    </a:lnTo>
                    <a:lnTo>
                      <a:pt x="25220" y="351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10" name="Freeform 211">
                <a:extLst>
                  <a:ext uri="{FF2B5EF4-FFF2-40B4-BE49-F238E27FC236}">
                    <a16:creationId xmlns:a16="http://schemas.microsoft.com/office/drawing/2014/main" id="{21005E51-0A46-7E82-9D4D-41039028A4EA}"/>
                  </a:ext>
                </a:extLst>
              </p:cNvPr>
              <p:cNvSpPr>
                <a:spLocks noChangeAspect="1"/>
              </p:cNvSpPr>
              <p:nvPr>
                <p:custDataLst>
                  <p:tags r:id="rId146"/>
                </p:custDataLst>
              </p:nvPr>
            </p:nvSpPr>
            <p:spPr>
              <a:xfrm>
                <a:off x="5294925" y="5097118"/>
                <a:ext cx="16471" cy="36352"/>
              </a:xfrm>
              <a:custGeom>
                <a:avLst/>
                <a:gdLst/>
                <a:ahLst/>
                <a:cxnLst/>
                <a:rect l="0" t="0" r="0" b="0"/>
                <a:pathLst>
                  <a:path w="16911" h="37324">
                    <a:moveTo>
                      <a:pt x="16910" y="32477"/>
                    </a:moveTo>
                    <a:lnTo>
                      <a:pt x="16805" y="32601"/>
                    </a:lnTo>
                    <a:lnTo>
                      <a:pt x="16771" y="32660"/>
                    </a:lnTo>
                    <a:lnTo>
                      <a:pt x="16749" y="32721"/>
                    </a:lnTo>
                    <a:lnTo>
                      <a:pt x="16732" y="32890"/>
                    </a:lnTo>
                    <a:lnTo>
                      <a:pt x="16728" y="33196"/>
                    </a:lnTo>
                    <a:lnTo>
                      <a:pt x="16722" y="33335"/>
                    </a:lnTo>
                    <a:lnTo>
                      <a:pt x="16706" y="33405"/>
                    </a:lnTo>
                    <a:lnTo>
                      <a:pt x="16587" y="33619"/>
                    </a:lnTo>
                    <a:lnTo>
                      <a:pt x="16572" y="33698"/>
                    </a:lnTo>
                    <a:lnTo>
                      <a:pt x="16557" y="33768"/>
                    </a:lnTo>
                    <a:lnTo>
                      <a:pt x="16558" y="33917"/>
                    </a:lnTo>
                    <a:lnTo>
                      <a:pt x="16559" y="34351"/>
                    </a:lnTo>
                    <a:lnTo>
                      <a:pt x="10168" y="33626"/>
                    </a:lnTo>
                    <a:lnTo>
                      <a:pt x="8778" y="34105"/>
                    </a:lnTo>
                    <a:lnTo>
                      <a:pt x="4633" y="37323"/>
                    </a:lnTo>
                    <a:lnTo>
                      <a:pt x="2315" y="36660"/>
                    </a:lnTo>
                    <a:lnTo>
                      <a:pt x="2199" y="36547"/>
                    </a:lnTo>
                    <a:lnTo>
                      <a:pt x="2143" y="36411"/>
                    </a:lnTo>
                    <a:lnTo>
                      <a:pt x="2136" y="36254"/>
                    </a:lnTo>
                    <a:lnTo>
                      <a:pt x="2166" y="36104"/>
                    </a:lnTo>
                    <a:lnTo>
                      <a:pt x="3327" y="33688"/>
                    </a:lnTo>
                    <a:lnTo>
                      <a:pt x="3240" y="33278"/>
                    </a:lnTo>
                    <a:lnTo>
                      <a:pt x="2585" y="23635"/>
                    </a:lnTo>
                    <a:lnTo>
                      <a:pt x="2473" y="23334"/>
                    </a:lnTo>
                    <a:lnTo>
                      <a:pt x="2342" y="23173"/>
                    </a:lnTo>
                    <a:lnTo>
                      <a:pt x="1477" y="22570"/>
                    </a:lnTo>
                    <a:lnTo>
                      <a:pt x="1090" y="22055"/>
                    </a:lnTo>
                    <a:lnTo>
                      <a:pt x="573" y="20181"/>
                    </a:lnTo>
                    <a:lnTo>
                      <a:pt x="57" y="18980"/>
                    </a:lnTo>
                    <a:lnTo>
                      <a:pt x="4" y="18627"/>
                    </a:lnTo>
                    <a:lnTo>
                      <a:pt x="0" y="18272"/>
                    </a:lnTo>
                    <a:lnTo>
                      <a:pt x="40" y="17934"/>
                    </a:lnTo>
                    <a:lnTo>
                      <a:pt x="224" y="17382"/>
                    </a:lnTo>
                    <a:lnTo>
                      <a:pt x="3664" y="13517"/>
                    </a:lnTo>
                    <a:lnTo>
                      <a:pt x="4105" y="12666"/>
                    </a:lnTo>
                    <a:lnTo>
                      <a:pt x="4543" y="11321"/>
                    </a:lnTo>
                    <a:lnTo>
                      <a:pt x="2935" y="5251"/>
                    </a:lnTo>
                    <a:lnTo>
                      <a:pt x="2976" y="5199"/>
                    </a:lnTo>
                    <a:lnTo>
                      <a:pt x="6489" y="1133"/>
                    </a:lnTo>
                    <a:lnTo>
                      <a:pt x="7465" y="0"/>
                    </a:lnTo>
                    <a:lnTo>
                      <a:pt x="8624" y="1111"/>
                    </a:lnTo>
                    <a:lnTo>
                      <a:pt x="9024" y="1370"/>
                    </a:lnTo>
                    <a:lnTo>
                      <a:pt x="9412" y="1786"/>
                    </a:lnTo>
                    <a:lnTo>
                      <a:pt x="9620" y="2172"/>
                    </a:lnTo>
                    <a:lnTo>
                      <a:pt x="9734" y="2758"/>
                    </a:lnTo>
                    <a:lnTo>
                      <a:pt x="9663" y="4699"/>
                    </a:lnTo>
                    <a:lnTo>
                      <a:pt x="9708" y="5140"/>
                    </a:lnTo>
                    <a:lnTo>
                      <a:pt x="9837" y="5540"/>
                    </a:lnTo>
                    <a:lnTo>
                      <a:pt x="10237" y="6332"/>
                    </a:lnTo>
                    <a:lnTo>
                      <a:pt x="10318" y="6624"/>
                    </a:lnTo>
                    <a:lnTo>
                      <a:pt x="10437" y="8535"/>
                    </a:lnTo>
                    <a:lnTo>
                      <a:pt x="10555" y="9083"/>
                    </a:lnTo>
                    <a:lnTo>
                      <a:pt x="13375" y="14148"/>
                    </a:lnTo>
                    <a:lnTo>
                      <a:pt x="14322" y="15308"/>
                    </a:lnTo>
                    <a:lnTo>
                      <a:pt x="14755" y="16413"/>
                    </a:lnTo>
                    <a:lnTo>
                      <a:pt x="14785" y="16669"/>
                    </a:lnTo>
                    <a:lnTo>
                      <a:pt x="14791" y="17192"/>
                    </a:lnTo>
                    <a:lnTo>
                      <a:pt x="14741" y="17461"/>
                    </a:lnTo>
                    <a:lnTo>
                      <a:pt x="14571" y="18024"/>
                    </a:lnTo>
                    <a:lnTo>
                      <a:pt x="12500" y="21481"/>
                    </a:lnTo>
                    <a:lnTo>
                      <a:pt x="12305" y="22329"/>
                    </a:lnTo>
                    <a:lnTo>
                      <a:pt x="12301" y="22913"/>
                    </a:lnTo>
                    <a:lnTo>
                      <a:pt x="12406" y="23461"/>
                    </a:lnTo>
                    <a:lnTo>
                      <a:pt x="13316" y="25020"/>
                    </a:lnTo>
                    <a:lnTo>
                      <a:pt x="14294" y="2789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11" name="Freeform 212">
                <a:extLst>
                  <a:ext uri="{FF2B5EF4-FFF2-40B4-BE49-F238E27FC236}">
                    <a16:creationId xmlns:a16="http://schemas.microsoft.com/office/drawing/2014/main" id="{98D20F05-BD6A-FE37-93D4-5F85922A3E90}"/>
                  </a:ext>
                </a:extLst>
              </p:cNvPr>
              <p:cNvSpPr>
                <a:spLocks noChangeAspect="1"/>
              </p:cNvSpPr>
              <p:nvPr>
                <p:custDataLst>
                  <p:tags r:id="rId147"/>
                </p:custDataLst>
              </p:nvPr>
            </p:nvSpPr>
            <p:spPr>
              <a:xfrm>
                <a:off x="5313181" y="5102069"/>
                <a:ext cx="25681" cy="28827"/>
              </a:xfrm>
              <a:custGeom>
                <a:avLst/>
                <a:gdLst/>
                <a:ahLst/>
                <a:cxnLst/>
                <a:rect l="0" t="0" r="0" b="0"/>
                <a:pathLst>
                  <a:path w="26368" h="29598">
                    <a:moveTo>
                      <a:pt x="9161" y="288"/>
                    </a:moveTo>
                    <a:lnTo>
                      <a:pt x="8441" y="2388"/>
                    </a:lnTo>
                    <a:lnTo>
                      <a:pt x="8415" y="2617"/>
                    </a:lnTo>
                    <a:lnTo>
                      <a:pt x="8430" y="2813"/>
                    </a:lnTo>
                    <a:lnTo>
                      <a:pt x="8481" y="2989"/>
                    </a:lnTo>
                    <a:lnTo>
                      <a:pt x="8742" y="3293"/>
                    </a:lnTo>
                    <a:lnTo>
                      <a:pt x="11472" y="4782"/>
                    </a:lnTo>
                    <a:lnTo>
                      <a:pt x="11642" y="5109"/>
                    </a:lnTo>
                    <a:lnTo>
                      <a:pt x="11703" y="5363"/>
                    </a:lnTo>
                    <a:lnTo>
                      <a:pt x="11686" y="6560"/>
                    </a:lnTo>
                    <a:lnTo>
                      <a:pt x="11700" y="6727"/>
                    </a:lnTo>
                    <a:lnTo>
                      <a:pt x="11810" y="7117"/>
                    </a:lnTo>
                    <a:lnTo>
                      <a:pt x="13060" y="9191"/>
                    </a:lnTo>
                    <a:lnTo>
                      <a:pt x="13294" y="9318"/>
                    </a:lnTo>
                    <a:lnTo>
                      <a:pt x="13591" y="9344"/>
                    </a:lnTo>
                    <a:lnTo>
                      <a:pt x="13693" y="9279"/>
                    </a:lnTo>
                    <a:lnTo>
                      <a:pt x="13850" y="9074"/>
                    </a:lnTo>
                    <a:lnTo>
                      <a:pt x="14177" y="8326"/>
                    </a:lnTo>
                    <a:lnTo>
                      <a:pt x="14609" y="8069"/>
                    </a:lnTo>
                    <a:lnTo>
                      <a:pt x="18479" y="8750"/>
                    </a:lnTo>
                    <a:lnTo>
                      <a:pt x="18605" y="8823"/>
                    </a:lnTo>
                    <a:lnTo>
                      <a:pt x="18696" y="8918"/>
                    </a:lnTo>
                    <a:lnTo>
                      <a:pt x="18791" y="9091"/>
                    </a:lnTo>
                    <a:lnTo>
                      <a:pt x="18796" y="9476"/>
                    </a:lnTo>
                    <a:lnTo>
                      <a:pt x="18755" y="9635"/>
                    </a:lnTo>
                    <a:lnTo>
                      <a:pt x="18467" y="10312"/>
                    </a:lnTo>
                    <a:lnTo>
                      <a:pt x="18388" y="10593"/>
                    </a:lnTo>
                    <a:lnTo>
                      <a:pt x="18349" y="11197"/>
                    </a:lnTo>
                    <a:lnTo>
                      <a:pt x="18416" y="12093"/>
                    </a:lnTo>
                    <a:lnTo>
                      <a:pt x="18615" y="13031"/>
                    </a:lnTo>
                    <a:lnTo>
                      <a:pt x="18843" y="13554"/>
                    </a:lnTo>
                    <a:lnTo>
                      <a:pt x="19325" y="14104"/>
                    </a:lnTo>
                    <a:lnTo>
                      <a:pt x="20764" y="15071"/>
                    </a:lnTo>
                    <a:lnTo>
                      <a:pt x="20896" y="15263"/>
                    </a:lnTo>
                    <a:lnTo>
                      <a:pt x="21061" y="15739"/>
                    </a:lnTo>
                    <a:lnTo>
                      <a:pt x="21135" y="16131"/>
                    </a:lnTo>
                    <a:lnTo>
                      <a:pt x="21084" y="17140"/>
                    </a:lnTo>
                    <a:lnTo>
                      <a:pt x="21137" y="17731"/>
                    </a:lnTo>
                    <a:lnTo>
                      <a:pt x="21213" y="18024"/>
                    </a:lnTo>
                    <a:lnTo>
                      <a:pt x="21531" y="18621"/>
                    </a:lnTo>
                    <a:lnTo>
                      <a:pt x="21614" y="18814"/>
                    </a:lnTo>
                    <a:lnTo>
                      <a:pt x="21634" y="18972"/>
                    </a:lnTo>
                    <a:lnTo>
                      <a:pt x="21638" y="19061"/>
                    </a:lnTo>
                    <a:lnTo>
                      <a:pt x="25912" y="23476"/>
                    </a:lnTo>
                    <a:lnTo>
                      <a:pt x="26281" y="24218"/>
                    </a:lnTo>
                    <a:lnTo>
                      <a:pt x="26336" y="24472"/>
                    </a:lnTo>
                    <a:lnTo>
                      <a:pt x="26367" y="24738"/>
                    </a:lnTo>
                    <a:lnTo>
                      <a:pt x="26293" y="25246"/>
                    </a:lnTo>
                    <a:lnTo>
                      <a:pt x="26187" y="25469"/>
                    </a:lnTo>
                    <a:lnTo>
                      <a:pt x="25973" y="25775"/>
                    </a:lnTo>
                    <a:lnTo>
                      <a:pt x="25271" y="26166"/>
                    </a:lnTo>
                    <a:lnTo>
                      <a:pt x="24712" y="26212"/>
                    </a:lnTo>
                    <a:lnTo>
                      <a:pt x="20943" y="25291"/>
                    </a:lnTo>
                    <a:lnTo>
                      <a:pt x="19650" y="25966"/>
                    </a:lnTo>
                    <a:lnTo>
                      <a:pt x="18034" y="28683"/>
                    </a:lnTo>
                    <a:lnTo>
                      <a:pt x="17512" y="29252"/>
                    </a:lnTo>
                    <a:lnTo>
                      <a:pt x="17106" y="29529"/>
                    </a:lnTo>
                    <a:lnTo>
                      <a:pt x="16091" y="29597"/>
                    </a:lnTo>
                    <a:lnTo>
                      <a:pt x="11487" y="27033"/>
                    </a:lnTo>
                    <a:lnTo>
                      <a:pt x="4" y="26605"/>
                    </a:lnTo>
                    <a:lnTo>
                      <a:pt x="0" y="25983"/>
                    </a:lnTo>
                    <a:lnTo>
                      <a:pt x="88" y="25484"/>
                    </a:lnTo>
                    <a:lnTo>
                      <a:pt x="187" y="25233"/>
                    </a:lnTo>
                    <a:lnTo>
                      <a:pt x="1965" y="22629"/>
                    </a:lnTo>
                    <a:lnTo>
                      <a:pt x="2396" y="20236"/>
                    </a:lnTo>
                    <a:lnTo>
                      <a:pt x="2770" y="19152"/>
                    </a:lnTo>
                    <a:lnTo>
                      <a:pt x="3159" y="18639"/>
                    </a:lnTo>
                    <a:lnTo>
                      <a:pt x="5624" y="17849"/>
                    </a:lnTo>
                    <a:lnTo>
                      <a:pt x="6117" y="17450"/>
                    </a:lnTo>
                    <a:lnTo>
                      <a:pt x="6481" y="16919"/>
                    </a:lnTo>
                    <a:lnTo>
                      <a:pt x="7158" y="14674"/>
                    </a:lnTo>
                    <a:lnTo>
                      <a:pt x="7136" y="14337"/>
                    </a:lnTo>
                    <a:lnTo>
                      <a:pt x="7076" y="14123"/>
                    </a:lnTo>
                    <a:lnTo>
                      <a:pt x="6946" y="13833"/>
                    </a:lnTo>
                    <a:lnTo>
                      <a:pt x="5441" y="12107"/>
                    </a:lnTo>
                    <a:lnTo>
                      <a:pt x="4996" y="11140"/>
                    </a:lnTo>
                    <a:lnTo>
                      <a:pt x="4604" y="9598"/>
                    </a:lnTo>
                    <a:lnTo>
                      <a:pt x="4450" y="7372"/>
                    </a:lnTo>
                    <a:lnTo>
                      <a:pt x="3381" y="4399"/>
                    </a:lnTo>
                    <a:lnTo>
                      <a:pt x="3377" y="3787"/>
                    </a:lnTo>
                    <a:lnTo>
                      <a:pt x="3425" y="3488"/>
                    </a:lnTo>
                    <a:lnTo>
                      <a:pt x="3518" y="3247"/>
                    </a:lnTo>
                    <a:lnTo>
                      <a:pt x="3649" y="3023"/>
                    </a:lnTo>
                    <a:lnTo>
                      <a:pt x="5501" y="1542"/>
                    </a:lnTo>
                    <a:lnTo>
                      <a:pt x="6960" y="1145"/>
                    </a:lnTo>
                    <a:lnTo>
                      <a:pt x="7151" y="1018"/>
                    </a:lnTo>
                    <a:lnTo>
                      <a:pt x="7709" y="180"/>
                    </a:lnTo>
                    <a:lnTo>
                      <a:pt x="7916" y="12"/>
                    </a:lnTo>
                    <a:lnTo>
                      <a:pt x="8174"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75" name="Freeform 213">
                <a:extLst>
                  <a:ext uri="{FF2B5EF4-FFF2-40B4-BE49-F238E27FC236}">
                    <a16:creationId xmlns:a16="http://schemas.microsoft.com/office/drawing/2014/main" id="{1F8CBDD3-A799-0DDE-A539-67F0BB7E3A76}"/>
                  </a:ext>
                </a:extLst>
              </p:cNvPr>
              <p:cNvSpPr>
                <a:spLocks noChangeAspect="1"/>
              </p:cNvSpPr>
              <p:nvPr>
                <p:custDataLst>
                  <p:tags r:id="rId148"/>
                </p:custDataLst>
              </p:nvPr>
            </p:nvSpPr>
            <p:spPr>
              <a:xfrm>
                <a:off x="5323879" y="5073735"/>
                <a:ext cx="26130" cy="26910"/>
              </a:xfrm>
              <a:custGeom>
                <a:avLst/>
                <a:gdLst/>
                <a:ahLst/>
                <a:cxnLst/>
                <a:rect l="0" t="0" r="0" b="0"/>
                <a:pathLst>
                  <a:path w="26828" h="27629">
                    <a:moveTo>
                      <a:pt x="20420" y="7878"/>
                    </a:moveTo>
                    <a:lnTo>
                      <a:pt x="20624" y="10299"/>
                    </a:lnTo>
                    <a:lnTo>
                      <a:pt x="20847" y="11217"/>
                    </a:lnTo>
                    <a:lnTo>
                      <a:pt x="22115" y="13268"/>
                    </a:lnTo>
                    <a:lnTo>
                      <a:pt x="22687" y="13774"/>
                    </a:lnTo>
                    <a:lnTo>
                      <a:pt x="25797" y="15101"/>
                    </a:lnTo>
                    <a:lnTo>
                      <a:pt x="26094" y="15393"/>
                    </a:lnTo>
                    <a:lnTo>
                      <a:pt x="26712" y="16695"/>
                    </a:lnTo>
                    <a:lnTo>
                      <a:pt x="26778" y="16930"/>
                    </a:lnTo>
                    <a:lnTo>
                      <a:pt x="26827" y="17421"/>
                    </a:lnTo>
                    <a:lnTo>
                      <a:pt x="26783" y="18787"/>
                    </a:lnTo>
                    <a:lnTo>
                      <a:pt x="26540" y="24532"/>
                    </a:lnTo>
                    <a:lnTo>
                      <a:pt x="20712" y="26856"/>
                    </a:lnTo>
                    <a:lnTo>
                      <a:pt x="15110" y="27628"/>
                    </a:lnTo>
                    <a:lnTo>
                      <a:pt x="8047" y="23585"/>
                    </a:lnTo>
                    <a:lnTo>
                      <a:pt x="6779" y="21394"/>
                    </a:lnTo>
                    <a:lnTo>
                      <a:pt x="6449" y="21054"/>
                    </a:lnTo>
                    <a:lnTo>
                      <a:pt x="5230" y="20522"/>
                    </a:lnTo>
                    <a:lnTo>
                      <a:pt x="4450" y="19907"/>
                    </a:lnTo>
                    <a:lnTo>
                      <a:pt x="4149" y="19527"/>
                    </a:lnTo>
                    <a:lnTo>
                      <a:pt x="644" y="12028"/>
                    </a:lnTo>
                    <a:lnTo>
                      <a:pt x="69" y="8341"/>
                    </a:lnTo>
                    <a:lnTo>
                      <a:pt x="116" y="7893"/>
                    </a:lnTo>
                    <a:lnTo>
                      <a:pt x="118" y="6895"/>
                    </a:lnTo>
                    <a:lnTo>
                      <a:pt x="0" y="4924"/>
                    </a:lnTo>
                    <a:lnTo>
                      <a:pt x="8161" y="3817"/>
                    </a:lnTo>
                    <a:lnTo>
                      <a:pt x="11333" y="3049"/>
                    </a:lnTo>
                    <a:lnTo>
                      <a:pt x="11689" y="2775"/>
                    </a:lnTo>
                    <a:lnTo>
                      <a:pt x="12813" y="703"/>
                    </a:lnTo>
                    <a:lnTo>
                      <a:pt x="13386" y="220"/>
                    </a:lnTo>
                    <a:lnTo>
                      <a:pt x="13917" y="16"/>
                    </a:lnTo>
                    <a:lnTo>
                      <a:pt x="14248" y="0"/>
                    </a:lnTo>
                    <a:lnTo>
                      <a:pt x="14984" y="220"/>
                    </a:lnTo>
                    <a:lnTo>
                      <a:pt x="15137" y="332"/>
                    </a:lnTo>
                    <a:lnTo>
                      <a:pt x="16754" y="2248"/>
                    </a:lnTo>
                    <a:lnTo>
                      <a:pt x="17137" y="2536"/>
                    </a:lnTo>
                    <a:lnTo>
                      <a:pt x="19044" y="3065"/>
                    </a:lnTo>
                    <a:lnTo>
                      <a:pt x="19442" y="3538"/>
                    </a:lnTo>
                    <a:lnTo>
                      <a:pt x="19857" y="462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76" name="Freeform 214">
                <a:extLst>
                  <a:ext uri="{FF2B5EF4-FFF2-40B4-BE49-F238E27FC236}">
                    <a16:creationId xmlns:a16="http://schemas.microsoft.com/office/drawing/2014/main" id="{3FFCBD5B-8D91-4733-56D8-E7C6BC3C7F96}"/>
                  </a:ext>
                </a:extLst>
              </p:cNvPr>
              <p:cNvSpPr>
                <a:spLocks noChangeAspect="1"/>
              </p:cNvSpPr>
              <p:nvPr>
                <p:custDataLst>
                  <p:tags r:id="rId149"/>
                </p:custDataLst>
              </p:nvPr>
            </p:nvSpPr>
            <p:spPr>
              <a:xfrm>
                <a:off x="5302196" y="5094523"/>
                <a:ext cx="19909" cy="34228"/>
              </a:xfrm>
              <a:custGeom>
                <a:avLst/>
                <a:gdLst/>
                <a:ahLst/>
                <a:cxnLst/>
                <a:rect l="0" t="0" r="0" b="0"/>
                <a:pathLst>
                  <a:path w="20441" h="35143">
                    <a:moveTo>
                      <a:pt x="9706" y="1217"/>
                    </a:moveTo>
                    <a:lnTo>
                      <a:pt x="14135" y="3674"/>
                    </a:lnTo>
                    <a:lnTo>
                      <a:pt x="16836" y="4849"/>
                    </a:lnTo>
                    <a:lnTo>
                      <a:pt x="20211" y="5281"/>
                    </a:lnTo>
                    <a:lnTo>
                      <a:pt x="20440" y="8036"/>
                    </a:lnTo>
                    <a:lnTo>
                      <a:pt x="19453" y="7748"/>
                    </a:lnTo>
                    <a:lnTo>
                      <a:pt x="19195" y="7760"/>
                    </a:lnTo>
                    <a:lnTo>
                      <a:pt x="18988" y="7928"/>
                    </a:lnTo>
                    <a:lnTo>
                      <a:pt x="18430" y="8766"/>
                    </a:lnTo>
                    <a:lnTo>
                      <a:pt x="18239" y="8893"/>
                    </a:lnTo>
                    <a:lnTo>
                      <a:pt x="16780" y="9290"/>
                    </a:lnTo>
                    <a:lnTo>
                      <a:pt x="14928" y="10771"/>
                    </a:lnTo>
                    <a:lnTo>
                      <a:pt x="14797" y="10995"/>
                    </a:lnTo>
                    <a:lnTo>
                      <a:pt x="14704" y="11236"/>
                    </a:lnTo>
                    <a:lnTo>
                      <a:pt x="14656" y="11535"/>
                    </a:lnTo>
                    <a:lnTo>
                      <a:pt x="14660" y="12147"/>
                    </a:lnTo>
                    <a:lnTo>
                      <a:pt x="15729" y="15120"/>
                    </a:lnTo>
                    <a:lnTo>
                      <a:pt x="15883" y="17346"/>
                    </a:lnTo>
                    <a:lnTo>
                      <a:pt x="16275" y="18888"/>
                    </a:lnTo>
                    <a:lnTo>
                      <a:pt x="16720" y="19855"/>
                    </a:lnTo>
                    <a:lnTo>
                      <a:pt x="18225" y="21581"/>
                    </a:lnTo>
                    <a:lnTo>
                      <a:pt x="18355" y="21871"/>
                    </a:lnTo>
                    <a:lnTo>
                      <a:pt x="18415" y="22085"/>
                    </a:lnTo>
                    <a:lnTo>
                      <a:pt x="18437" y="22422"/>
                    </a:lnTo>
                    <a:lnTo>
                      <a:pt x="17760" y="24667"/>
                    </a:lnTo>
                    <a:lnTo>
                      <a:pt x="17396" y="25198"/>
                    </a:lnTo>
                    <a:lnTo>
                      <a:pt x="16903" y="25597"/>
                    </a:lnTo>
                    <a:lnTo>
                      <a:pt x="14438" y="26387"/>
                    </a:lnTo>
                    <a:lnTo>
                      <a:pt x="14049" y="26900"/>
                    </a:lnTo>
                    <a:lnTo>
                      <a:pt x="13675" y="27984"/>
                    </a:lnTo>
                    <a:lnTo>
                      <a:pt x="13244" y="30377"/>
                    </a:lnTo>
                    <a:lnTo>
                      <a:pt x="11466" y="32981"/>
                    </a:lnTo>
                    <a:lnTo>
                      <a:pt x="11367" y="33232"/>
                    </a:lnTo>
                    <a:lnTo>
                      <a:pt x="11279" y="33731"/>
                    </a:lnTo>
                    <a:lnTo>
                      <a:pt x="11283" y="34353"/>
                    </a:lnTo>
                    <a:lnTo>
                      <a:pt x="11110" y="34351"/>
                    </a:lnTo>
                    <a:lnTo>
                      <a:pt x="10951" y="34378"/>
                    </a:lnTo>
                    <a:lnTo>
                      <a:pt x="10866" y="34403"/>
                    </a:lnTo>
                    <a:lnTo>
                      <a:pt x="10625" y="34513"/>
                    </a:lnTo>
                    <a:lnTo>
                      <a:pt x="10539" y="34536"/>
                    </a:lnTo>
                    <a:lnTo>
                      <a:pt x="10258" y="34589"/>
                    </a:lnTo>
                    <a:lnTo>
                      <a:pt x="10191" y="34612"/>
                    </a:lnTo>
                    <a:lnTo>
                      <a:pt x="10131" y="34634"/>
                    </a:lnTo>
                    <a:lnTo>
                      <a:pt x="10071" y="34678"/>
                    </a:lnTo>
                    <a:lnTo>
                      <a:pt x="9782" y="34948"/>
                    </a:lnTo>
                    <a:lnTo>
                      <a:pt x="9620" y="35054"/>
                    </a:lnTo>
                    <a:lnTo>
                      <a:pt x="9445" y="35142"/>
                    </a:lnTo>
                    <a:lnTo>
                      <a:pt x="6829" y="30562"/>
                    </a:lnTo>
                    <a:lnTo>
                      <a:pt x="5851" y="27685"/>
                    </a:lnTo>
                    <a:lnTo>
                      <a:pt x="4941" y="26126"/>
                    </a:lnTo>
                    <a:lnTo>
                      <a:pt x="4836" y="25578"/>
                    </a:lnTo>
                    <a:lnTo>
                      <a:pt x="4840" y="24994"/>
                    </a:lnTo>
                    <a:lnTo>
                      <a:pt x="5035" y="24146"/>
                    </a:lnTo>
                    <a:lnTo>
                      <a:pt x="7106" y="20689"/>
                    </a:lnTo>
                    <a:lnTo>
                      <a:pt x="7276" y="20126"/>
                    </a:lnTo>
                    <a:lnTo>
                      <a:pt x="7326" y="19857"/>
                    </a:lnTo>
                    <a:lnTo>
                      <a:pt x="7320" y="19334"/>
                    </a:lnTo>
                    <a:lnTo>
                      <a:pt x="7290" y="19078"/>
                    </a:lnTo>
                    <a:lnTo>
                      <a:pt x="6857" y="17973"/>
                    </a:lnTo>
                    <a:lnTo>
                      <a:pt x="5910" y="16813"/>
                    </a:lnTo>
                    <a:lnTo>
                      <a:pt x="3090" y="11748"/>
                    </a:lnTo>
                    <a:lnTo>
                      <a:pt x="2972" y="11200"/>
                    </a:lnTo>
                    <a:lnTo>
                      <a:pt x="2853" y="9289"/>
                    </a:lnTo>
                    <a:lnTo>
                      <a:pt x="2772" y="8997"/>
                    </a:lnTo>
                    <a:lnTo>
                      <a:pt x="2372" y="8205"/>
                    </a:lnTo>
                    <a:lnTo>
                      <a:pt x="2243" y="7805"/>
                    </a:lnTo>
                    <a:lnTo>
                      <a:pt x="2198" y="7364"/>
                    </a:lnTo>
                    <a:lnTo>
                      <a:pt x="2269" y="5423"/>
                    </a:lnTo>
                    <a:lnTo>
                      <a:pt x="2155" y="4837"/>
                    </a:lnTo>
                    <a:lnTo>
                      <a:pt x="1947" y="4451"/>
                    </a:lnTo>
                    <a:lnTo>
                      <a:pt x="1559" y="4035"/>
                    </a:lnTo>
                    <a:lnTo>
                      <a:pt x="1159" y="3776"/>
                    </a:lnTo>
                    <a:lnTo>
                      <a:pt x="0" y="2665"/>
                    </a:lnTo>
                    <a:lnTo>
                      <a:pt x="1280" y="1181"/>
                    </a:lnTo>
                    <a:lnTo>
                      <a:pt x="2440" y="851"/>
                    </a:lnTo>
                    <a:lnTo>
                      <a:pt x="5372" y="0"/>
                    </a:lnTo>
                    <a:lnTo>
                      <a:pt x="9623" y="116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77" name="Freeform 215">
                <a:extLst>
                  <a:ext uri="{FF2B5EF4-FFF2-40B4-BE49-F238E27FC236}">
                    <a16:creationId xmlns:a16="http://schemas.microsoft.com/office/drawing/2014/main" id="{C42777C7-34F4-E410-0A43-DB9344F0CEFD}"/>
                  </a:ext>
                </a:extLst>
              </p:cNvPr>
              <p:cNvSpPr>
                <a:spLocks noChangeAspect="1"/>
              </p:cNvSpPr>
              <p:nvPr>
                <p:custDataLst>
                  <p:tags r:id="rId150"/>
                </p:custDataLst>
              </p:nvPr>
            </p:nvSpPr>
            <p:spPr>
              <a:xfrm>
                <a:off x="3504983" y="2496503"/>
                <a:ext cx="495013" cy="571583"/>
              </a:xfrm>
              <a:custGeom>
                <a:avLst/>
                <a:gdLst/>
                <a:ahLst/>
                <a:cxnLst/>
                <a:rect l="l" t="t" r="r" b="b"/>
                <a:pathLst>
                  <a:path w="508245" h="586862">
                    <a:moveTo>
                      <a:pt x="220456" y="542674"/>
                    </a:moveTo>
                    <a:lnTo>
                      <a:pt x="221392" y="542743"/>
                    </a:lnTo>
                    <a:lnTo>
                      <a:pt x="222046" y="543295"/>
                    </a:lnTo>
                    <a:lnTo>
                      <a:pt x="223258" y="545453"/>
                    </a:lnTo>
                    <a:lnTo>
                      <a:pt x="224667" y="545689"/>
                    </a:lnTo>
                    <a:lnTo>
                      <a:pt x="225712" y="546216"/>
                    </a:lnTo>
                    <a:lnTo>
                      <a:pt x="226553" y="547059"/>
                    </a:lnTo>
                    <a:lnTo>
                      <a:pt x="227370" y="548306"/>
                    </a:lnTo>
                    <a:lnTo>
                      <a:pt x="224007" y="554685"/>
                    </a:lnTo>
                    <a:lnTo>
                      <a:pt x="222636" y="556101"/>
                    </a:lnTo>
                    <a:lnTo>
                      <a:pt x="229106" y="559994"/>
                    </a:lnTo>
                    <a:lnTo>
                      <a:pt x="230851" y="561790"/>
                    </a:lnTo>
                    <a:lnTo>
                      <a:pt x="231720" y="564363"/>
                    </a:lnTo>
                    <a:lnTo>
                      <a:pt x="232154" y="567565"/>
                    </a:lnTo>
                    <a:lnTo>
                      <a:pt x="232837" y="570580"/>
                    </a:lnTo>
                    <a:lnTo>
                      <a:pt x="234493" y="572464"/>
                    </a:lnTo>
                    <a:lnTo>
                      <a:pt x="228500" y="571920"/>
                    </a:lnTo>
                    <a:lnTo>
                      <a:pt x="226626" y="573215"/>
                    </a:lnTo>
                    <a:lnTo>
                      <a:pt x="224792" y="575554"/>
                    </a:lnTo>
                    <a:lnTo>
                      <a:pt x="223011" y="577273"/>
                    </a:lnTo>
                    <a:lnTo>
                      <a:pt x="221313" y="578437"/>
                    </a:lnTo>
                    <a:lnTo>
                      <a:pt x="219739" y="579234"/>
                    </a:lnTo>
                    <a:lnTo>
                      <a:pt x="220682" y="582839"/>
                    </a:lnTo>
                    <a:lnTo>
                      <a:pt x="218775" y="585252"/>
                    </a:lnTo>
                    <a:lnTo>
                      <a:pt x="215462" y="586555"/>
                    </a:lnTo>
                    <a:lnTo>
                      <a:pt x="212156" y="586862"/>
                    </a:lnTo>
                    <a:lnTo>
                      <a:pt x="198817" y="583461"/>
                    </a:lnTo>
                    <a:lnTo>
                      <a:pt x="195726" y="581609"/>
                    </a:lnTo>
                    <a:lnTo>
                      <a:pt x="196055" y="577969"/>
                    </a:lnTo>
                    <a:lnTo>
                      <a:pt x="198629" y="574414"/>
                    </a:lnTo>
                    <a:lnTo>
                      <a:pt x="202230" y="572976"/>
                    </a:lnTo>
                    <a:lnTo>
                      <a:pt x="204736" y="571380"/>
                    </a:lnTo>
                    <a:lnTo>
                      <a:pt x="205997" y="567450"/>
                    </a:lnTo>
                    <a:lnTo>
                      <a:pt x="205746" y="563122"/>
                    </a:lnTo>
                    <a:lnTo>
                      <a:pt x="203773" y="560216"/>
                    </a:lnTo>
                    <a:lnTo>
                      <a:pt x="209068" y="556743"/>
                    </a:lnTo>
                    <a:lnTo>
                      <a:pt x="214161" y="555920"/>
                    </a:lnTo>
                    <a:lnTo>
                      <a:pt x="218213" y="552885"/>
                    </a:lnTo>
                    <a:close/>
                    <a:moveTo>
                      <a:pt x="246031" y="410451"/>
                    </a:moveTo>
                    <a:lnTo>
                      <a:pt x="248059" y="410503"/>
                    </a:lnTo>
                    <a:lnTo>
                      <a:pt x="265708" y="424542"/>
                    </a:lnTo>
                    <a:lnTo>
                      <a:pt x="263880" y="425842"/>
                    </a:lnTo>
                    <a:lnTo>
                      <a:pt x="262425" y="425886"/>
                    </a:lnTo>
                    <a:lnTo>
                      <a:pt x="258544" y="424144"/>
                    </a:lnTo>
                    <a:lnTo>
                      <a:pt x="258396" y="426752"/>
                    </a:lnTo>
                    <a:lnTo>
                      <a:pt x="262882" y="427905"/>
                    </a:lnTo>
                    <a:lnTo>
                      <a:pt x="269016" y="434472"/>
                    </a:lnTo>
                    <a:lnTo>
                      <a:pt x="273550" y="435438"/>
                    </a:lnTo>
                    <a:lnTo>
                      <a:pt x="273406" y="438030"/>
                    </a:lnTo>
                    <a:lnTo>
                      <a:pt x="267531" y="440744"/>
                    </a:lnTo>
                    <a:lnTo>
                      <a:pt x="263235" y="438357"/>
                    </a:lnTo>
                    <a:lnTo>
                      <a:pt x="259671" y="434360"/>
                    </a:lnTo>
                    <a:lnTo>
                      <a:pt x="251430" y="428728"/>
                    </a:lnTo>
                    <a:lnTo>
                      <a:pt x="247707" y="422476"/>
                    </a:lnTo>
                    <a:lnTo>
                      <a:pt x="243896" y="418085"/>
                    </a:lnTo>
                    <a:lnTo>
                      <a:pt x="239043" y="420425"/>
                    </a:lnTo>
                    <a:lnTo>
                      <a:pt x="240243" y="421739"/>
                    </a:lnTo>
                    <a:lnTo>
                      <a:pt x="241516" y="423526"/>
                    </a:lnTo>
                    <a:lnTo>
                      <a:pt x="242513" y="425466"/>
                    </a:lnTo>
                    <a:lnTo>
                      <a:pt x="242865" y="427214"/>
                    </a:lnTo>
                    <a:lnTo>
                      <a:pt x="243307" y="430479"/>
                    </a:lnTo>
                    <a:lnTo>
                      <a:pt x="244764" y="431294"/>
                    </a:lnTo>
                    <a:lnTo>
                      <a:pt x="246635" y="431198"/>
                    </a:lnTo>
                    <a:lnTo>
                      <a:pt x="248254" y="431664"/>
                    </a:lnTo>
                    <a:lnTo>
                      <a:pt x="253094" y="434303"/>
                    </a:lnTo>
                    <a:lnTo>
                      <a:pt x="253886" y="435158"/>
                    </a:lnTo>
                    <a:lnTo>
                      <a:pt x="256229" y="439929"/>
                    </a:lnTo>
                    <a:lnTo>
                      <a:pt x="259234" y="441639"/>
                    </a:lnTo>
                    <a:lnTo>
                      <a:pt x="265589" y="442101"/>
                    </a:lnTo>
                    <a:lnTo>
                      <a:pt x="268753" y="443240"/>
                    </a:lnTo>
                    <a:lnTo>
                      <a:pt x="271033" y="445935"/>
                    </a:lnTo>
                    <a:lnTo>
                      <a:pt x="272788" y="449161"/>
                    </a:lnTo>
                    <a:lnTo>
                      <a:pt x="274897" y="451472"/>
                    </a:lnTo>
                    <a:lnTo>
                      <a:pt x="278292" y="451377"/>
                    </a:lnTo>
                    <a:lnTo>
                      <a:pt x="276970" y="456910"/>
                    </a:lnTo>
                    <a:lnTo>
                      <a:pt x="274924" y="458901"/>
                    </a:lnTo>
                    <a:lnTo>
                      <a:pt x="272436" y="460042"/>
                    </a:lnTo>
                    <a:lnTo>
                      <a:pt x="269837" y="462890"/>
                    </a:lnTo>
                    <a:lnTo>
                      <a:pt x="268420" y="466269"/>
                    </a:lnTo>
                    <a:lnTo>
                      <a:pt x="265832" y="474005"/>
                    </a:lnTo>
                    <a:lnTo>
                      <a:pt x="264183" y="476967"/>
                    </a:lnTo>
                    <a:lnTo>
                      <a:pt x="260078" y="478639"/>
                    </a:lnTo>
                    <a:lnTo>
                      <a:pt x="244442" y="473496"/>
                    </a:lnTo>
                    <a:lnTo>
                      <a:pt x="244306" y="475855"/>
                    </a:lnTo>
                    <a:lnTo>
                      <a:pt x="257330" y="480729"/>
                    </a:lnTo>
                    <a:lnTo>
                      <a:pt x="260788" y="484612"/>
                    </a:lnTo>
                    <a:lnTo>
                      <a:pt x="262291" y="490581"/>
                    </a:lnTo>
                    <a:lnTo>
                      <a:pt x="262765" y="498689"/>
                    </a:lnTo>
                    <a:lnTo>
                      <a:pt x="261885" y="506272"/>
                    </a:lnTo>
                    <a:lnTo>
                      <a:pt x="259324" y="510678"/>
                    </a:lnTo>
                    <a:lnTo>
                      <a:pt x="255858" y="508164"/>
                    </a:lnTo>
                    <a:lnTo>
                      <a:pt x="251932" y="507244"/>
                    </a:lnTo>
                    <a:lnTo>
                      <a:pt x="243928" y="507199"/>
                    </a:lnTo>
                    <a:lnTo>
                      <a:pt x="243779" y="509807"/>
                    </a:lnTo>
                    <a:lnTo>
                      <a:pt x="247412" y="510681"/>
                    </a:lnTo>
                    <a:lnTo>
                      <a:pt x="254915" y="510073"/>
                    </a:lnTo>
                    <a:lnTo>
                      <a:pt x="258044" y="510606"/>
                    </a:lnTo>
                    <a:lnTo>
                      <a:pt x="261446" y="513816"/>
                    </a:lnTo>
                    <a:lnTo>
                      <a:pt x="263622" y="517984"/>
                    </a:lnTo>
                    <a:lnTo>
                      <a:pt x="266024" y="521293"/>
                    </a:lnTo>
                    <a:lnTo>
                      <a:pt x="270156" y="521940"/>
                    </a:lnTo>
                    <a:lnTo>
                      <a:pt x="270024" y="524315"/>
                    </a:lnTo>
                    <a:lnTo>
                      <a:pt x="264928" y="529128"/>
                    </a:lnTo>
                    <a:lnTo>
                      <a:pt x="248024" y="524591"/>
                    </a:lnTo>
                    <a:lnTo>
                      <a:pt x="241306" y="528184"/>
                    </a:lnTo>
                    <a:lnTo>
                      <a:pt x="235717" y="520671"/>
                    </a:lnTo>
                    <a:lnTo>
                      <a:pt x="234149" y="516486"/>
                    </a:lnTo>
                    <a:lnTo>
                      <a:pt x="229942" y="496138"/>
                    </a:lnTo>
                    <a:lnTo>
                      <a:pt x="229527" y="489932"/>
                    </a:lnTo>
                    <a:lnTo>
                      <a:pt x="231023" y="485547"/>
                    </a:lnTo>
                    <a:lnTo>
                      <a:pt x="231175" y="482939"/>
                    </a:lnTo>
                    <a:lnTo>
                      <a:pt x="227948" y="477707"/>
                    </a:lnTo>
                    <a:lnTo>
                      <a:pt x="225828" y="475607"/>
                    </a:lnTo>
                    <a:lnTo>
                      <a:pt x="223162" y="474642"/>
                    </a:lnTo>
                    <a:lnTo>
                      <a:pt x="225964" y="471721"/>
                    </a:lnTo>
                    <a:lnTo>
                      <a:pt x="227727" y="469097"/>
                    </a:lnTo>
                    <a:lnTo>
                      <a:pt x="230837" y="462004"/>
                    </a:lnTo>
                    <a:lnTo>
                      <a:pt x="232028" y="458038"/>
                    </a:lnTo>
                    <a:lnTo>
                      <a:pt x="232708" y="454760"/>
                    </a:lnTo>
                    <a:lnTo>
                      <a:pt x="233861" y="452583"/>
                    </a:lnTo>
                    <a:lnTo>
                      <a:pt x="236569" y="451898"/>
                    </a:lnTo>
                    <a:lnTo>
                      <a:pt x="238392" y="446722"/>
                    </a:lnTo>
                    <a:lnTo>
                      <a:pt x="236634" y="434988"/>
                    </a:lnTo>
                    <a:lnTo>
                      <a:pt x="232166" y="417413"/>
                    </a:lnTo>
                    <a:lnTo>
                      <a:pt x="236393" y="414603"/>
                    </a:lnTo>
                    <a:close/>
                    <a:moveTo>
                      <a:pt x="246437" y="379296"/>
                    </a:moveTo>
                    <a:lnTo>
                      <a:pt x="251256" y="379336"/>
                    </a:lnTo>
                    <a:lnTo>
                      <a:pt x="253553" y="381320"/>
                    </a:lnTo>
                    <a:lnTo>
                      <a:pt x="256034" y="382301"/>
                    </a:lnTo>
                    <a:lnTo>
                      <a:pt x="258589" y="381977"/>
                    </a:lnTo>
                    <a:lnTo>
                      <a:pt x="261052" y="379887"/>
                    </a:lnTo>
                    <a:lnTo>
                      <a:pt x="262170" y="381724"/>
                    </a:lnTo>
                    <a:lnTo>
                      <a:pt x="263753" y="382747"/>
                    </a:lnTo>
                    <a:lnTo>
                      <a:pt x="265742" y="383091"/>
                    </a:lnTo>
                    <a:lnTo>
                      <a:pt x="268047" y="382892"/>
                    </a:lnTo>
                    <a:lnTo>
                      <a:pt x="267603" y="384534"/>
                    </a:lnTo>
                    <a:lnTo>
                      <a:pt x="267496" y="384809"/>
                    </a:lnTo>
                    <a:lnTo>
                      <a:pt x="267241" y="384732"/>
                    </a:lnTo>
                    <a:lnTo>
                      <a:pt x="266365" y="385415"/>
                    </a:lnTo>
                    <a:lnTo>
                      <a:pt x="268029" y="387095"/>
                    </a:lnTo>
                    <a:lnTo>
                      <a:pt x="269739" y="386910"/>
                    </a:lnTo>
                    <a:lnTo>
                      <a:pt x="271533" y="386121"/>
                    </a:lnTo>
                    <a:lnTo>
                      <a:pt x="273493" y="385808"/>
                    </a:lnTo>
                    <a:lnTo>
                      <a:pt x="274860" y="386537"/>
                    </a:lnTo>
                    <a:lnTo>
                      <a:pt x="280218" y="391394"/>
                    </a:lnTo>
                    <a:lnTo>
                      <a:pt x="278801" y="393683"/>
                    </a:lnTo>
                    <a:lnTo>
                      <a:pt x="276098" y="391823"/>
                    </a:lnTo>
                    <a:lnTo>
                      <a:pt x="271206" y="395866"/>
                    </a:lnTo>
                    <a:lnTo>
                      <a:pt x="267315" y="395917"/>
                    </a:lnTo>
                    <a:lnTo>
                      <a:pt x="268208" y="399734"/>
                    </a:lnTo>
                    <a:lnTo>
                      <a:pt x="269880" y="401306"/>
                    </a:lnTo>
                    <a:lnTo>
                      <a:pt x="274652" y="401553"/>
                    </a:lnTo>
                    <a:lnTo>
                      <a:pt x="277545" y="402894"/>
                    </a:lnTo>
                    <a:lnTo>
                      <a:pt x="279032" y="405561"/>
                    </a:lnTo>
                    <a:lnTo>
                      <a:pt x="278612" y="408154"/>
                    </a:lnTo>
                    <a:lnTo>
                      <a:pt x="260514" y="412465"/>
                    </a:lnTo>
                    <a:lnTo>
                      <a:pt x="255200" y="410906"/>
                    </a:lnTo>
                    <a:lnTo>
                      <a:pt x="239770" y="400096"/>
                    </a:lnTo>
                    <a:lnTo>
                      <a:pt x="237673" y="395521"/>
                    </a:lnTo>
                    <a:lnTo>
                      <a:pt x="239099" y="388440"/>
                    </a:lnTo>
                    <a:lnTo>
                      <a:pt x="242198" y="382668"/>
                    </a:lnTo>
                    <a:close/>
                    <a:moveTo>
                      <a:pt x="262563" y="303965"/>
                    </a:moveTo>
                    <a:lnTo>
                      <a:pt x="262429" y="306325"/>
                    </a:lnTo>
                    <a:lnTo>
                      <a:pt x="261107" y="307589"/>
                    </a:lnTo>
                    <a:lnTo>
                      <a:pt x="260063" y="309103"/>
                    </a:lnTo>
                    <a:lnTo>
                      <a:pt x="257816" y="313882"/>
                    </a:lnTo>
                    <a:lnTo>
                      <a:pt x="268694" y="319225"/>
                    </a:lnTo>
                    <a:lnTo>
                      <a:pt x="272986" y="319961"/>
                    </a:lnTo>
                    <a:lnTo>
                      <a:pt x="273133" y="317353"/>
                    </a:lnTo>
                    <a:lnTo>
                      <a:pt x="271789" y="316937"/>
                    </a:lnTo>
                    <a:lnTo>
                      <a:pt x="269093" y="314513"/>
                    </a:lnTo>
                    <a:lnTo>
                      <a:pt x="273544" y="312845"/>
                    </a:lnTo>
                    <a:lnTo>
                      <a:pt x="283523" y="306091"/>
                    </a:lnTo>
                    <a:lnTo>
                      <a:pt x="289153" y="305432"/>
                    </a:lnTo>
                    <a:lnTo>
                      <a:pt x="291513" y="309141"/>
                    </a:lnTo>
                    <a:lnTo>
                      <a:pt x="292090" y="312737"/>
                    </a:lnTo>
                    <a:lnTo>
                      <a:pt x="290662" y="315852"/>
                    </a:lnTo>
                    <a:lnTo>
                      <a:pt x="286938" y="318110"/>
                    </a:lnTo>
                    <a:lnTo>
                      <a:pt x="290145" y="320402"/>
                    </a:lnTo>
                    <a:lnTo>
                      <a:pt x="296504" y="317475"/>
                    </a:lnTo>
                    <a:lnTo>
                      <a:pt x="299088" y="319606"/>
                    </a:lnTo>
                    <a:lnTo>
                      <a:pt x="302100" y="319985"/>
                    </a:lnTo>
                    <a:lnTo>
                      <a:pt x="306582" y="320317"/>
                    </a:lnTo>
                    <a:lnTo>
                      <a:pt x="310246" y="322689"/>
                    </a:lnTo>
                    <a:lnTo>
                      <a:pt x="311838" y="327521"/>
                    </a:lnTo>
                    <a:lnTo>
                      <a:pt x="309604" y="329552"/>
                    </a:lnTo>
                    <a:lnTo>
                      <a:pt x="305800" y="335796"/>
                    </a:lnTo>
                    <a:lnTo>
                      <a:pt x="304316" y="337322"/>
                    </a:lnTo>
                    <a:lnTo>
                      <a:pt x="301500" y="336642"/>
                    </a:lnTo>
                    <a:lnTo>
                      <a:pt x="299598" y="333864"/>
                    </a:lnTo>
                    <a:lnTo>
                      <a:pt x="298196" y="330815"/>
                    </a:lnTo>
                    <a:lnTo>
                      <a:pt x="296933" y="329346"/>
                    </a:lnTo>
                    <a:lnTo>
                      <a:pt x="294709" y="328386"/>
                    </a:lnTo>
                    <a:lnTo>
                      <a:pt x="290324" y="323525"/>
                    </a:lnTo>
                    <a:lnTo>
                      <a:pt x="281182" y="323028"/>
                    </a:lnTo>
                    <a:lnTo>
                      <a:pt x="281025" y="325869"/>
                    </a:lnTo>
                    <a:lnTo>
                      <a:pt x="283389" y="326231"/>
                    </a:lnTo>
                    <a:lnTo>
                      <a:pt x="284774" y="327117"/>
                    </a:lnTo>
                    <a:lnTo>
                      <a:pt x="284912" y="328682"/>
                    </a:lnTo>
                    <a:lnTo>
                      <a:pt x="283558" y="331005"/>
                    </a:lnTo>
                    <a:lnTo>
                      <a:pt x="283401" y="333846"/>
                    </a:lnTo>
                    <a:lnTo>
                      <a:pt x="289330" y="333717"/>
                    </a:lnTo>
                    <a:lnTo>
                      <a:pt x="291036" y="335615"/>
                    </a:lnTo>
                    <a:lnTo>
                      <a:pt x="291411" y="340820"/>
                    </a:lnTo>
                    <a:lnTo>
                      <a:pt x="292637" y="344342"/>
                    </a:lnTo>
                    <a:lnTo>
                      <a:pt x="295950" y="344660"/>
                    </a:lnTo>
                    <a:lnTo>
                      <a:pt x="302623" y="342727"/>
                    </a:lnTo>
                    <a:lnTo>
                      <a:pt x="298168" y="350851"/>
                    </a:lnTo>
                    <a:lnTo>
                      <a:pt x="292985" y="354170"/>
                    </a:lnTo>
                    <a:lnTo>
                      <a:pt x="280965" y="354625"/>
                    </a:lnTo>
                    <a:lnTo>
                      <a:pt x="279434" y="355102"/>
                    </a:lnTo>
                    <a:lnTo>
                      <a:pt x="276364" y="356833"/>
                    </a:lnTo>
                    <a:lnTo>
                      <a:pt x="275107" y="356888"/>
                    </a:lnTo>
                    <a:lnTo>
                      <a:pt x="273769" y="355273"/>
                    </a:lnTo>
                    <a:lnTo>
                      <a:pt x="272252" y="350144"/>
                    </a:lnTo>
                    <a:lnTo>
                      <a:pt x="271363" y="348866"/>
                    </a:lnTo>
                    <a:lnTo>
                      <a:pt x="268632" y="349462"/>
                    </a:lnTo>
                    <a:lnTo>
                      <a:pt x="259597" y="356027"/>
                    </a:lnTo>
                    <a:lnTo>
                      <a:pt x="259435" y="358883"/>
                    </a:lnTo>
                    <a:lnTo>
                      <a:pt x="274181" y="359703"/>
                    </a:lnTo>
                    <a:lnTo>
                      <a:pt x="286408" y="356804"/>
                    </a:lnTo>
                    <a:lnTo>
                      <a:pt x="290485" y="357725"/>
                    </a:lnTo>
                    <a:lnTo>
                      <a:pt x="293902" y="359264"/>
                    </a:lnTo>
                    <a:lnTo>
                      <a:pt x="295156" y="360639"/>
                    </a:lnTo>
                    <a:lnTo>
                      <a:pt x="295792" y="363242"/>
                    </a:lnTo>
                    <a:lnTo>
                      <a:pt x="294970" y="365596"/>
                    </a:lnTo>
                    <a:lnTo>
                      <a:pt x="290380" y="373414"/>
                    </a:lnTo>
                    <a:lnTo>
                      <a:pt x="281874" y="372332"/>
                    </a:lnTo>
                    <a:lnTo>
                      <a:pt x="277606" y="372814"/>
                    </a:lnTo>
                    <a:lnTo>
                      <a:pt x="274076" y="375377"/>
                    </a:lnTo>
                    <a:lnTo>
                      <a:pt x="270899" y="372632"/>
                    </a:lnTo>
                    <a:lnTo>
                      <a:pt x="263702" y="372826"/>
                    </a:lnTo>
                    <a:lnTo>
                      <a:pt x="260099" y="371752"/>
                    </a:lnTo>
                    <a:lnTo>
                      <a:pt x="258250" y="370293"/>
                    </a:lnTo>
                    <a:lnTo>
                      <a:pt x="257527" y="369318"/>
                    </a:lnTo>
                    <a:lnTo>
                      <a:pt x="255426" y="364668"/>
                    </a:lnTo>
                    <a:lnTo>
                      <a:pt x="254828" y="362548"/>
                    </a:lnTo>
                    <a:lnTo>
                      <a:pt x="253997" y="360430"/>
                    </a:lnTo>
                    <a:lnTo>
                      <a:pt x="252453" y="358490"/>
                    </a:lnTo>
                    <a:lnTo>
                      <a:pt x="254230" y="358404"/>
                    </a:lnTo>
                    <a:lnTo>
                      <a:pt x="258331" y="355956"/>
                    </a:lnTo>
                    <a:lnTo>
                      <a:pt x="251620" y="354955"/>
                    </a:lnTo>
                    <a:lnTo>
                      <a:pt x="239738" y="346069"/>
                    </a:lnTo>
                    <a:lnTo>
                      <a:pt x="233539" y="344122"/>
                    </a:lnTo>
                    <a:lnTo>
                      <a:pt x="231997" y="346478"/>
                    </a:lnTo>
                    <a:lnTo>
                      <a:pt x="230523" y="348105"/>
                    </a:lnTo>
                    <a:lnTo>
                      <a:pt x="229052" y="348830"/>
                    </a:lnTo>
                    <a:lnTo>
                      <a:pt x="227440" y="348393"/>
                    </a:lnTo>
                    <a:lnTo>
                      <a:pt x="224998" y="346615"/>
                    </a:lnTo>
                    <a:lnTo>
                      <a:pt x="221774" y="345070"/>
                    </a:lnTo>
                    <a:lnTo>
                      <a:pt x="212899" y="337677"/>
                    </a:lnTo>
                    <a:lnTo>
                      <a:pt x="213056" y="335070"/>
                    </a:lnTo>
                    <a:lnTo>
                      <a:pt x="217877" y="332070"/>
                    </a:lnTo>
                    <a:lnTo>
                      <a:pt x="221462" y="325708"/>
                    </a:lnTo>
                    <a:lnTo>
                      <a:pt x="224681" y="318298"/>
                    </a:lnTo>
                    <a:lnTo>
                      <a:pt x="228420" y="312193"/>
                    </a:lnTo>
                    <a:lnTo>
                      <a:pt x="232608" y="314914"/>
                    </a:lnTo>
                    <a:lnTo>
                      <a:pt x="246671" y="313249"/>
                    </a:lnTo>
                    <a:lnTo>
                      <a:pt x="246520" y="315856"/>
                    </a:lnTo>
                    <a:lnTo>
                      <a:pt x="244911" y="316014"/>
                    </a:lnTo>
                    <a:lnTo>
                      <a:pt x="240794" y="318144"/>
                    </a:lnTo>
                    <a:lnTo>
                      <a:pt x="244154" y="323289"/>
                    </a:lnTo>
                    <a:lnTo>
                      <a:pt x="250575" y="317489"/>
                    </a:lnTo>
                    <a:lnTo>
                      <a:pt x="257544" y="308447"/>
                    </a:lnTo>
                    <a:close/>
                    <a:moveTo>
                      <a:pt x="294349" y="287169"/>
                    </a:moveTo>
                    <a:lnTo>
                      <a:pt x="295999" y="291354"/>
                    </a:lnTo>
                    <a:lnTo>
                      <a:pt x="292093" y="295408"/>
                    </a:lnTo>
                    <a:lnTo>
                      <a:pt x="286044" y="297836"/>
                    </a:lnTo>
                    <a:lnTo>
                      <a:pt x="281253" y="296920"/>
                    </a:lnTo>
                    <a:lnTo>
                      <a:pt x="290438" y="287845"/>
                    </a:lnTo>
                    <a:close/>
                    <a:moveTo>
                      <a:pt x="0" y="231348"/>
                    </a:moveTo>
                    <a:lnTo>
                      <a:pt x="2989" y="234177"/>
                    </a:lnTo>
                    <a:lnTo>
                      <a:pt x="10258" y="235764"/>
                    </a:lnTo>
                    <a:lnTo>
                      <a:pt x="13540" y="237831"/>
                    </a:lnTo>
                    <a:lnTo>
                      <a:pt x="9819" y="241905"/>
                    </a:lnTo>
                    <a:lnTo>
                      <a:pt x="5285" y="242644"/>
                    </a:lnTo>
                    <a:lnTo>
                      <a:pt x="1494" y="239305"/>
                    </a:lnTo>
                    <a:close/>
                    <a:moveTo>
                      <a:pt x="327744" y="218178"/>
                    </a:moveTo>
                    <a:lnTo>
                      <a:pt x="331285" y="220976"/>
                    </a:lnTo>
                    <a:lnTo>
                      <a:pt x="330919" y="229209"/>
                    </a:lnTo>
                    <a:lnTo>
                      <a:pt x="328380" y="230587"/>
                    </a:lnTo>
                    <a:lnTo>
                      <a:pt x="321452" y="225448"/>
                    </a:lnTo>
                    <a:lnTo>
                      <a:pt x="320514" y="229710"/>
                    </a:lnTo>
                    <a:lnTo>
                      <a:pt x="318943" y="232166"/>
                    </a:lnTo>
                    <a:lnTo>
                      <a:pt x="316781" y="233251"/>
                    </a:lnTo>
                    <a:lnTo>
                      <a:pt x="313960" y="233382"/>
                    </a:lnTo>
                    <a:lnTo>
                      <a:pt x="314592" y="230240"/>
                    </a:lnTo>
                    <a:lnTo>
                      <a:pt x="314692" y="229451"/>
                    </a:lnTo>
                    <a:lnTo>
                      <a:pt x="314479" y="229253"/>
                    </a:lnTo>
                    <a:lnTo>
                      <a:pt x="314253" y="227903"/>
                    </a:lnTo>
                    <a:lnTo>
                      <a:pt x="323127" y="220086"/>
                    </a:lnTo>
                    <a:close/>
                    <a:moveTo>
                      <a:pt x="361724" y="91445"/>
                    </a:moveTo>
                    <a:lnTo>
                      <a:pt x="365430" y="93311"/>
                    </a:lnTo>
                    <a:lnTo>
                      <a:pt x="371529" y="101099"/>
                    </a:lnTo>
                    <a:lnTo>
                      <a:pt x="373672" y="99881"/>
                    </a:lnTo>
                    <a:lnTo>
                      <a:pt x="375376" y="101878"/>
                    </a:lnTo>
                    <a:lnTo>
                      <a:pt x="376797" y="104282"/>
                    </a:lnTo>
                    <a:lnTo>
                      <a:pt x="377910" y="107138"/>
                    </a:lnTo>
                    <a:lnTo>
                      <a:pt x="378650" y="110568"/>
                    </a:lnTo>
                    <a:lnTo>
                      <a:pt x="362153" y="109755"/>
                    </a:lnTo>
                    <a:lnTo>
                      <a:pt x="362286" y="107147"/>
                    </a:lnTo>
                    <a:lnTo>
                      <a:pt x="364374" y="107375"/>
                    </a:lnTo>
                    <a:lnTo>
                      <a:pt x="365035" y="107284"/>
                    </a:lnTo>
                    <a:lnTo>
                      <a:pt x="365156" y="104893"/>
                    </a:lnTo>
                    <a:lnTo>
                      <a:pt x="362692" y="103339"/>
                    </a:lnTo>
                    <a:lnTo>
                      <a:pt x="360848" y="99619"/>
                    </a:lnTo>
                    <a:lnTo>
                      <a:pt x="360284" y="95249"/>
                    </a:lnTo>
                    <a:close/>
                    <a:moveTo>
                      <a:pt x="488855" y="0"/>
                    </a:moveTo>
                    <a:lnTo>
                      <a:pt x="493660" y="603"/>
                    </a:lnTo>
                    <a:lnTo>
                      <a:pt x="497501" y="5253"/>
                    </a:lnTo>
                    <a:lnTo>
                      <a:pt x="500745" y="12244"/>
                    </a:lnTo>
                    <a:lnTo>
                      <a:pt x="502972" y="19676"/>
                    </a:lnTo>
                    <a:lnTo>
                      <a:pt x="503675" y="25801"/>
                    </a:lnTo>
                    <a:lnTo>
                      <a:pt x="507020" y="32094"/>
                    </a:lnTo>
                    <a:lnTo>
                      <a:pt x="507485" y="36126"/>
                    </a:lnTo>
                    <a:lnTo>
                      <a:pt x="503798" y="37785"/>
                    </a:lnTo>
                    <a:lnTo>
                      <a:pt x="502220" y="39883"/>
                    </a:lnTo>
                    <a:lnTo>
                      <a:pt x="496976" y="55539"/>
                    </a:lnTo>
                    <a:lnTo>
                      <a:pt x="498562" y="58077"/>
                    </a:lnTo>
                    <a:lnTo>
                      <a:pt x="500761" y="60032"/>
                    </a:lnTo>
                    <a:lnTo>
                      <a:pt x="503386" y="61133"/>
                    </a:lnTo>
                    <a:lnTo>
                      <a:pt x="506350" y="61141"/>
                    </a:lnTo>
                    <a:lnTo>
                      <a:pt x="506236" y="63983"/>
                    </a:lnTo>
                    <a:lnTo>
                      <a:pt x="501865" y="65988"/>
                    </a:lnTo>
                    <a:lnTo>
                      <a:pt x="492584" y="72489"/>
                    </a:lnTo>
                    <a:lnTo>
                      <a:pt x="489163" y="76116"/>
                    </a:lnTo>
                    <a:lnTo>
                      <a:pt x="490027" y="79526"/>
                    </a:lnTo>
                    <a:lnTo>
                      <a:pt x="489637" y="82030"/>
                    </a:lnTo>
                    <a:lnTo>
                      <a:pt x="488084" y="83569"/>
                    </a:lnTo>
                    <a:lnTo>
                      <a:pt x="485447" y="84021"/>
                    </a:lnTo>
                    <a:lnTo>
                      <a:pt x="483019" y="85135"/>
                    </a:lnTo>
                    <a:lnTo>
                      <a:pt x="480872" y="90444"/>
                    </a:lnTo>
                    <a:lnTo>
                      <a:pt x="474821" y="92604"/>
                    </a:lnTo>
                    <a:lnTo>
                      <a:pt x="474284" y="95397"/>
                    </a:lnTo>
                    <a:lnTo>
                      <a:pt x="474738" y="98776"/>
                    </a:lnTo>
                    <a:lnTo>
                      <a:pt x="474339" y="101607"/>
                    </a:lnTo>
                    <a:lnTo>
                      <a:pt x="472426" y="103426"/>
                    </a:lnTo>
                    <a:lnTo>
                      <a:pt x="470175" y="104139"/>
                    </a:lnTo>
                    <a:lnTo>
                      <a:pt x="464615" y="104044"/>
                    </a:lnTo>
                    <a:lnTo>
                      <a:pt x="468047" y="110350"/>
                    </a:lnTo>
                    <a:lnTo>
                      <a:pt x="475362" y="112991"/>
                    </a:lnTo>
                    <a:lnTo>
                      <a:pt x="483424" y="112765"/>
                    </a:lnTo>
                    <a:lnTo>
                      <a:pt x="489093" y="110493"/>
                    </a:lnTo>
                    <a:lnTo>
                      <a:pt x="499266" y="100246"/>
                    </a:lnTo>
                    <a:lnTo>
                      <a:pt x="502364" y="98597"/>
                    </a:lnTo>
                    <a:lnTo>
                      <a:pt x="506161" y="97441"/>
                    </a:lnTo>
                    <a:lnTo>
                      <a:pt x="508245" y="97756"/>
                    </a:lnTo>
                    <a:lnTo>
                      <a:pt x="506257" y="100525"/>
                    </a:lnTo>
                    <a:lnTo>
                      <a:pt x="506162" y="102901"/>
                    </a:lnTo>
                    <a:lnTo>
                      <a:pt x="507397" y="102950"/>
                    </a:lnTo>
                    <a:lnTo>
                      <a:pt x="506381" y="104776"/>
                    </a:lnTo>
                    <a:lnTo>
                      <a:pt x="505328" y="107115"/>
                    </a:lnTo>
                    <a:lnTo>
                      <a:pt x="504445" y="108293"/>
                    </a:lnTo>
                    <a:lnTo>
                      <a:pt x="504912" y="109712"/>
                    </a:lnTo>
                    <a:lnTo>
                      <a:pt x="505733" y="113556"/>
                    </a:lnTo>
                    <a:lnTo>
                      <a:pt x="500314" y="115969"/>
                    </a:lnTo>
                    <a:lnTo>
                      <a:pt x="498492" y="117203"/>
                    </a:lnTo>
                    <a:lnTo>
                      <a:pt x="497030" y="118871"/>
                    </a:lnTo>
                    <a:lnTo>
                      <a:pt x="494962" y="122491"/>
                    </a:lnTo>
                    <a:lnTo>
                      <a:pt x="494180" y="123549"/>
                    </a:lnTo>
                    <a:lnTo>
                      <a:pt x="490429" y="125372"/>
                    </a:lnTo>
                    <a:lnTo>
                      <a:pt x="487654" y="124808"/>
                    </a:lnTo>
                    <a:lnTo>
                      <a:pt x="481929" y="120436"/>
                    </a:lnTo>
                    <a:lnTo>
                      <a:pt x="478588" y="119115"/>
                    </a:lnTo>
                    <a:lnTo>
                      <a:pt x="469555" y="119921"/>
                    </a:lnTo>
                    <a:lnTo>
                      <a:pt x="466248" y="118598"/>
                    </a:lnTo>
                    <a:lnTo>
                      <a:pt x="460427" y="114399"/>
                    </a:lnTo>
                    <a:lnTo>
                      <a:pt x="457295" y="114172"/>
                    </a:lnTo>
                    <a:lnTo>
                      <a:pt x="461365" y="128270"/>
                    </a:lnTo>
                    <a:lnTo>
                      <a:pt x="463372" y="132728"/>
                    </a:lnTo>
                    <a:lnTo>
                      <a:pt x="461610" y="134348"/>
                    </a:lnTo>
                    <a:lnTo>
                      <a:pt x="460830" y="135855"/>
                    </a:lnTo>
                    <a:lnTo>
                      <a:pt x="460903" y="137772"/>
                    </a:lnTo>
                    <a:lnTo>
                      <a:pt x="461647" y="140697"/>
                    </a:lnTo>
                    <a:lnTo>
                      <a:pt x="457946" y="143419"/>
                    </a:lnTo>
                    <a:lnTo>
                      <a:pt x="447653" y="145323"/>
                    </a:lnTo>
                    <a:lnTo>
                      <a:pt x="440522" y="153491"/>
                    </a:lnTo>
                    <a:lnTo>
                      <a:pt x="437421" y="155314"/>
                    </a:lnTo>
                    <a:lnTo>
                      <a:pt x="435521" y="155105"/>
                    </a:lnTo>
                    <a:lnTo>
                      <a:pt x="432534" y="152778"/>
                    </a:lnTo>
                    <a:lnTo>
                      <a:pt x="430650" y="152414"/>
                    </a:lnTo>
                    <a:lnTo>
                      <a:pt x="424903" y="157369"/>
                    </a:lnTo>
                    <a:lnTo>
                      <a:pt x="414257" y="159793"/>
                    </a:lnTo>
                    <a:lnTo>
                      <a:pt x="411002" y="159348"/>
                    </a:lnTo>
                    <a:lnTo>
                      <a:pt x="410880" y="161957"/>
                    </a:lnTo>
                    <a:lnTo>
                      <a:pt x="418558" y="162527"/>
                    </a:lnTo>
                    <a:lnTo>
                      <a:pt x="445080" y="157332"/>
                    </a:lnTo>
                    <a:lnTo>
                      <a:pt x="451439" y="153795"/>
                    </a:lnTo>
                    <a:lnTo>
                      <a:pt x="454193" y="153448"/>
                    </a:lnTo>
                    <a:lnTo>
                      <a:pt x="456744" y="155503"/>
                    </a:lnTo>
                    <a:lnTo>
                      <a:pt x="458622" y="159411"/>
                    </a:lnTo>
                    <a:lnTo>
                      <a:pt x="459487" y="164317"/>
                    </a:lnTo>
                    <a:lnTo>
                      <a:pt x="459024" y="169291"/>
                    </a:lnTo>
                    <a:lnTo>
                      <a:pt x="459817" y="169979"/>
                    </a:lnTo>
                    <a:lnTo>
                      <a:pt x="461662" y="172251"/>
                    </a:lnTo>
                    <a:lnTo>
                      <a:pt x="460040" y="174329"/>
                    </a:lnTo>
                    <a:lnTo>
                      <a:pt x="458312" y="175796"/>
                    </a:lnTo>
                    <a:lnTo>
                      <a:pt x="456494" y="176684"/>
                    </a:lnTo>
                    <a:lnTo>
                      <a:pt x="454547" y="176942"/>
                    </a:lnTo>
                    <a:lnTo>
                      <a:pt x="456655" y="178666"/>
                    </a:lnTo>
                    <a:lnTo>
                      <a:pt x="459000" y="179699"/>
                    </a:lnTo>
                    <a:lnTo>
                      <a:pt x="461527" y="180134"/>
                    </a:lnTo>
                    <a:lnTo>
                      <a:pt x="464097" y="179962"/>
                    </a:lnTo>
                    <a:lnTo>
                      <a:pt x="460166" y="184153"/>
                    </a:lnTo>
                    <a:lnTo>
                      <a:pt x="457124" y="188348"/>
                    </a:lnTo>
                    <a:lnTo>
                      <a:pt x="453786" y="191504"/>
                    </a:lnTo>
                    <a:lnTo>
                      <a:pt x="448954" y="192603"/>
                    </a:lnTo>
                    <a:lnTo>
                      <a:pt x="430138" y="188429"/>
                    </a:lnTo>
                    <a:lnTo>
                      <a:pt x="425957" y="186467"/>
                    </a:lnTo>
                    <a:lnTo>
                      <a:pt x="424825" y="186323"/>
                    </a:lnTo>
                    <a:lnTo>
                      <a:pt x="423526" y="189112"/>
                    </a:lnTo>
                    <a:lnTo>
                      <a:pt x="425161" y="190866"/>
                    </a:lnTo>
                    <a:lnTo>
                      <a:pt x="429423" y="192925"/>
                    </a:lnTo>
                    <a:lnTo>
                      <a:pt x="432441" y="196234"/>
                    </a:lnTo>
                    <a:lnTo>
                      <a:pt x="439525" y="198694"/>
                    </a:lnTo>
                    <a:lnTo>
                      <a:pt x="442216" y="202766"/>
                    </a:lnTo>
                    <a:lnTo>
                      <a:pt x="442100" y="205375"/>
                    </a:lnTo>
                    <a:lnTo>
                      <a:pt x="440102" y="206842"/>
                    </a:lnTo>
                    <a:lnTo>
                      <a:pt x="436550" y="212754"/>
                    </a:lnTo>
                    <a:lnTo>
                      <a:pt x="434720" y="215241"/>
                    </a:lnTo>
                    <a:lnTo>
                      <a:pt x="430969" y="217782"/>
                    </a:lnTo>
                    <a:lnTo>
                      <a:pt x="428432" y="217435"/>
                    </a:lnTo>
                    <a:lnTo>
                      <a:pt x="425917" y="215861"/>
                    </a:lnTo>
                    <a:lnTo>
                      <a:pt x="422269" y="214684"/>
                    </a:lnTo>
                    <a:lnTo>
                      <a:pt x="422138" y="217526"/>
                    </a:lnTo>
                    <a:lnTo>
                      <a:pt x="422998" y="218251"/>
                    </a:lnTo>
                    <a:lnTo>
                      <a:pt x="423902" y="219426"/>
                    </a:lnTo>
                    <a:lnTo>
                      <a:pt x="424782" y="220260"/>
                    </a:lnTo>
                    <a:lnTo>
                      <a:pt x="424652" y="223102"/>
                    </a:lnTo>
                    <a:lnTo>
                      <a:pt x="420015" y="225227"/>
                    </a:lnTo>
                    <a:lnTo>
                      <a:pt x="416271" y="224295"/>
                    </a:lnTo>
                    <a:lnTo>
                      <a:pt x="413279" y="221232"/>
                    </a:lnTo>
                    <a:lnTo>
                      <a:pt x="410938" y="217016"/>
                    </a:lnTo>
                    <a:lnTo>
                      <a:pt x="409432" y="211765"/>
                    </a:lnTo>
                    <a:lnTo>
                      <a:pt x="408416" y="209664"/>
                    </a:lnTo>
                    <a:lnTo>
                      <a:pt x="406551" y="208737"/>
                    </a:lnTo>
                    <a:lnTo>
                      <a:pt x="405421" y="210646"/>
                    </a:lnTo>
                    <a:lnTo>
                      <a:pt x="406305" y="215029"/>
                    </a:lnTo>
                    <a:lnTo>
                      <a:pt x="408034" y="219730"/>
                    </a:lnTo>
                    <a:lnTo>
                      <a:pt x="409430" y="222409"/>
                    </a:lnTo>
                    <a:lnTo>
                      <a:pt x="407932" y="224721"/>
                    </a:lnTo>
                    <a:lnTo>
                      <a:pt x="401637" y="221100"/>
                    </a:lnTo>
                    <a:lnTo>
                      <a:pt x="399747" y="219112"/>
                    </a:lnTo>
                    <a:lnTo>
                      <a:pt x="398785" y="217106"/>
                    </a:lnTo>
                    <a:lnTo>
                      <a:pt x="397738" y="212358"/>
                    </a:lnTo>
                    <a:lnTo>
                      <a:pt x="392741" y="200637"/>
                    </a:lnTo>
                    <a:lnTo>
                      <a:pt x="391381" y="195468"/>
                    </a:lnTo>
                    <a:lnTo>
                      <a:pt x="391315" y="189987"/>
                    </a:lnTo>
                    <a:lnTo>
                      <a:pt x="394776" y="180128"/>
                    </a:lnTo>
                    <a:lnTo>
                      <a:pt x="400864" y="174844"/>
                    </a:lnTo>
                    <a:lnTo>
                      <a:pt x="408327" y="172794"/>
                    </a:lnTo>
                    <a:lnTo>
                      <a:pt x="415915" y="172614"/>
                    </a:lnTo>
                    <a:lnTo>
                      <a:pt x="416025" y="170238"/>
                    </a:lnTo>
                    <a:lnTo>
                      <a:pt x="396580" y="169335"/>
                    </a:lnTo>
                    <a:lnTo>
                      <a:pt x="396466" y="171710"/>
                    </a:lnTo>
                    <a:lnTo>
                      <a:pt x="395370" y="176001"/>
                    </a:lnTo>
                    <a:lnTo>
                      <a:pt x="390355" y="181879"/>
                    </a:lnTo>
                    <a:lnTo>
                      <a:pt x="384335" y="187133"/>
                    </a:lnTo>
                    <a:lnTo>
                      <a:pt x="380262" y="189459"/>
                    </a:lnTo>
                    <a:lnTo>
                      <a:pt x="382717" y="193747"/>
                    </a:lnTo>
                    <a:lnTo>
                      <a:pt x="386367" y="205407"/>
                    </a:lnTo>
                    <a:lnTo>
                      <a:pt x="388501" y="207890"/>
                    </a:lnTo>
                    <a:lnTo>
                      <a:pt x="391321" y="209378"/>
                    </a:lnTo>
                    <a:lnTo>
                      <a:pt x="393504" y="212595"/>
                    </a:lnTo>
                    <a:lnTo>
                      <a:pt x="395321" y="216243"/>
                    </a:lnTo>
                    <a:lnTo>
                      <a:pt x="397108" y="218989"/>
                    </a:lnTo>
                    <a:lnTo>
                      <a:pt x="395983" y="219683"/>
                    </a:lnTo>
                    <a:lnTo>
                      <a:pt x="395103" y="220638"/>
                    </a:lnTo>
                    <a:lnTo>
                      <a:pt x="394048" y="221413"/>
                    </a:lnTo>
                    <a:lnTo>
                      <a:pt x="392575" y="221623"/>
                    </a:lnTo>
                    <a:lnTo>
                      <a:pt x="393819" y="224126"/>
                    </a:lnTo>
                    <a:lnTo>
                      <a:pt x="395516" y="225310"/>
                    </a:lnTo>
                    <a:lnTo>
                      <a:pt x="397106" y="225945"/>
                    </a:lnTo>
                    <a:lnTo>
                      <a:pt x="397988" y="226873"/>
                    </a:lnTo>
                    <a:lnTo>
                      <a:pt x="398403" y="229461"/>
                    </a:lnTo>
                    <a:lnTo>
                      <a:pt x="398868" y="237606"/>
                    </a:lnTo>
                    <a:lnTo>
                      <a:pt x="382438" y="232643"/>
                    </a:lnTo>
                    <a:lnTo>
                      <a:pt x="375590" y="228173"/>
                    </a:lnTo>
                    <a:lnTo>
                      <a:pt x="373631" y="229323"/>
                    </a:lnTo>
                    <a:lnTo>
                      <a:pt x="372445" y="231211"/>
                    </a:lnTo>
                    <a:lnTo>
                      <a:pt x="371318" y="233584"/>
                    </a:lnTo>
                    <a:lnTo>
                      <a:pt x="369516" y="236204"/>
                    </a:lnTo>
                    <a:lnTo>
                      <a:pt x="371734" y="237885"/>
                    </a:lnTo>
                    <a:lnTo>
                      <a:pt x="375986" y="239990"/>
                    </a:lnTo>
                    <a:lnTo>
                      <a:pt x="377716" y="241350"/>
                    </a:lnTo>
                    <a:lnTo>
                      <a:pt x="382025" y="250303"/>
                    </a:lnTo>
                    <a:lnTo>
                      <a:pt x="382739" y="252485"/>
                    </a:lnTo>
                    <a:lnTo>
                      <a:pt x="381525" y="255462"/>
                    </a:lnTo>
                    <a:lnTo>
                      <a:pt x="378653" y="257238"/>
                    </a:lnTo>
                    <a:lnTo>
                      <a:pt x="374979" y="257778"/>
                    </a:lnTo>
                    <a:lnTo>
                      <a:pt x="371394" y="257167"/>
                    </a:lnTo>
                    <a:lnTo>
                      <a:pt x="371265" y="259776"/>
                    </a:lnTo>
                    <a:lnTo>
                      <a:pt x="372770" y="259849"/>
                    </a:lnTo>
                    <a:lnTo>
                      <a:pt x="372653" y="262225"/>
                    </a:lnTo>
                    <a:lnTo>
                      <a:pt x="368156" y="261259"/>
                    </a:lnTo>
                    <a:lnTo>
                      <a:pt x="359048" y="253714"/>
                    </a:lnTo>
                    <a:lnTo>
                      <a:pt x="357499" y="256485"/>
                    </a:lnTo>
                    <a:lnTo>
                      <a:pt x="358563" y="257425"/>
                    </a:lnTo>
                    <a:lnTo>
                      <a:pt x="360115" y="260196"/>
                    </a:lnTo>
                    <a:lnTo>
                      <a:pt x="361417" y="261676"/>
                    </a:lnTo>
                    <a:lnTo>
                      <a:pt x="358980" y="265291"/>
                    </a:lnTo>
                    <a:lnTo>
                      <a:pt x="356619" y="267696"/>
                    </a:lnTo>
                    <a:lnTo>
                      <a:pt x="351032" y="271823"/>
                    </a:lnTo>
                    <a:lnTo>
                      <a:pt x="351971" y="272617"/>
                    </a:lnTo>
                    <a:lnTo>
                      <a:pt x="352906" y="273815"/>
                    </a:lnTo>
                    <a:lnTo>
                      <a:pt x="353797" y="274576"/>
                    </a:lnTo>
                    <a:lnTo>
                      <a:pt x="349369" y="278728"/>
                    </a:lnTo>
                    <a:lnTo>
                      <a:pt x="336462" y="286762"/>
                    </a:lnTo>
                    <a:lnTo>
                      <a:pt x="332515" y="290577"/>
                    </a:lnTo>
                    <a:lnTo>
                      <a:pt x="331065" y="289849"/>
                    </a:lnTo>
                    <a:lnTo>
                      <a:pt x="321355" y="276971"/>
                    </a:lnTo>
                    <a:lnTo>
                      <a:pt x="319438" y="275688"/>
                    </a:lnTo>
                    <a:lnTo>
                      <a:pt x="307967" y="259406"/>
                    </a:lnTo>
                    <a:lnTo>
                      <a:pt x="305841" y="257612"/>
                    </a:lnTo>
                    <a:lnTo>
                      <a:pt x="305072" y="254815"/>
                    </a:lnTo>
                    <a:lnTo>
                      <a:pt x="303743" y="251802"/>
                    </a:lnTo>
                    <a:lnTo>
                      <a:pt x="303779" y="249454"/>
                    </a:lnTo>
                    <a:lnTo>
                      <a:pt x="307005" y="248660"/>
                    </a:lnTo>
                    <a:lnTo>
                      <a:pt x="309506" y="249322"/>
                    </a:lnTo>
                    <a:lnTo>
                      <a:pt x="311114" y="251182"/>
                    </a:lnTo>
                    <a:lnTo>
                      <a:pt x="312035" y="254407"/>
                    </a:lnTo>
                    <a:lnTo>
                      <a:pt x="312575" y="259183"/>
                    </a:lnTo>
                    <a:lnTo>
                      <a:pt x="330056" y="244403"/>
                    </a:lnTo>
                    <a:lnTo>
                      <a:pt x="332824" y="240265"/>
                    </a:lnTo>
                    <a:lnTo>
                      <a:pt x="337487" y="238994"/>
                    </a:lnTo>
                    <a:lnTo>
                      <a:pt x="347232" y="239847"/>
                    </a:lnTo>
                    <a:lnTo>
                      <a:pt x="337806" y="231741"/>
                    </a:lnTo>
                    <a:lnTo>
                      <a:pt x="337942" y="229133"/>
                    </a:lnTo>
                    <a:lnTo>
                      <a:pt x="348587" y="223586"/>
                    </a:lnTo>
                    <a:lnTo>
                      <a:pt x="354723" y="222478"/>
                    </a:lnTo>
                    <a:lnTo>
                      <a:pt x="360699" y="224191"/>
                    </a:lnTo>
                    <a:lnTo>
                      <a:pt x="364514" y="227633"/>
                    </a:lnTo>
                    <a:lnTo>
                      <a:pt x="362662" y="225642"/>
                    </a:lnTo>
                    <a:lnTo>
                      <a:pt x="360781" y="223884"/>
                    </a:lnTo>
                    <a:lnTo>
                      <a:pt x="359221" y="222343"/>
                    </a:lnTo>
                    <a:lnTo>
                      <a:pt x="358599" y="221238"/>
                    </a:lnTo>
                    <a:lnTo>
                      <a:pt x="358077" y="219951"/>
                    </a:lnTo>
                    <a:lnTo>
                      <a:pt x="362022" y="217625"/>
                    </a:lnTo>
                    <a:lnTo>
                      <a:pt x="363638" y="217378"/>
                    </a:lnTo>
                    <a:lnTo>
                      <a:pt x="363769" y="214770"/>
                    </a:lnTo>
                    <a:lnTo>
                      <a:pt x="352020" y="214186"/>
                    </a:lnTo>
                    <a:lnTo>
                      <a:pt x="349305" y="212789"/>
                    </a:lnTo>
                    <a:lnTo>
                      <a:pt x="344282" y="206978"/>
                    </a:lnTo>
                    <a:lnTo>
                      <a:pt x="341298" y="205565"/>
                    </a:lnTo>
                    <a:lnTo>
                      <a:pt x="329585" y="205524"/>
                    </a:lnTo>
                    <a:lnTo>
                      <a:pt x="324321" y="203196"/>
                    </a:lnTo>
                    <a:lnTo>
                      <a:pt x="322963" y="197039"/>
                    </a:lnTo>
                    <a:lnTo>
                      <a:pt x="320278" y="199077"/>
                    </a:lnTo>
                    <a:lnTo>
                      <a:pt x="318552" y="198924"/>
                    </a:lnTo>
                    <a:lnTo>
                      <a:pt x="309445" y="191095"/>
                    </a:lnTo>
                    <a:lnTo>
                      <a:pt x="312854" y="188504"/>
                    </a:lnTo>
                    <a:lnTo>
                      <a:pt x="315422" y="185402"/>
                    </a:lnTo>
                    <a:lnTo>
                      <a:pt x="318186" y="183259"/>
                    </a:lnTo>
                    <a:lnTo>
                      <a:pt x="322190" y="183672"/>
                    </a:lnTo>
                    <a:lnTo>
                      <a:pt x="322315" y="181328"/>
                    </a:lnTo>
                    <a:lnTo>
                      <a:pt x="321751" y="180443"/>
                    </a:lnTo>
                    <a:lnTo>
                      <a:pt x="321623" y="180077"/>
                    </a:lnTo>
                    <a:lnTo>
                      <a:pt x="321549" y="179592"/>
                    </a:lnTo>
                    <a:lnTo>
                      <a:pt x="321192" y="178420"/>
                    </a:lnTo>
                    <a:lnTo>
                      <a:pt x="327370" y="177762"/>
                    </a:lnTo>
                    <a:lnTo>
                      <a:pt x="334098" y="175729"/>
                    </a:lnTo>
                    <a:lnTo>
                      <a:pt x="346707" y="169276"/>
                    </a:lnTo>
                    <a:lnTo>
                      <a:pt x="327425" y="173609"/>
                    </a:lnTo>
                    <a:lnTo>
                      <a:pt x="321470" y="173204"/>
                    </a:lnTo>
                    <a:lnTo>
                      <a:pt x="322586" y="169760"/>
                    </a:lnTo>
                    <a:lnTo>
                      <a:pt x="324270" y="167996"/>
                    </a:lnTo>
                    <a:lnTo>
                      <a:pt x="326358" y="167622"/>
                    </a:lnTo>
                    <a:lnTo>
                      <a:pt x="328652" y="168349"/>
                    </a:lnTo>
                    <a:lnTo>
                      <a:pt x="328778" y="165974"/>
                    </a:lnTo>
                    <a:lnTo>
                      <a:pt x="323150" y="165680"/>
                    </a:lnTo>
                    <a:lnTo>
                      <a:pt x="325057" y="164519"/>
                    </a:lnTo>
                    <a:lnTo>
                      <a:pt x="326717" y="162877"/>
                    </a:lnTo>
                    <a:lnTo>
                      <a:pt x="328109" y="160708"/>
                    </a:lnTo>
                    <a:lnTo>
                      <a:pt x="329202" y="157949"/>
                    </a:lnTo>
                    <a:lnTo>
                      <a:pt x="320088" y="163917"/>
                    </a:lnTo>
                    <a:lnTo>
                      <a:pt x="318452" y="164017"/>
                    </a:lnTo>
                    <a:lnTo>
                      <a:pt x="313201" y="151284"/>
                    </a:lnTo>
                    <a:lnTo>
                      <a:pt x="311719" y="149182"/>
                    </a:lnTo>
                    <a:lnTo>
                      <a:pt x="313024" y="144690"/>
                    </a:lnTo>
                    <a:lnTo>
                      <a:pt x="311974" y="142953"/>
                    </a:lnTo>
                    <a:lnTo>
                      <a:pt x="310256" y="142020"/>
                    </a:lnTo>
                    <a:lnTo>
                      <a:pt x="309457" y="139922"/>
                    </a:lnTo>
                    <a:lnTo>
                      <a:pt x="310336" y="135112"/>
                    </a:lnTo>
                    <a:lnTo>
                      <a:pt x="312789" y="131881"/>
                    </a:lnTo>
                    <a:lnTo>
                      <a:pt x="312863" y="128102"/>
                    </a:lnTo>
                    <a:lnTo>
                      <a:pt x="314635" y="127542"/>
                    </a:lnTo>
                    <a:lnTo>
                      <a:pt x="315487" y="126686"/>
                    </a:lnTo>
                    <a:lnTo>
                      <a:pt x="316069" y="125330"/>
                    </a:lnTo>
                    <a:lnTo>
                      <a:pt x="317114" y="123330"/>
                    </a:lnTo>
                    <a:lnTo>
                      <a:pt x="315692" y="122601"/>
                    </a:lnTo>
                    <a:lnTo>
                      <a:pt x="314333" y="120988"/>
                    </a:lnTo>
                    <a:lnTo>
                      <a:pt x="313288" y="120278"/>
                    </a:lnTo>
                    <a:lnTo>
                      <a:pt x="313416" y="117919"/>
                    </a:lnTo>
                    <a:lnTo>
                      <a:pt x="328575" y="117722"/>
                    </a:lnTo>
                    <a:lnTo>
                      <a:pt x="332798" y="116107"/>
                    </a:lnTo>
                    <a:lnTo>
                      <a:pt x="327651" y="113347"/>
                    </a:lnTo>
                    <a:lnTo>
                      <a:pt x="325650" y="111172"/>
                    </a:lnTo>
                    <a:lnTo>
                      <a:pt x="325035" y="106548"/>
                    </a:lnTo>
                    <a:lnTo>
                      <a:pt x="325720" y="101882"/>
                    </a:lnTo>
                    <a:lnTo>
                      <a:pt x="327042" y="99383"/>
                    </a:lnTo>
                    <a:lnTo>
                      <a:pt x="331168" y="94882"/>
                    </a:lnTo>
                    <a:lnTo>
                      <a:pt x="334011" y="97365"/>
                    </a:lnTo>
                    <a:lnTo>
                      <a:pt x="341587" y="102052"/>
                    </a:lnTo>
                    <a:lnTo>
                      <a:pt x="343145" y="102365"/>
                    </a:lnTo>
                    <a:lnTo>
                      <a:pt x="344709" y="101138"/>
                    </a:lnTo>
                    <a:lnTo>
                      <a:pt x="355438" y="106804"/>
                    </a:lnTo>
                    <a:lnTo>
                      <a:pt x="355304" y="109412"/>
                    </a:lnTo>
                    <a:lnTo>
                      <a:pt x="349344" y="108705"/>
                    </a:lnTo>
                    <a:lnTo>
                      <a:pt x="350407" y="114176"/>
                    </a:lnTo>
                    <a:lnTo>
                      <a:pt x="354247" y="120907"/>
                    </a:lnTo>
                    <a:lnTo>
                      <a:pt x="356628" y="123954"/>
                    </a:lnTo>
                    <a:lnTo>
                      <a:pt x="356074" y="129810"/>
                    </a:lnTo>
                    <a:lnTo>
                      <a:pt x="357742" y="137862"/>
                    </a:lnTo>
                    <a:lnTo>
                      <a:pt x="360433" y="145264"/>
                    </a:lnTo>
                    <a:lnTo>
                      <a:pt x="362914" y="149216"/>
                    </a:lnTo>
                    <a:lnTo>
                      <a:pt x="362718" y="145767"/>
                    </a:lnTo>
                    <a:lnTo>
                      <a:pt x="362735" y="143651"/>
                    </a:lnTo>
                    <a:lnTo>
                      <a:pt x="363453" y="138551"/>
                    </a:lnTo>
                    <a:lnTo>
                      <a:pt x="362165" y="136059"/>
                    </a:lnTo>
                    <a:lnTo>
                      <a:pt x="359487" y="129248"/>
                    </a:lnTo>
                    <a:lnTo>
                      <a:pt x="358481" y="125462"/>
                    </a:lnTo>
                    <a:lnTo>
                      <a:pt x="360570" y="124119"/>
                    </a:lnTo>
                    <a:lnTo>
                      <a:pt x="361430" y="121407"/>
                    </a:lnTo>
                    <a:lnTo>
                      <a:pt x="361819" y="118765"/>
                    </a:lnTo>
                    <a:lnTo>
                      <a:pt x="362517" y="117618"/>
                    </a:lnTo>
                    <a:lnTo>
                      <a:pt x="371572" y="115792"/>
                    </a:lnTo>
                    <a:lnTo>
                      <a:pt x="373643" y="114245"/>
                    </a:lnTo>
                    <a:lnTo>
                      <a:pt x="377058" y="113385"/>
                    </a:lnTo>
                    <a:lnTo>
                      <a:pt x="382135" y="116261"/>
                    </a:lnTo>
                    <a:lnTo>
                      <a:pt x="386738" y="121292"/>
                    </a:lnTo>
                    <a:lnTo>
                      <a:pt x="388851" y="126949"/>
                    </a:lnTo>
                    <a:lnTo>
                      <a:pt x="394737" y="119185"/>
                    </a:lnTo>
                    <a:lnTo>
                      <a:pt x="389863" y="115792"/>
                    </a:lnTo>
                    <a:lnTo>
                      <a:pt x="388245" y="113646"/>
                    </a:lnTo>
                    <a:lnTo>
                      <a:pt x="387573" y="111279"/>
                    </a:lnTo>
                    <a:lnTo>
                      <a:pt x="386711" y="105276"/>
                    </a:lnTo>
                    <a:lnTo>
                      <a:pt x="385883" y="103089"/>
                    </a:lnTo>
                    <a:lnTo>
                      <a:pt x="384729" y="102552"/>
                    </a:lnTo>
                    <a:lnTo>
                      <a:pt x="381719" y="103247"/>
                    </a:lnTo>
                    <a:lnTo>
                      <a:pt x="380526" y="102830"/>
                    </a:lnTo>
                    <a:lnTo>
                      <a:pt x="380198" y="101833"/>
                    </a:lnTo>
                    <a:lnTo>
                      <a:pt x="379600" y="98349"/>
                    </a:lnTo>
                    <a:lnTo>
                      <a:pt x="379308" y="97308"/>
                    </a:lnTo>
                    <a:lnTo>
                      <a:pt x="377174" y="93749"/>
                    </a:lnTo>
                    <a:lnTo>
                      <a:pt x="376271" y="91807"/>
                    </a:lnTo>
                    <a:lnTo>
                      <a:pt x="375550" y="89514"/>
                    </a:lnTo>
                    <a:lnTo>
                      <a:pt x="376608" y="88819"/>
                    </a:lnTo>
                    <a:lnTo>
                      <a:pt x="377464" y="87927"/>
                    </a:lnTo>
                    <a:lnTo>
                      <a:pt x="378449" y="87213"/>
                    </a:lnTo>
                    <a:lnTo>
                      <a:pt x="379813" y="87124"/>
                    </a:lnTo>
                    <a:lnTo>
                      <a:pt x="378905" y="84309"/>
                    </a:lnTo>
                    <a:lnTo>
                      <a:pt x="378047" y="82462"/>
                    </a:lnTo>
                    <a:lnTo>
                      <a:pt x="376772" y="81590"/>
                    </a:lnTo>
                    <a:lnTo>
                      <a:pt x="374585" y="81623"/>
                    </a:lnTo>
                    <a:lnTo>
                      <a:pt x="391684" y="67714"/>
                    </a:lnTo>
                    <a:lnTo>
                      <a:pt x="396272" y="61802"/>
                    </a:lnTo>
                    <a:lnTo>
                      <a:pt x="398649" y="63362"/>
                    </a:lnTo>
                    <a:lnTo>
                      <a:pt x="400180" y="62454"/>
                    </a:lnTo>
                    <a:lnTo>
                      <a:pt x="401525" y="60650"/>
                    </a:lnTo>
                    <a:lnTo>
                      <a:pt x="403247" y="59518"/>
                    </a:lnTo>
                    <a:lnTo>
                      <a:pt x="410071" y="59837"/>
                    </a:lnTo>
                    <a:lnTo>
                      <a:pt x="415487" y="58470"/>
                    </a:lnTo>
                    <a:lnTo>
                      <a:pt x="428462" y="52249"/>
                    </a:lnTo>
                    <a:lnTo>
                      <a:pt x="430337" y="50716"/>
                    </a:lnTo>
                    <a:lnTo>
                      <a:pt x="435686" y="44079"/>
                    </a:lnTo>
                    <a:lnTo>
                      <a:pt x="472451" y="17985"/>
                    </a:lnTo>
                    <a:lnTo>
                      <a:pt x="482853" y="539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78" name="Freeform 226">
                <a:extLst>
                  <a:ext uri="{FF2B5EF4-FFF2-40B4-BE49-F238E27FC236}">
                    <a16:creationId xmlns:a16="http://schemas.microsoft.com/office/drawing/2014/main" id="{9555376E-F0A4-AC1C-F3FF-A1AD9AF9B723}"/>
                  </a:ext>
                </a:extLst>
              </p:cNvPr>
              <p:cNvSpPr>
                <a:spLocks noChangeAspect="1"/>
              </p:cNvSpPr>
              <p:nvPr>
                <p:custDataLst>
                  <p:tags r:id="rId151"/>
                </p:custDataLst>
              </p:nvPr>
            </p:nvSpPr>
            <p:spPr>
              <a:xfrm>
                <a:off x="4699010" y="4385652"/>
                <a:ext cx="55894" cy="56004"/>
              </a:xfrm>
              <a:custGeom>
                <a:avLst/>
                <a:gdLst/>
                <a:ahLst/>
                <a:cxnLst/>
                <a:rect l="0" t="0" r="0" b="0"/>
                <a:pathLst>
                  <a:path w="57388" h="57501">
                    <a:moveTo>
                      <a:pt x="44152" y="0"/>
                    </a:moveTo>
                    <a:lnTo>
                      <a:pt x="53103" y="16444"/>
                    </a:lnTo>
                    <a:lnTo>
                      <a:pt x="53671" y="20880"/>
                    </a:lnTo>
                    <a:lnTo>
                      <a:pt x="50102" y="28156"/>
                    </a:lnTo>
                    <a:lnTo>
                      <a:pt x="51181" y="29091"/>
                    </a:lnTo>
                    <a:lnTo>
                      <a:pt x="57387" y="31087"/>
                    </a:lnTo>
                    <a:lnTo>
                      <a:pt x="56203" y="34016"/>
                    </a:lnTo>
                    <a:lnTo>
                      <a:pt x="53357" y="40828"/>
                    </a:lnTo>
                    <a:lnTo>
                      <a:pt x="39339" y="50240"/>
                    </a:lnTo>
                    <a:lnTo>
                      <a:pt x="34245" y="54620"/>
                    </a:lnTo>
                    <a:lnTo>
                      <a:pt x="28947" y="57460"/>
                    </a:lnTo>
                    <a:lnTo>
                      <a:pt x="25638" y="57500"/>
                    </a:lnTo>
                    <a:lnTo>
                      <a:pt x="23052" y="56297"/>
                    </a:lnTo>
                    <a:lnTo>
                      <a:pt x="20796" y="52632"/>
                    </a:lnTo>
                    <a:lnTo>
                      <a:pt x="17254" y="47747"/>
                    </a:lnTo>
                    <a:lnTo>
                      <a:pt x="15404" y="46840"/>
                    </a:lnTo>
                    <a:lnTo>
                      <a:pt x="11902" y="46269"/>
                    </a:lnTo>
                    <a:lnTo>
                      <a:pt x="4128" y="40510"/>
                    </a:lnTo>
                    <a:lnTo>
                      <a:pt x="0" y="32379"/>
                    </a:lnTo>
                    <a:lnTo>
                      <a:pt x="7346" y="27511"/>
                    </a:lnTo>
                    <a:lnTo>
                      <a:pt x="8009" y="23584"/>
                    </a:lnTo>
                    <a:lnTo>
                      <a:pt x="4112" y="20330"/>
                    </a:lnTo>
                    <a:lnTo>
                      <a:pt x="3937" y="15554"/>
                    </a:lnTo>
                    <a:lnTo>
                      <a:pt x="2003" y="12395"/>
                    </a:lnTo>
                    <a:lnTo>
                      <a:pt x="3033" y="8573"/>
                    </a:lnTo>
                    <a:lnTo>
                      <a:pt x="9051" y="8705"/>
                    </a:lnTo>
                    <a:lnTo>
                      <a:pt x="14465" y="12474"/>
                    </a:lnTo>
                    <a:lnTo>
                      <a:pt x="25759" y="10386"/>
                    </a:lnTo>
                    <a:lnTo>
                      <a:pt x="32092" y="5469"/>
                    </a:lnTo>
                    <a:lnTo>
                      <a:pt x="35686" y="12"/>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79" name="Freeform 227">
                <a:extLst>
                  <a:ext uri="{FF2B5EF4-FFF2-40B4-BE49-F238E27FC236}">
                    <a16:creationId xmlns:a16="http://schemas.microsoft.com/office/drawing/2014/main" id="{44EBCF66-309A-80B2-4031-F71D344931FE}"/>
                  </a:ext>
                </a:extLst>
              </p:cNvPr>
              <p:cNvSpPr>
                <a:spLocks noChangeAspect="1"/>
              </p:cNvSpPr>
              <p:nvPr>
                <p:custDataLst>
                  <p:tags r:id="rId152"/>
                </p:custDataLst>
              </p:nvPr>
            </p:nvSpPr>
            <p:spPr>
              <a:xfrm>
                <a:off x="4602369" y="4784959"/>
                <a:ext cx="177663" cy="213026"/>
              </a:xfrm>
              <a:custGeom>
                <a:avLst/>
                <a:gdLst/>
                <a:ahLst/>
                <a:cxnLst/>
                <a:rect l="0" t="0" r="0" b="0"/>
                <a:pathLst>
                  <a:path w="182412" h="218721">
                    <a:moveTo>
                      <a:pt x="100134" y="33215"/>
                    </a:moveTo>
                    <a:lnTo>
                      <a:pt x="104791" y="32110"/>
                    </a:lnTo>
                    <a:lnTo>
                      <a:pt x="106966" y="23163"/>
                    </a:lnTo>
                    <a:lnTo>
                      <a:pt x="109933" y="20692"/>
                    </a:lnTo>
                    <a:lnTo>
                      <a:pt x="112665" y="22133"/>
                    </a:lnTo>
                    <a:lnTo>
                      <a:pt x="112215" y="25751"/>
                    </a:lnTo>
                    <a:lnTo>
                      <a:pt x="115050" y="37505"/>
                    </a:lnTo>
                    <a:lnTo>
                      <a:pt x="118717" y="42873"/>
                    </a:lnTo>
                    <a:lnTo>
                      <a:pt x="118767" y="47295"/>
                    </a:lnTo>
                    <a:lnTo>
                      <a:pt x="118229" y="52690"/>
                    </a:lnTo>
                    <a:lnTo>
                      <a:pt x="120982" y="56597"/>
                    </a:lnTo>
                    <a:lnTo>
                      <a:pt x="126999" y="56526"/>
                    </a:lnTo>
                    <a:lnTo>
                      <a:pt x="134219" y="56438"/>
                    </a:lnTo>
                    <a:lnTo>
                      <a:pt x="139631" y="55877"/>
                    </a:lnTo>
                    <a:lnTo>
                      <a:pt x="142895" y="52884"/>
                    </a:lnTo>
                    <a:lnTo>
                      <a:pt x="145276" y="49911"/>
                    </a:lnTo>
                    <a:lnTo>
                      <a:pt x="148550" y="47419"/>
                    </a:lnTo>
                    <a:lnTo>
                      <a:pt x="151862" y="47375"/>
                    </a:lnTo>
                    <a:lnTo>
                      <a:pt x="158211" y="49737"/>
                    </a:lnTo>
                    <a:lnTo>
                      <a:pt x="156752" y="53192"/>
                    </a:lnTo>
                    <a:lnTo>
                      <a:pt x="155313" y="58127"/>
                    </a:lnTo>
                    <a:lnTo>
                      <a:pt x="155945" y="60577"/>
                    </a:lnTo>
                    <a:lnTo>
                      <a:pt x="160200" y="62977"/>
                    </a:lnTo>
                    <a:lnTo>
                      <a:pt x="165938" y="64377"/>
                    </a:lnTo>
                    <a:lnTo>
                      <a:pt x="168120" y="69735"/>
                    </a:lnTo>
                    <a:lnTo>
                      <a:pt x="167364" y="80071"/>
                    </a:lnTo>
                    <a:lnTo>
                      <a:pt x="167482" y="88420"/>
                    </a:lnTo>
                    <a:lnTo>
                      <a:pt x="168764" y="93812"/>
                    </a:lnTo>
                    <a:lnTo>
                      <a:pt x="171846" y="98178"/>
                    </a:lnTo>
                    <a:lnTo>
                      <a:pt x="175789" y="99592"/>
                    </a:lnTo>
                    <a:lnTo>
                      <a:pt x="179438" y="101511"/>
                    </a:lnTo>
                    <a:lnTo>
                      <a:pt x="181945" y="107377"/>
                    </a:lnTo>
                    <a:lnTo>
                      <a:pt x="182316" y="112266"/>
                    </a:lnTo>
                    <a:lnTo>
                      <a:pt x="182411" y="118661"/>
                    </a:lnTo>
                    <a:lnTo>
                      <a:pt x="181943" y="127513"/>
                    </a:lnTo>
                    <a:lnTo>
                      <a:pt x="182089" y="137334"/>
                    </a:lnTo>
                    <a:lnTo>
                      <a:pt x="182050" y="142812"/>
                    </a:lnTo>
                    <a:lnTo>
                      <a:pt x="177975" y="143546"/>
                    </a:lnTo>
                    <a:lnTo>
                      <a:pt x="172339" y="150321"/>
                    </a:lnTo>
                    <a:lnTo>
                      <a:pt x="167716" y="152402"/>
                    </a:lnTo>
                    <a:lnTo>
                      <a:pt x="163834" y="150543"/>
                    </a:lnTo>
                    <a:lnTo>
                      <a:pt x="160926" y="143377"/>
                    </a:lnTo>
                    <a:lnTo>
                      <a:pt x="156310" y="140992"/>
                    </a:lnTo>
                    <a:lnTo>
                      <a:pt x="153750" y="149625"/>
                    </a:lnTo>
                    <a:lnTo>
                      <a:pt x="154910" y="153646"/>
                    </a:lnTo>
                    <a:lnTo>
                      <a:pt x="152293" y="158134"/>
                    </a:lnTo>
                    <a:lnTo>
                      <a:pt x="151782" y="164626"/>
                    </a:lnTo>
                    <a:lnTo>
                      <a:pt x="156806" y="168466"/>
                    </a:lnTo>
                    <a:lnTo>
                      <a:pt x="158213" y="175248"/>
                    </a:lnTo>
                    <a:lnTo>
                      <a:pt x="163203" y="180696"/>
                    </a:lnTo>
                    <a:lnTo>
                      <a:pt x="163985" y="185246"/>
                    </a:lnTo>
                    <a:lnTo>
                      <a:pt x="163168" y="187903"/>
                    </a:lnTo>
                    <a:lnTo>
                      <a:pt x="154780" y="193328"/>
                    </a:lnTo>
                    <a:lnTo>
                      <a:pt x="146423" y="194505"/>
                    </a:lnTo>
                    <a:lnTo>
                      <a:pt x="143239" y="202601"/>
                    </a:lnTo>
                    <a:lnTo>
                      <a:pt x="135937" y="201647"/>
                    </a:lnTo>
                    <a:lnTo>
                      <a:pt x="129352" y="204490"/>
                    </a:lnTo>
                    <a:lnTo>
                      <a:pt x="127779" y="208221"/>
                    </a:lnTo>
                    <a:lnTo>
                      <a:pt x="124799" y="207505"/>
                    </a:lnTo>
                    <a:lnTo>
                      <a:pt x="119651" y="210960"/>
                    </a:lnTo>
                    <a:lnTo>
                      <a:pt x="117356" y="204946"/>
                    </a:lnTo>
                    <a:lnTo>
                      <a:pt x="115783" y="204964"/>
                    </a:lnTo>
                    <a:lnTo>
                      <a:pt x="114436" y="207406"/>
                    </a:lnTo>
                    <a:lnTo>
                      <a:pt x="113222" y="216975"/>
                    </a:lnTo>
                    <a:lnTo>
                      <a:pt x="113167" y="217044"/>
                    </a:lnTo>
                    <a:lnTo>
                      <a:pt x="112994" y="217267"/>
                    </a:lnTo>
                    <a:lnTo>
                      <a:pt x="110560" y="218720"/>
                    </a:lnTo>
                    <a:lnTo>
                      <a:pt x="106122" y="215896"/>
                    </a:lnTo>
                    <a:lnTo>
                      <a:pt x="101757" y="211707"/>
                    </a:lnTo>
                    <a:lnTo>
                      <a:pt x="100149" y="210855"/>
                    </a:lnTo>
                    <a:lnTo>
                      <a:pt x="98268" y="210647"/>
                    </a:lnTo>
                    <a:lnTo>
                      <a:pt x="93974" y="210977"/>
                    </a:lnTo>
                    <a:lnTo>
                      <a:pt x="92492" y="210418"/>
                    </a:lnTo>
                    <a:lnTo>
                      <a:pt x="91385" y="209561"/>
                    </a:lnTo>
                    <a:lnTo>
                      <a:pt x="90741" y="208531"/>
                    </a:lnTo>
                    <a:lnTo>
                      <a:pt x="89719" y="206281"/>
                    </a:lnTo>
                    <a:lnTo>
                      <a:pt x="89062" y="205191"/>
                    </a:lnTo>
                    <a:lnTo>
                      <a:pt x="85880" y="201510"/>
                    </a:lnTo>
                    <a:lnTo>
                      <a:pt x="85284" y="200321"/>
                    </a:lnTo>
                    <a:lnTo>
                      <a:pt x="82766" y="197087"/>
                    </a:lnTo>
                    <a:lnTo>
                      <a:pt x="59498" y="176588"/>
                    </a:lnTo>
                    <a:lnTo>
                      <a:pt x="56900" y="176944"/>
                    </a:lnTo>
                    <a:lnTo>
                      <a:pt x="54562" y="177919"/>
                    </a:lnTo>
                    <a:lnTo>
                      <a:pt x="47582" y="183230"/>
                    </a:lnTo>
                    <a:lnTo>
                      <a:pt x="45140" y="184314"/>
                    </a:lnTo>
                    <a:lnTo>
                      <a:pt x="43479" y="184601"/>
                    </a:lnTo>
                    <a:lnTo>
                      <a:pt x="40950" y="184560"/>
                    </a:lnTo>
                    <a:lnTo>
                      <a:pt x="38976" y="183644"/>
                    </a:lnTo>
                    <a:lnTo>
                      <a:pt x="33897" y="179206"/>
                    </a:lnTo>
                    <a:lnTo>
                      <a:pt x="32485" y="177398"/>
                    </a:lnTo>
                    <a:lnTo>
                      <a:pt x="31598" y="175745"/>
                    </a:lnTo>
                    <a:lnTo>
                      <a:pt x="31234" y="172915"/>
                    </a:lnTo>
                    <a:lnTo>
                      <a:pt x="30898" y="171654"/>
                    </a:lnTo>
                    <a:lnTo>
                      <a:pt x="30350" y="170660"/>
                    </a:lnTo>
                    <a:lnTo>
                      <a:pt x="29951" y="170110"/>
                    </a:lnTo>
                    <a:lnTo>
                      <a:pt x="22970" y="163814"/>
                    </a:lnTo>
                    <a:lnTo>
                      <a:pt x="17612" y="156304"/>
                    </a:lnTo>
                    <a:lnTo>
                      <a:pt x="17515" y="156123"/>
                    </a:lnTo>
                    <a:lnTo>
                      <a:pt x="10713" y="143438"/>
                    </a:lnTo>
                    <a:lnTo>
                      <a:pt x="10229" y="141338"/>
                    </a:lnTo>
                    <a:lnTo>
                      <a:pt x="9856" y="138457"/>
                    </a:lnTo>
                    <a:lnTo>
                      <a:pt x="10151" y="136473"/>
                    </a:lnTo>
                    <a:lnTo>
                      <a:pt x="10020" y="133334"/>
                    </a:lnTo>
                    <a:lnTo>
                      <a:pt x="9526" y="131550"/>
                    </a:lnTo>
                    <a:lnTo>
                      <a:pt x="8845" y="130102"/>
                    </a:lnTo>
                    <a:lnTo>
                      <a:pt x="4713" y="125533"/>
                    </a:lnTo>
                    <a:lnTo>
                      <a:pt x="2531" y="123638"/>
                    </a:lnTo>
                    <a:lnTo>
                      <a:pt x="785" y="122856"/>
                    </a:lnTo>
                    <a:lnTo>
                      <a:pt x="459" y="121919"/>
                    </a:lnTo>
                    <a:lnTo>
                      <a:pt x="297" y="120991"/>
                    </a:lnTo>
                    <a:lnTo>
                      <a:pt x="1744" y="114372"/>
                    </a:lnTo>
                    <a:lnTo>
                      <a:pt x="2731" y="111092"/>
                    </a:lnTo>
                    <a:lnTo>
                      <a:pt x="3489" y="109737"/>
                    </a:lnTo>
                    <a:lnTo>
                      <a:pt x="4225" y="108656"/>
                    </a:lnTo>
                    <a:lnTo>
                      <a:pt x="5410" y="107714"/>
                    </a:lnTo>
                    <a:lnTo>
                      <a:pt x="5625" y="107111"/>
                    </a:lnTo>
                    <a:lnTo>
                      <a:pt x="5478" y="106657"/>
                    </a:lnTo>
                    <a:lnTo>
                      <a:pt x="1913" y="104275"/>
                    </a:lnTo>
                    <a:lnTo>
                      <a:pt x="182" y="102121"/>
                    </a:lnTo>
                    <a:lnTo>
                      <a:pt x="0" y="100641"/>
                    </a:lnTo>
                    <a:lnTo>
                      <a:pt x="571" y="99474"/>
                    </a:lnTo>
                    <a:lnTo>
                      <a:pt x="2639" y="98241"/>
                    </a:lnTo>
                    <a:lnTo>
                      <a:pt x="8812" y="96090"/>
                    </a:lnTo>
                    <a:lnTo>
                      <a:pt x="9953" y="95009"/>
                    </a:lnTo>
                    <a:lnTo>
                      <a:pt x="10861" y="93594"/>
                    </a:lnTo>
                    <a:lnTo>
                      <a:pt x="11445" y="91488"/>
                    </a:lnTo>
                    <a:lnTo>
                      <a:pt x="10979" y="90335"/>
                    </a:lnTo>
                    <a:lnTo>
                      <a:pt x="9850" y="89916"/>
                    </a:lnTo>
                    <a:lnTo>
                      <a:pt x="8694" y="90209"/>
                    </a:lnTo>
                    <a:lnTo>
                      <a:pt x="7343" y="90254"/>
                    </a:lnTo>
                    <a:lnTo>
                      <a:pt x="5874" y="89699"/>
                    </a:lnTo>
                    <a:lnTo>
                      <a:pt x="3985" y="87270"/>
                    </a:lnTo>
                    <a:lnTo>
                      <a:pt x="3626" y="85533"/>
                    </a:lnTo>
                    <a:lnTo>
                      <a:pt x="3915" y="83914"/>
                    </a:lnTo>
                    <a:lnTo>
                      <a:pt x="13392" y="69940"/>
                    </a:lnTo>
                    <a:lnTo>
                      <a:pt x="14615" y="67665"/>
                    </a:lnTo>
                    <a:lnTo>
                      <a:pt x="15760" y="63246"/>
                    </a:lnTo>
                    <a:lnTo>
                      <a:pt x="16346" y="61901"/>
                    </a:lnTo>
                    <a:lnTo>
                      <a:pt x="17079" y="60880"/>
                    </a:lnTo>
                    <a:lnTo>
                      <a:pt x="18054" y="60027"/>
                    </a:lnTo>
                    <a:lnTo>
                      <a:pt x="21238" y="58173"/>
                    </a:lnTo>
                    <a:lnTo>
                      <a:pt x="22188" y="57339"/>
                    </a:lnTo>
                    <a:lnTo>
                      <a:pt x="22933" y="56417"/>
                    </a:lnTo>
                    <a:lnTo>
                      <a:pt x="24521" y="53802"/>
                    </a:lnTo>
                    <a:lnTo>
                      <a:pt x="25212" y="53116"/>
                    </a:lnTo>
                    <a:lnTo>
                      <a:pt x="26182" y="52420"/>
                    </a:lnTo>
                    <a:lnTo>
                      <a:pt x="28371" y="51577"/>
                    </a:lnTo>
                    <a:lnTo>
                      <a:pt x="36361" y="51211"/>
                    </a:lnTo>
                    <a:lnTo>
                      <a:pt x="37807" y="50472"/>
                    </a:lnTo>
                    <a:lnTo>
                      <a:pt x="39150" y="48805"/>
                    </a:lnTo>
                    <a:lnTo>
                      <a:pt x="39130" y="47572"/>
                    </a:lnTo>
                    <a:lnTo>
                      <a:pt x="38532" y="46549"/>
                    </a:lnTo>
                    <a:lnTo>
                      <a:pt x="37439" y="45904"/>
                    </a:lnTo>
                    <a:lnTo>
                      <a:pt x="31567" y="44194"/>
                    </a:lnTo>
                    <a:lnTo>
                      <a:pt x="30484" y="42929"/>
                    </a:lnTo>
                    <a:lnTo>
                      <a:pt x="29712" y="41284"/>
                    </a:lnTo>
                    <a:lnTo>
                      <a:pt x="29048" y="37272"/>
                    </a:lnTo>
                    <a:lnTo>
                      <a:pt x="28996" y="36600"/>
                    </a:lnTo>
                    <a:lnTo>
                      <a:pt x="29753" y="34009"/>
                    </a:lnTo>
                    <a:lnTo>
                      <a:pt x="30928" y="31456"/>
                    </a:lnTo>
                    <a:lnTo>
                      <a:pt x="32565" y="29679"/>
                    </a:lnTo>
                    <a:lnTo>
                      <a:pt x="37296" y="26471"/>
                    </a:lnTo>
                    <a:lnTo>
                      <a:pt x="38768" y="24417"/>
                    </a:lnTo>
                    <a:lnTo>
                      <a:pt x="39308" y="23021"/>
                    </a:lnTo>
                    <a:lnTo>
                      <a:pt x="38892" y="19372"/>
                    </a:lnTo>
                    <a:lnTo>
                      <a:pt x="38716" y="19360"/>
                    </a:lnTo>
                    <a:lnTo>
                      <a:pt x="38741" y="19354"/>
                    </a:lnTo>
                    <a:lnTo>
                      <a:pt x="44458" y="17992"/>
                    </a:lnTo>
                    <a:lnTo>
                      <a:pt x="48116" y="13189"/>
                    </a:lnTo>
                    <a:lnTo>
                      <a:pt x="53223" y="11236"/>
                    </a:lnTo>
                    <a:lnTo>
                      <a:pt x="50917" y="6811"/>
                    </a:lnTo>
                    <a:lnTo>
                      <a:pt x="51488" y="4142"/>
                    </a:lnTo>
                    <a:lnTo>
                      <a:pt x="58570" y="6220"/>
                    </a:lnTo>
                    <a:lnTo>
                      <a:pt x="66230" y="0"/>
                    </a:lnTo>
                    <a:lnTo>
                      <a:pt x="74554" y="4172"/>
                    </a:lnTo>
                    <a:lnTo>
                      <a:pt x="78231" y="9549"/>
                    </a:lnTo>
                    <a:lnTo>
                      <a:pt x="79778" y="14628"/>
                    </a:lnTo>
                    <a:lnTo>
                      <a:pt x="91322" y="15052"/>
                    </a:lnTo>
                    <a:lnTo>
                      <a:pt x="92338" y="18971"/>
                    </a:lnTo>
                    <a:lnTo>
                      <a:pt x="88120" y="2536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80" name="Freeform 228">
                <a:extLst>
                  <a:ext uri="{FF2B5EF4-FFF2-40B4-BE49-F238E27FC236}">
                    <a16:creationId xmlns:a16="http://schemas.microsoft.com/office/drawing/2014/main" id="{61AD440D-50B6-0E7D-E7FD-14F22B163F85}"/>
                  </a:ext>
                </a:extLst>
              </p:cNvPr>
              <p:cNvSpPr>
                <a:spLocks noChangeAspect="1"/>
              </p:cNvSpPr>
              <p:nvPr>
                <p:custDataLst>
                  <p:tags r:id="rId153"/>
                </p:custDataLst>
              </p:nvPr>
            </p:nvSpPr>
            <p:spPr>
              <a:xfrm>
                <a:off x="4711662" y="4763611"/>
                <a:ext cx="203249" cy="179131"/>
              </a:xfrm>
              <a:custGeom>
                <a:avLst/>
                <a:gdLst/>
                <a:ahLst/>
                <a:cxnLst/>
                <a:rect l="0" t="0" r="0" b="0"/>
                <a:pathLst>
                  <a:path w="208682" h="183919">
                    <a:moveTo>
                      <a:pt x="109562" y="8318"/>
                    </a:moveTo>
                    <a:lnTo>
                      <a:pt x="113576" y="7733"/>
                    </a:lnTo>
                    <a:lnTo>
                      <a:pt x="121728" y="7880"/>
                    </a:lnTo>
                    <a:lnTo>
                      <a:pt x="130041" y="2433"/>
                    </a:lnTo>
                    <a:lnTo>
                      <a:pt x="135834" y="7515"/>
                    </a:lnTo>
                    <a:lnTo>
                      <a:pt x="138271" y="3005"/>
                    </a:lnTo>
                    <a:lnTo>
                      <a:pt x="142206" y="1862"/>
                    </a:lnTo>
                    <a:lnTo>
                      <a:pt x="144369" y="6597"/>
                    </a:lnTo>
                    <a:lnTo>
                      <a:pt x="147839" y="5363"/>
                    </a:lnTo>
                    <a:lnTo>
                      <a:pt x="153416" y="8960"/>
                    </a:lnTo>
                    <a:lnTo>
                      <a:pt x="153281" y="11828"/>
                    </a:lnTo>
                    <a:lnTo>
                      <a:pt x="149204" y="18604"/>
                    </a:lnTo>
                    <a:lnTo>
                      <a:pt x="150738" y="23884"/>
                    </a:lnTo>
                    <a:lnTo>
                      <a:pt x="153726" y="24357"/>
                    </a:lnTo>
                    <a:lnTo>
                      <a:pt x="160258" y="20609"/>
                    </a:lnTo>
                    <a:lnTo>
                      <a:pt x="167330" y="21200"/>
                    </a:lnTo>
                    <a:lnTo>
                      <a:pt x="172847" y="18109"/>
                    </a:lnTo>
                    <a:lnTo>
                      <a:pt x="186005" y="21315"/>
                    </a:lnTo>
                    <a:lnTo>
                      <a:pt x="186393" y="24188"/>
                    </a:lnTo>
                    <a:lnTo>
                      <a:pt x="184241" y="29430"/>
                    </a:lnTo>
                    <a:lnTo>
                      <a:pt x="178744" y="36344"/>
                    </a:lnTo>
                    <a:lnTo>
                      <a:pt x="179517" y="38876"/>
                    </a:lnTo>
                    <a:lnTo>
                      <a:pt x="184895" y="44385"/>
                    </a:lnTo>
                    <a:lnTo>
                      <a:pt x="185912" y="49456"/>
                    </a:lnTo>
                    <a:lnTo>
                      <a:pt x="181199" y="53806"/>
                    </a:lnTo>
                    <a:lnTo>
                      <a:pt x="177967" y="63316"/>
                    </a:lnTo>
                    <a:lnTo>
                      <a:pt x="169320" y="66583"/>
                    </a:lnTo>
                    <a:lnTo>
                      <a:pt x="169325" y="69446"/>
                    </a:lnTo>
                    <a:lnTo>
                      <a:pt x="173632" y="80076"/>
                    </a:lnTo>
                    <a:lnTo>
                      <a:pt x="173933" y="87710"/>
                    </a:lnTo>
                    <a:lnTo>
                      <a:pt x="169173" y="93657"/>
                    </a:lnTo>
                    <a:lnTo>
                      <a:pt x="167122" y="101026"/>
                    </a:lnTo>
                    <a:lnTo>
                      <a:pt x="164408" y="105427"/>
                    </a:lnTo>
                    <a:lnTo>
                      <a:pt x="167894" y="107269"/>
                    </a:lnTo>
                    <a:lnTo>
                      <a:pt x="171733" y="113447"/>
                    </a:lnTo>
                    <a:lnTo>
                      <a:pt x="177217" y="117021"/>
                    </a:lnTo>
                    <a:lnTo>
                      <a:pt x="178512" y="112985"/>
                    </a:lnTo>
                    <a:lnTo>
                      <a:pt x="180753" y="110902"/>
                    </a:lnTo>
                    <a:lnTo>
                      <a:pt x="188936" y="115834"/>
                    </a:lnTo>
                    <a:lnTo>
                      <a:pt x="191687" y="113323"/>
                    </a:lnTo>
                    <a:lnTo>
                      <a:pt x="195530" y="116534"/>
                    </a:lnTo>
                    <a:lnTo>
                      <a:pt x="201569" y="118093"/>
                    </a:lnTo>
                    <a:lnTo>
                      <a:pt x="203050" y="122936"/>
                    </a:lnTo>
                    <a:lnTo>
                      <a:pt x="207327" y="124534"/>
                    </a:lnTo>
                    <a:lnTo>
                      <a:pt x="208681" y="126951"/>
                    </a:lnTo>
                    <a:lnTo>
                      <a:pt x="203921" y="129708"/>
                    </a:lnTo>
                    <a:lnTo>
                      <a:pt x="195832" y="141358"/>
                    </a:lnTo>
                    <a:lnTo>
                      <a:pt x="188945" y="139923"/>
                    </a:lnTo>
                    <a:lnTo>
                      <a:pt x="184272" y="143957"/>
                    </a:lnTo>
                    <a:lnTo>
                      <a:pt x="184121" y="145659"/>
                    </a:lnTo>
                    <a:lnTo>
                      <a:pt x="187799" y="147492"/>
                    </a:lnTo>
                    <a:lnTo>
                      <a:pt x="192859" y="154584"/>
                    </a:lnTo>
                    <a:lnTo>
                      <a:pt x="193570" y="160316"/>
                    </a:lnTo>
                    <a:lnTo>
                      <a:pt x="192105" y="164692"/>
                    </a:lnTo>
                    <a:lnTo>
                      <a:pt x="189359" y="164853"/>
                    </a:lnTo>
                    <a:lnTo>
                      <a:pt x="180903" y="157300"/>
                    </a:lnTo>
                    <a:lnTo>
                      <a:pt x="174928" y="156147"/>
                    </a:lnTo>
                    <a:lnTo>
                      <a:pt x="171562" y="157917"/>
                    </a:lnTo>
                    <a:lnTo>
                      <a:pt x="165989" y="156772"/>
                    </a:lnTo>
                    <a:lnTo>
                      <a:pt x="159290" y="158491"/>
                    </a:lnTo>
                    <a:lnTo>
                      <a:pt x="145381" y="168761"/>
                    </a:lnTo>
                    <a:lnTo>
                      <a:pt x="135714" y="165969"/>
                    </a:lnTo>
                    <a:lnTo>
                      <a:pt x="127678" y="166121"/>
                    </a:lnTo>
                    <a:lnTo>
                      <a:pt x="122081" y="171002"/>
                    </a:lnTo>
                    <a:lnTo>
                      <a:pt x="118874" y="166835"/>
                    </a:lnTo>
                    <a:lnTo>
                      <a:pt x="125305" y="153014"/>
                    </a:lnTo>
                    <a:lnTo>
                      <a:pt x="113600" y="153860"/>
                    </a:lnTo>
                    <a:lnTo>
                      <a:pt x="112271" y="156431"/>
                    </a:lnTo>
                    <a:lnTo>
                      <a:pt x="111099" y="166580"/>
                    </a:lnTo>
                    <a:lnTo>
                      <a:pt x="115036" y="171248"/>
                    </a:lnTo>
                    <a:lnTo>
                      <a:pt x="111606" y="174053"/>
                    </a:lnTo>
                    <a:lnTo>
                      <a:pt x="103741" y="173026"/>
                    </a:lnTo>
                    <a:lnTo>
                      <a:pt x="97762" y="183315"/>
                    </a:lnTo>
                    <a:lnTo>
                      <a:pt x="93645" y="183918"/>
                    </a:lnTo>
                    <a:lnTo>
                      <a:pt x="80370" y="179987"/>
                    </a:lnTo>
                    <a:lnTo>
                      <a:pt x="77583" y="172824"/>
                    </a:lnTo>
                    <a:lnTo>
                      <a:pt x="72157" y="164301"/>
                    </a:lnTo>
                    <a:lnTo>
                      <a:pt x="69835" y="164731"/>
                    </a:lnTo>
                    <a:lnTo>
                      <a:pt x="69874" y="159253"/>
                    </a:lnTo>
                    <a:lnTo>
                      <a:pt x="69728" y="149432"/>
                    </a:lnTo>
                    <a:lnTo>
                      <a:pt x="70196" y="140580"/>
                    </a:lnTo>
                    <a:lnTo>
                      <a:pt x="70101" y="134185"/>
                    </a:lnTo>
                    <a:lnTo>
                      <a:pt x="69730" y="129296"/>
                    </a:lnTo>
                    <a:lnTo>
                      <a:pt x="67223" y="123430"/>
                    </a:lnTo>
                    <a:lnTo>
                      <a:pt x="63574" y="121511"/>
                    </a:lnTo>
                    <a:lnTo>
                      <a:pt x="59631" y="120097"/>
                    </a:lnTo>
                    <a:lnTo>
                      <a:pt x="56549" y="115731"/>
                    </a:lnTo>
                    <a:lnTo>
                      <a:pt x="55267" y="110339"/>
                    </a:lnTo>
                    <a:lnTo>
                      <a:pt x="55149" y="101990"/>
                    </a:lnTo>
                    <a:lnTo>
                      <a:pt x="55905" y="91654"/>
                    </a:lnTo>
                    <a:lnTo>
                      <a:pt x="53723" y="86296"/>
                    </a:lnTo>
                    <a:lnTo>
                      <a:pt x="47985" y="84896"/>
                    </a:lnTo>
                    <a:lnTo>
                      <a:pt x="43730" y="82496"/>
                    </a:lnTo>
                    <a:lnTo>
                      <a:pt x="43098" y="80046"/>
                    </a:lnTo>
                    <a:lnTo>
                      <a:pt x="44537" y="75111"/>
                    </a:lnTo>
                    <a:lnTo>
                      <a:pt x="45996" y="71656"/>
                    </a:lnTo>
                    <a:lnTo>
                      <a:pt x="39647" y="69294"/>
                    </a:lnTo>
                    <a:lnTo>
                      <a:pt x="36335" y="69338"/>
                    </a:lnTo>
                    <a:lnTo>
                      <a:pt x="33061" y="71830"/>
                    </a:lnTo>
                    <a:lnTo>
                      <a:pt x="30680" y="74803"/>
                    </a:lnTo>
                    <a:lnTo>
                      <a:pt x="27416" y="77796"/>
                    </a:lnTo>
                    <a:lnTo>
                      <a:pt x="22004" y="78357"/>
                    </a:lnTo>
                    <a:lnTo>
                      <a:pt x="14784" y="78445"/>
                    </a:lnTo>
                    <a:lnTo>
                      <a:pt x="8767" y="78516"/>
                    </a:lnTo>
                    <a:lnTo>
                      <a:pt x="6014" y="74609"/>
                    </a:lnTo>
                    <a:lnTo>
                      <a:pt x="6552" y="69214"/>
                    </a:lnTo>
                    <a:lnTo>
                      <a:pt x="6502" y="64792"/>
                    </a:lnTo>
                    <a:lnTo>
                      <a:pt x="2835" y="59424"/>
                    </a:lnTo>
                    <a:lnTo>
                      <a:pt x="0" y="47670"/>
                    </a:lnTo>
                    <a:lnTo>
                      <a:pt x="450" y="44052"/>
                    </a:lnTo>
                    <a:lnTo>
                      <a:pt x="6200" y="47087"/>
                    </a:lnTo>
                    <a:lnTo>
                      <a:pt x="7718" y="48984"/>
                    </a:lnTo>
                    <a:lnTo>
                      <a:pt x="8286" y="53213"/>
                    </a:lnTo>
                    <a:lnTo>
                      <a:pt x="10628" y="54241"/>
                    </a:lnTo>
                    <a:lnTo>
                      <a:pt x="20480" y="52858"/>
                    </a:lnTo>
                    <a:lnTo>
                      <a:pt x="22395" y="44544"/>
                    </a:lnTo>
                    <a:lnTo>
                      <a:pt x="27406" y="40878"/>
                    </a:lnTo>
                    <a:lnTo>
                      <a:pt x="35001" y="45764"/>
                    </a:lnTo>
                    <a:lnTo>
                      <a:pt x="39344" y="45509"/>
                    </a:lnTo>
                    <a:lnTo>
                      <a:pt x="40844" y="41658"/>
                    </a:lnTo>
                    <a:lnTo>
                      <a:pt x="39286" y="36586"/>
                    </a:lnTo>
                    <a:lnTo>
                      <a:pt x="40289" y="34025"/>
                    </a:lnTo>
                    <a:lnTo>
                      <a:pt x="54140" y="31502"/>
                    </a:lnTo>
                    <a:lnTo>
                      <a:pt x="56824" y="29015"/>
                    </a:lnTo>
                    <a:lnTo>
                      <a:pt x="56981" y="25617"/>
                    </a:lnTo>
                    <a:lnTo>
                      <a:pt x="58622" y="23678"/>
                    </a:lnTo>
                    <a:lnTo>
                      <a:pt x="75197" y="23031"/>
                    </a:lnTo>
                    <a:lnTo>
                      <a:pt x="73299" y="21125"/>
                    </a:lnTo>
                    <a:lnTo>
                      <a:pt x="67741" y="8200"/>
                    </a:lnTo>
                    <a:lnTo>
                      <a:pt x="70244" y="4094"/>
                    </a:lnTo>
                    <a:lnTo>
                      <a:pt x="78363" y="5350"/>
                    </a:lnTo>
                    <a:lnTo>
                      <a:pt x="82614" y="0"/>
                    </a:lnTo>
                    <a:lnTo>
                      <a:pt x="88624" y="3051"/>
                    </a:lnTo>
                    <a:lnTo>
                      <a:pt x="97948" y="321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81" name="Freeform 229">
                <a:extLst>
                  <a:ext uri="{FF2B5EF4-FFF2-40B4-BE49-F238E27FC236}">
                    <a16:creationId xmlns:a16="http://schemas.microsoft.com/office/drawing/2014/main" id="{793198B5-D8E5-FA84-5751-71A724F5D04C}"/>
                  </a:ext>
                </a:extLst>
              </p:cNvPr>
              <p:cNvSpPr>
                <a:spLocks noChangeAspect="1"/>
              </p:cNvSpPr>
              <p:nvPr>
                <p:custDataLst>
                  <p:tags r:id="rId154"/>
                </p:custDataLst>
              </p:nvPr>
            </p:nvSpPr>
            <p:spPr>
              <a:xfrm>
                <a:off x="4752589" y="4476030"/>
                <a:ext cx="197493" cy="295683"/>
              </a:xfrm>
              <a:custGeom>
                <a:avLst/>
                <a:gdLst/>
                <a:ahLst/>
                <a:cxnLst/>
                <a:rect l="0" t="0" r="0" b="0"/>
                <a:pathLst>
                  <a:path w="202772" h="303587">
                    <a:moveTo>
                      <a:pt x="192986" y="200767"/>
                    </a:moveTo>
                    <a:lnTo>
                      <a:pt x="196166" y="196755"/>
                    </a:lnTo>
                    <a:lnTo>
                      <a:pt x="198120" y="199905"/>
                    </a:lnTo>
                    <a:lnTo>
                      <a:pt x="201985" y="200002"/>
                    </a:lnTo>
                    <a:lnTo>
                      <a:pt x="202771" y="203062"/>
                    </a:lnTo>
                    <a:lnTo>
                      <a:pt x="198150" y="211141"/>
                    </a:lnTo>
                    <a:lnTo>
                      <a:pt x="191253" y="216414"/>
                    </a:lnTo>
                    <a:lnTo>
                      <a:pt x="190912" y="218121"/>
                    </a:lnTo>
                    <a:lnTo>
                      <a:pt x="193091" y="222747"/>
                    </a:lnTo>
                    <a:lnTo>
                      <a:pt x="190879" y="229695"/>
                    </a:lnTo>
                    <a:lnTo>
                      <a:pt x="190938" y="237336"/>
                    </a:lnTo>
                    <a:lnTo>
                      <a:pt x="189023" y="240466"/>
                    </a:lnTo>
                    <a:lnTo>
                      <a:pt x="183904" y="242195"/>
                    </a:lnTo>
                    <a:lnTo>
                      <a:pt x="163425" y="241310"/>
                    </a:lnTo>
                    <a:lnTo>
                      <a:pt x="157870" y="242982"/>
                    </a:lnTo>
                    <a:lnTo>
                      <a:pt x="154970" y="238527"/>
                    </a:lnTo>
                    <a:lnTo>
                      <a:pt x="149067" y="237281"/>
                    </a:lnTo>
                    <a:lnTo>
                      <a:pt x="145231" y="238533"/>
                    </a:lnTo>
                    <a:lnTo>
                      <a:pt x="139785" y="243335"/>
                    </a:lnTo>
                    <a:lnTo>
                      <a:pt x="138418" y="242833"/>
                    </a:lnTo>
                    <a:lnTo>
                      <a:pt x="135117" y="239292"/>
                    </a:lnTo>
                    <a:lnTo>
                      <a:pt x="133809" y="232320"/>
                    </a:lnTo>
                    <a:lnTo>
                      <a:pt x="129963" y="227526"/>
                    </a:lnTo>
                    <a:lnTo>
                      <a:pt x="129516" y="215323"/>
                    </a:lnTo>
                    <a:lnTo>
                      <a:pt x="120753" y="209467"/>
                    </a:lnTo>
                    <a:lnTo>
                      <a:pt x="119202" y="209499"/>
                    </a:lnTo>
                    <a:lnTo>
                      <a:pt x="117905" y="211965"/>
                    </a:lnTo>
                    <a:lnTo>
                      <a:pt x="118288" y="218010"/>
                    </a:lnTo>
                    <a:lnTo>
                      <a:pt x="116786" y="220155"/>
                    </a:lnTo>
                    <a:lnTo>
                      <a:pt x="99936" y="228673"/>
                    </a:lnTo>
                    <a:lnTo>
                      <a:pt x="94129" y="228264"/>
                    </a:lnTo>
                    <a:lnTo>
                      <a:pt x="90589" y="231936"/>
                    </a:lnTo>
                    <a:lnTo>
                      <a:pt x="83185" y="222105"/>
                    </a:lnTo>
                    <a:lnTo>
                      <a:pt x="75428" y="224047"/>
                    </a:lnTo>
                    <a:lnTo>
                      <a:pt x="73462" y="225781"/>
                    </a:lnTo>
                    <a:lnTo>
                      <a:pt x="72515" y="230469"/>
                    </a:lnTo>
                    <a:lnTo>
                      <a:pt x="64153" y="235506"/>
                    </a:lnTo>
                    <a:lnTo>
                      <a:pt x="62870" y="239675"/>
                    </a:lnTo>
                    <a:lnTo>
                      <a:pt x="59646" y="243443"/>
                    </a:lnTo>
                    <a:lnTo>
                      <a:pt x="65785" y="247897"/>
                    </a:lnTo>
                    <a:lnTo>
                      <a:pt x="69865" y="255881"/>
                    </a:lnTo>
                    <a:lnTo>
                      <a:pt x="75082" y="255054"/>
                    </a:lnTo>
                    <a:lnTo>
                      <a:pt x="77174" y="256496"/>
                    </a:lnTo>
                    <a:lnTo>
                      <a:pt x="75532" y="262057"/>
                    </a:lnTo>
                    <a:lnTo>
                      <a:pt x="75435" y="267676"/>
                    </a:lnTo>
                    <a:lnTo>
                      <a:pt x="65519" y="273264"/>
                    </a:lnTo>
                    <a:lnTo>
                      <a:pt x="70006" y="282218"/>
                    </a:lnTo>
                    <a:lnTo>
                      <a:pt x="71555" y="303001"/>
                    </a:lnTo>
                    <a:lnTo>
                      <a:pt x="67541" y="303586"/>
                    </a:lnTo>
                    <a:lnTo>
                      <a:pt x="55927" y="298478"/>
                    </a:lnTo>
                    <a:lnTo>
                      <a:pt x="46603" y="298319"/>
                    </a:lnTo>
                    <a:lnTo>
                      <a:pt x="40593" y="295268"/>
                    </a:lnTo>
                    <a:lnTo>
                      <a:pt x="41181" y="291397"/>
                    </a:lnTo>
                    <a:lnTo>
                      <a:pt x="37500" y="283500"/>
                    </a:lnTo>
                    <a:lnTo>
                      <a:pt x="37516" y="280321"/>
                    </a:lnTo>
                    <a:lnTo>
                      <a:pt x="40683" y="272195"/>
                    </a:lnTo>
                    <a:lnTo>
                      <a:pt x="47385" y="266991"/>
                    </a:lnTo>
                    <a:lnTo>
                      <a:pt x="47862" y="260841"/>
                    </a:lnTo>
                    <a:lnTo>
                      <a:pt x="44358" y="255588"/>
                    </a:lnTo>
                    <a:lnTo>
                      <a:pt x="48010" y="250119"/>
                    </a:lnTo>
                    <a:lnTo>
                      <a:pt x="43721" y="244444"/>
                    </a:lnTo>
                    <a:lnTo>
                      <a:pt x="34033" y="239307"/>
                    </a:lnTo>
                    <a:lnTo>
                      <a:pt x="33788" y="236331"/>
                    </a:lnTo>
                    <a:lnTo>
                      <a:pt x="35601" y="232589"/>
                    </a:lnTo>
                    <a:lnTo>
                      <a:pt x="44208" y="234464"/>
                    </a:lnTo>
                    <a:lnTo>
                      <a:pt x="50988" y="230954"/>
                    </a:lnTo>
                    <a:lnTo>
                      <a:pt x="53153" y="221678"/>
                    </a:lnTo>
                    <a:lnTo>
                      <a:pt x="52020" y="216286"/>
                    </a:lnTo>
                    <a:lnTo>
                      <a:pt x="52688" y="213204"/>
                    </a:lnTo>
                    <a:lnTo>
                      <a:pt x="51903" y="209279"/>
                    </a:lnTo>
                    <a:lnTo>
                      <a:pt x="49034" y="206682"/>
                    </a:lnTo>
                    <a:lnTo>
                      <a:pt x="37556" y="205290"/>
                    </a:lnTo>
                    <a:lnTo>
                      <a:pt x="34812" y="202885"/>
                    </a:lnTo>
                    <a:lnTo>
                      <a:pt x="33448" y="197595"/>
                    </a:lnTo>
                    <a:lnTo>
                      <a:pt x="34731" y="189302"/>
                    </a:lnTo>
                    <a:lnTo>
                      <a:pt x="34338" y="184845"/>
                    </a:lnTo>
                    <a:lnTo>
                      <a:pt x="30004" y="179602"/>
                    </a:lnTo>
                    <a:lnTo>
                      <a:pt x="19406" y="166713"/>
                    </a:lnTo>
                    <a:lnTo>
                      <a:pt x="19005" y="165455"/>
                    </a:lnTo>
                    <a:lnTo>
                      <a:pt x="21339" y="162123"/>
                    </a:lnTo>
                    <a:lnTo>
                      <a:pt x="19396" y="157156"/>
                    </a:lnTo>
                    <a:lnTo>
                      <a:pt x="12797" y="151646"/>
                    </a:lnTo>
                    <a:lnTo>
                      <a:pt x="11800" y="150802"/>
                    </a:lnTo>
                    <a:lnTo>
                      <a:pt x="16977" y="145306"/>
                    </a:lnTo>
                    <a:lnTo>
                      <a:pt x="19537" y="127655"/>
                    </a:lnTo>
                    <a:lnTo>
                      <a:pt x="16072" y="127490"/>
                    </a:lnTo>
                    <a:lnTo>
                      <a:pt x="3804" y="134044"/>
                    </a:lnTo>
                    <a:lnTo>
                      <a:pt x="255" y="127400"/>
                    </a:lnTo>
                    <a:lnTo>
                      <a:pt x="0" y="123158"/>
                    </a:lnTo>
                    <a:lnTo>
                      <a:pt x="1703" y="116993"/>
                    </a:lnTo>
                    <a:lnTo>
                      <a:pt x="6964" y="107876"/>
                    </a:lnTo>
                    <a:lnTo>
                      <a:pt x="12450" y="102821"/>
                    </a:lnTo>
                    <a:lnTo>
                      <a:pt x="16994" y="102646"/>
                    </a:lnTo>
                    <a:lnTo>
                      <a:pt x="18168" y="99972"/>
                    </a:lnTo>
                    <a:lnTo>
                      <a:pt x="19509" y="95706"/>
                    </a:lnTo>
                    <a:lnTo>
                      <a:pt x="19372" y="90930"/>
                    </a:lnTo>
                    <a:lnTo>
                      <a:pt x="17794" y="87557"/>
                    </a:lnTo>
                    <a:lnTo>
                      <a:pt x="15961" y="87417"/>
                    </a:lnTo>
                    <a:lnTo>
                      <a:pt x="18753" y="83297"/>
                    </a:lnTo>
                    <a:lnTo>
                      <a:pt x="16822" y="69207"/>
                    </a:lnTo>
                    <a:lnTo>
                      <a:pt x="18583" y="63455"/>
                    </a:lnTo>
                    <a:lnTo>
                      <a:pt x="25516" y="61869"/>
                    </a:lnTo>
                    <a:lnTo>
                      <a:pt x="32267" y="52945"/>
                    </a:lnTo>
                    <a:lnTo>
                      <a:pt x="39928" y="53464"/>
                    </a:lnTo>
                    <a:lnTo>
                      <a:pt x="45813" y="50918"/>
                    </a:lnTo>
                    <a:lnTo>
                      <a:pt x="46441" y="50137"/>
                    </a:lnTo>
                    <a:lnTo>
                      <a:pt x="48337" y="54646"/>
                    </a:lnTo>
                    <a:lnTo>
                      <a:pt x="50022" y="61698"/>
                    </a:lnTo>
                    <a:lnTo>
                      <a:pt x="51771" y="72855"/>
                    </a:lnTo>
                    <a:lnTo>
                      <a:pt x="54501" y="87717"/>
                    </a:lnTo>
                    <a:lnTo>
                      <a:pt x="56907" y="96619"/>
                    </a:lnTo>
                    <a:lnTo>
                      <a:pt x="62413" y="103603"/>
                    </a:lnTo>
                    <a:lnTo>
                      <a:pt x="70313" y="106077"/>
                    </a:lnTo>
                    <a:lnTo>
                      <a:pt x="77714" y="105190"/>
                    </a:lnTo>
                    <a:lnTo>
                      <a:pt x="81477" y="101762"/>
                    </a:lnTo>
                    <a:lnTo>
                      <a:pt x="82482" y="95404"/>
                    </a:lnTo>
                    <a:lnTo>
                      <a:pt x="80520" y="86496"/>
                    </a:lnTo>
                    <a:lnTo>
                      <a:pt x="74439" y="73202"/>
                    </a:lnTo>
                    <a:lnTo>
                      <a:pt x="68415" y="62864"/>
                    </a:lnTo>
                    <a:lnTo>
                      <a:pt x="63396" y="57367"/>
                    </a:lnTo>
                    <a:lnTo>
                      <a:pt x="58350" y="50742"/>
                    </a:lnTo>
                    <a:lnTo>
                      <a:pt x="55148" y="39384"/>
                    </a:lnTo>
                    <a:lnTo>
                      <a:pt x="65721" y="26263"/>
                    </a:lnTo>
                    <a:lnTo>
                      <a:pt x="70983" y="25100"/>
                    </a:lnTo>
                    <a:lnTo>
                      <a:pt x="71819" y="22222"/>
                    </a:lnTo>
                    <a:lnTo>
                      <a:pt x="69640" y="17601"/>
                    </a:lnTo>
                    <a:lnTo>
                      <a:pt x="70062" y="16113"/>
                    </a:lnTo>
                    <a:lnTo>
                      <a:pt x="73037" y="15624"/>
                    </a:lnTo>
                    <a:lnTo>
                      <a:pt x="78458" y="19037"/>
                    </a:lnTo>
                    <a:lnTo>
                      <a:pt x="86093" y="18892"/>
                    </a:lnTo>
                    <a:lnTo>
                      <a:pt x="94604" y="11497"/>
                    </a:lnTo>
                    <a:lnTo>
                      <a:pt x="100314" y="10849"/>
                    </a:lnTo>
                    <a:lnTo>
                      <a:pt x="106721" y="2603"/>
                    </a:lnTo>
                    <a:lnTo>
                      <a:pt x="112239" y="0"/>
                    </a:lnTo>
                    <a:lnTo>
                      <a:pt x="117031" y="7107"/>
                    </a:lnTo>
                    <a:lnTo>
                      <a:pt x="134486" y="13837"/>
                    </a:lnTo>
                    <a:lnTo>
                      <a:pt x="142038" y="18762"/>
                    </a:lnTo>
                    <a:lnTo>
                      <a:pt x="146864" y="24181"/>
                    </a:lnTo>
                    <a:lnTo>
                      <a:pt x="148019" y="26802"/>
                    </a:lnTo>
                    <a:lnTo>
                      <a:pt x="148090" y="35608"/>
                    </a:lnTo>
                    <a:lnTo>
                      <a:pt x="154711" y="46287"/>
                    </a:lnTo>
                    <a:lnTo>
                      <a:pt x="153863" y="53742"/>
                    </a:lnTo>
                    <a:lnTo>
                      <a:pt x="155718" y="64837"/>
                    </a:lnTo>
                    <a:lnTo>
                      <a:pt x="157015" y="68520"/>
                    </a:lnTo>
                    <a:lnTo>
                      <a:pt x="160866" y="72152"/>
                    </a:lnTo>
                    <a:lnTo>
                      <a:pt x="161518" y="80639"/>
                    </a:lnTo>
                    <a:lnTo>
                      <a:pt x="158858" y="87376"/>
                    </a:lnTo>
                    <a:lnTo>
                      <a:pt x="146524" y="95732"/>
                    </a:lnTo>
                    <a:lnTo>
                      <a:pt x="146900" y="101559"/>
                    </a:lnTo>
                    <a:lnTo>
                      <a:pt x="145700" y="107749"/>
                    </a:lnTo>
                    <a:lnTo>
                      <a:pt x="144142" y="109700"/>
                    </a:lnTo>
                    <a:lnTo>
                      <a:pt x="140374" y="109992"/>
                    </a:lnTo>
                    <a:lnTo>
                      <a:pt x="140416" y="117525"/>
                    </a:lnTo>
                    <a:lnTo>
                      <a:pt x="143735" y="122872"/>
                    </a:lnTo>
                    <a:lnTo>
                      <a:pt x="144566" y="128589"/>
                    </a:lnTo>
                    <a:lnTo>
                      <a:pt x="150089" y="129214"/>
                    </a:lnTo>
                    <a:lnTo>
                      <a:pt x="152980" y="131793"/>
                    </a:lnTo>
                    <a:lnTo>
                      <a:pt x="160541" y="131832"/>
                    </a:lnTo>
                    <a:lnTo>
                      <a:pt x="165163" y="137647"/>
                    </a:lnTo>
                    <a:lnTo>
                      <a:pt x="168616" y="139597"/>
                    </a:lnTo>
                    <a:lnTo>
                      <a:pt x="189482" y="140659"/>
                    </a:lnTo>
                    <a:lnTo>
                      <a:pt x="194706" y="144564"/>
                    </a:lnTo>
                    <a:lnTo>
                      <a:pt x="198949" y="151988"/>
                    </a:lnTo>
                    <a:lnTo>
                      <a:pt x="193494" y="157028"/>
                    </a:lnTo>
                    <a:lnTo>
                      <a:pt x="190466" y="166962"/>
                    </a:lnTo>
                    <a:lnTo>
                      <a:pt x="180581" y="172523"/>
                    </a:lnTo>
                    <a:lnTo>
                      <a:pt x="174443" y="184959"/>
                    </a:lnTo>
                    <a:lnTo>
                      <a:pt x="178932" y="189232"/>
                    </a:lnTo>
                    <a:lnTo>
                      <a:pt x="187237" y="192105"/>
                    </a:lnTo>
                    <a:lnTo>
                      <a:pt x="188790" y="200342"/>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83" name="Freeform 230">
                <a:extLst>
                  <a:ext uri="{FF2B5EF4-FFF2-40B4-BE49-F238E27FC236}">
                    <a16:creationId xmlns:a16="http://schemas.microsoft.com/office/drawing/2014/main" id="{278F7283-FF35-E2AB-1782-F4C02F04E016}"/>
                  </a:ext>
                </a:extLst>
              </p:cNvPr>
              <p:cNvSpPr>
                <a:spLocks noChangeAspect="1"/>
              </p:cNvSpPr>
              <p:nvPr>
                <p:custDataLst>
                  <p:tags r:id="rId155"/>
                </p:custDataLst>
              </p:nvPr>
            </p:nvSpPr>
            <p:spPr>
              <a:xfrm>
                <a:off x="4797821" y="4514389"/>
                <a:ext cx="35104" cy="64958"/>
              </a:xfrm>
              <a:custGeom>
                <a:avLst/>
                <a:gdLst/>
                <a:ahLst/>
                <a:cxnLst/>
                <a:rect l="0" t="0" r="0" b="0"/>
                <a:pathLst>
                  <a:path w="36042" h="66694">
                    <a:moveTo>
                      <a:pt x="23872" y="66693"/>
                    </a:moveTo>
                    <a:lnTo>
                      <a:pt x="15972" y="64219"/>
                    </a:lnTo>
                    <a:lnTo>
                      <a:pt x="10466" y="57235"/>
                    </a:lnTo>
                    <a:lnTo>
                      <a:pt x="8060" y="48333"/>
                    </a:lnTo>
                    <a:lnTo>
                      <a:pt x="5330" y="33471"/>
                    </a:lnTo>
                    <a:lnTo>
                      <a:pt x="3581" y="22314"/>
                    </a:lnTo>
                    <a:lnTo>
                      <a:pt x="1896" y="15262"/>
                    </a:lnTo>
                    <a:lnTo>
                      <a:pt x="0" y="10753"/>
                    </a:lnTo>
                    <a:lnTo>
                      <a:pt x="8707" y="0"/>
                    </a:lnTo>
                    <a:lnTo>
                      <a:pt x="11909" y="11358"/>
                    </a:lnTo>
                    <a:lnTo>
                      <a:pt x="16955" y="17983"/>
                    </a:lnTo>
                    <a:lnTo>
                      <a:pt x="21974" y="23480"/>
                    </a:lnTo>
                    <a:lnTo>
                      <a:pt x="27998" y="33818"/>
                    </a:lnTo>
                    <a:lnTo>
                      <a:pt x="34079" y="47112"/>
                    </a:lnTo>
                    <a:lnTo>
                      <a:pt x="36041" y="56020"/>
                    </a:lnTo>
                    <a:lnTo>
                      <a:pt x="35036" y="62378"/>
                    </a:lnTo>
                    <a:lnTo>
                      <a:pt x="31273" y="6580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84" name="Freeform 231">
                <a:extLst>
                  <a:ext uri="{FF2B5EF4-FFF2-40B4-BE49-F238E27FC236}">
                    <a16:creationId xmlns:a16="http://schemas.microsoft.com/office/drawing/2014/main" id="{A7A253BD-FF3C-51D3-6965-52A38860040C}"/>
                  </a:ext>
                </a:extLst>
              </p:cNvPr>
              <p:cNvSpPr>
                <a:spLocks noChangeAspect="1"/>
              </p:cNvSpPr>
              <p:nvPr>
                <p:custDataLst>
                  <p:tags r:id="rId156"/>
                </p:custDataLst>
              </p:nvPr>
            </p:nvSpPr>
            <p:spPr>
              <a:xfrm>
                <a:off x="4581355" y="4561171"/>
                <a:ext cx="223005" cy="256139"/>
              </a:xfrm>
              <a:custGeom>
                <a:avLst/>
                <a:gdLst/>
                <a:ahLst/>
                <a:cxnLst/>
                <a:rect l="0" t="0" r="0" b="0"/>
                <a:pathLst>
                  <a:path w="228966" h="262986">
                    <a:moveTo>
                      <a:pt x="179616" y="46627"/>
                    </a:moveTo>
                    <a:lnTo>
                      <a:pt x="191884" y="40073"/>
                    </a:lnTo>
                    <a:lnTo>
                      <a:pt x="195349" y="40238"/>
                    </a:lnTo>
                    <a:lnTo>
                      <a:pt x="192789" y="57889"/>
                    </a:lnTo>
                    <a:lnTo>
                      <a:pt x="187612" y="63385"/>
                    </a:lnTo>
                    <a:lnTo>
                      <a:pt x="188609" y="64229"/>
                    </a:lnTo>
                    <a:lnTo>
                      <a:pt x="183739" y="65919"/>
                    </a:lnTo>
                    <a:lnTo>
                      <a:pt x="171037" y="73440"/>
                    </a:lnTo>
                    <a:lnTo>
                      <a:pt x="156462" y="78805"/>
                    </a:lnTo>
                    <a:lnTo>
                      <a:pt x="144523" y="85446"/>
                    </a:lnTo>
                    <a:lnTo>
                      <a:pt x="131231" y="89054"/>
                    </a:lnTo>
                    <a:lnTo>
                      <a:pt x="127370" y="95137"/>
                    </a:lnTo>
                    <a:lnTo>
                      <a:pt x="132691" y="103294"/>
                    </a:lnTo>
                    <a:lnTo>
                      <a:pt x="147509" y="116507"/>
                    </a:lnTo>
                    <a:lnTo>
                      <a:pt x="163684" y="131863"/>
                    </a:lnTo>
                    <a:lnTo>
                      <a:pt x="174842" y="142514"/>
                    </a:lnTo>
                    <a:lnTo>
                      <a:pt x="180411" y="146327"/>
                    </a:lnTo>
                    <a:lnTo>
                      <a:pt x="183295" y="146287"/>
                    </a:lnTo>
                    <a:lnTo>
                      <a:pt x="185842" y="141057"/>
                    </a:lnTo>
                    <a:lnTo>
                      <a:pt x="189662" y="133223"/>
                    </a:lnTo>
                    <a:lnTo>
                      <a:pt x="193466" y="123670"/>
                    </a:lnTo>
                    <a:lnTo>
                      <a:pt x="202261" y="99348"/>
                    </a:lnTo>
                    <a:lnTo>
                      <a:pt x="205816" y="92185"/>
                    </a:lnTo>
                    <a:lnTo>
                      <a:pt x="210150" y="97428"/>
                    </a:lnTo>
                    <a:lnTo>
                      <a:pt x="210543" y="101885"/>
                    </a:lnTo>
                    <a:lnTo>
                      <a:pt x="209260" y="110178"/>
                    </a:lnTo>
                    <a:lnTo>
                      <a:pt x="210624" y="115468"/>
                    </a:lnTo>
                    <a:lnTo>
                      <a:pt x="213368" y="117873"/>
                    </a:lnTo>
                    <a:lnTo>
                      <a:pt x="224846" y="119265"/>
                    </a:lnTo>
                    <a:lnTo>
                      <a:pt x="227715" y="121862"/>
                    </a:lnTo>
                    <a:lnTo>
                      <a:pt x="228500" y="125787"/>
                    </a:lnTo>
                    <a:lnTo>
                      <a:pt x="227832" y="128869"/>
                    </a:lnTo>
                    <a:lnTo>
                      <a:pt x="228965" y="134261"/>
                    </a:lnTo>
                    <a:lnTo>
                      <a:pt x="226800" y="143537"/>
                    </a:lnTo>
                    <a:lnTo>
                      <a:pt x="220020" y="147047"/>
                    </a:lnTo>
                    <a:lnTo>
                      <a:pt x="211413" y="145172"/>
                    </a:lnTo>
                    <a:lnTo>
                      <a:pt x="209600" y="148914"/>
                    </a:lnTo>
                    <a:lnTo>
                      <a:pt x="209845" y="151890"/>
                    </a:lnTo>
                    <a:lnTo>
                      <a:pt x="219533" y="157027"/>
                    </a:lnTo>
                    <a:lnTo>
                      <a:pt x="223822" y="162702"/>
                    </a:lnTo>
                    <a:lnTo>
                      <a:pt x="220170" y="168171"/>
                    </a:lnTo>
                    <a:lnTo>
                      <a:pt x="223674" y="173424"/>
                    </a:lnTo>
                    <a:lnTo>
                      <a:pt x="223197" y="179574"/>
                    </a:lnTo>
                    <a:lnTo>
                      <a:pt x="216495" y="184778"/>
                    </a:lnTo>
                    <a:lnTo>
                      <a:pt x="213328" y="192904"/>
                    </a:lnTo>
                    <a:lnTo>
                      <a:pt x="213312" y="196083"/>
                    </a:lnTo>
                    <a:lnTo>
                      <a:pt x="216993" y="203980"/>
                    </a:lnTo>
                    <a:lnTo>
                      <a:pt x="216405" y="207851"/>
                    </a:lnTo>
                    <a:lnTo>
                      <a:pt x="212154" y="213201"/>
                    </a:lnTo>
                    <a:lnTo>
                      <a:pt x="204035" y="211945"/>
                    </a:lnTo>
                    <a:lnTo>
                      <a:pt x="201532" y="216051"/>
                    </a:lnTo>
                    <a:lnTo>
                      <a:pt x="207090" y="228976"/>
                    </a:lnTo>
                    <a:lnTo>
                      <a:pt x="208988" y="230882"/>
                    </a:lnTo>
                    <a:lnTo>
                      <a:pt x="192413" y="231529"/>
                    </a:lnTo>
                    <a:lnTo>
                      <a:pt x="190772" y="233468"/>
                    </a:lnTo>
                    <a:lnTo>
                      <a:pt x="190615" y="236866"/>
                    </a:lnTo>
                    <a:lnTo>
                      <a:pt x="187931" y="239353"/>
                    </a:lnTo>
                    <a:lnTo>
                      <a:pt x="174080" y="241876"/>
                    </a:lnTo>
                    <a:lnTo>
                      <a:pt x="173077" y="244437"/>
                    </a:lnTo>
                    <a:lnTo>
                      <a:pt x="174635" y="249509"/>
                    </a:lnTo>
                    <a:lnTo>
                      <a:pt x="173135" y="253360"/>
                    </a:lnTo>
                    <a:lnTo>
                      <a:pt x="168792" y="253615"/>
                    </a:lnTo>
                    <a:lnTo>
                      <a:pt x="161197" y="248729"/>
                    </a:lnTo>
                    <a:lnTo>
                      <a:pt x="156186" y="252395"/>
                    </a:lnTo>
                    <a:lnTo>
                      <a:pt x="154271" y="260709"/>
                    </a:lnTo>
                    <a:lnTo>
                      <a:pt x="144419" y="262092"/>
                    </a:lnTo>
                    <a:lnTo>
                      <a:pt x="142077" y="261064"/>
                    </a:lnTo>
                    <a:lnTo>
                      <a:pt x="141509" y="256835"/>
                    </a:lnTo>
                    <a:lnTo>
                      <a:pt x="139991" y="254938"/>
                    </a:lnTo>
                    <a:lnTo>
                      <a:pt x="134241" y="251903"/>
                    </a:lnTo>
                    <a:lnTo>
                      <a:pt x="131509" y="250462"/>
                    </a:lnTo>
                    <a:lnTo>
                      <a:pt x="128542" y="252933"/>
                    </a:lnTo>
                    <a:lnTo>
                      <a:pt x="126367" y="261880"/>
                    </a:lnTo>
                    <a:lnTo>
                      <a:pt x="121710" y="262985"/>
                    </a:lnTo>
                    <a:lnTo>
                      <a:pt x="109696" y="255139"/>
                    </a:lnTo>
                    <a:lnTo>
                      <a:pt x="113914" y="248741"/>
                    </a:lnTo>
                    <a:lnTo>
                      <a:pt x="112898" y="244822"/>
                    </a:lnTo>
                    <a:lnTo>
                      <a:pt x="101354" y="244398"/>
                    </a:lnTo>
                    <a:lnTo>
                      <a:pt x="99807" y="239319"/>
                    </a:lnTo>
                    <a:lnTo>
                      <a:pt x="96130" y="233942"/>
                    </a:lnTo>
                    <a:lnTo>
                      <a:pt x="87806" y="229770"/>
                    </a:lnTo>
                    <a:lnTo>
                      <a:pt x="80146" y="235990"/>
                    </a:lnTo>
                    <a:lnTo>
                      <a:pt x="73064" y="233912"/>
                    </a:lnTo>
                    <a:lnTo>
                      <a:pt x="72493" y="236581"/>
                    </a:lnTo>
                    <a:lnTo>
                      <a:pt x="74799" y="241006"/>
                    </a:lnTo>
                    <a:lnTo>
                      <a:pt x="69692" y="242959"/>
                    </a:lnTo>
                    <a:lnTo>
                      <a:pt x="66034" y="247762"/>
                    </a:lnTo>
                    <a:lnTo>
                      <a:pt x="60317" y="249124"/>
                    </a:lnTo>
                    <a:lnTo>
                      <a:pt x="60292" y="249130"/>
                    </a:lnTo>
                    <a:lnTo>
                      <a:pt x="33861" y="247225"/>
                    </a:lnTo>
                    <a:lnTo>
                      <a:pt x="32219" y="245802"/>
                    </a:lnTo>
                    <a:lnTo>
                      <a:pt x="26096" y="239049"/>
                    </a:lnTo>
                    <a:lnTo>
                      <a:pt x="17703" y="233114"/>
                    </a:lnTo>
                    <a:lnTo>
                      <a:pt x="11714" y="227432"/>
                    </a:lnTo>
                    <a:lnTo>
                      <a:pt x="3719" y="222158"/>
                    </a:lnTo>
                    <a:lnTo>
                      <a:pt x="2933" y="221213"/>
                    </a:lnTo>
                    <a:lnTo>
                      <a:pt x="2159" y="220091"/>
                    </a:lnTo>
                    <a:lnTo>
                      <a:pt x="1505" y="218809"/>
                    </a:lnTo>
                    <a:lnTo>
                      <a:pt x="861" y="216956"/>
                    </a:lnTo>
                    <a:lnTo>
                      <a:pt x="458" y="215288"/>
                    </a:lnTo>
                    <a:lnTo>
                      <a:pt x="16" y="212279"/>
                    </a:lnTo>
                    <a:lnTo>
                      <a:pt x="0" y="210819"/>
                    </a:lnTo>
                    <a:lnTo>
                      <a:pt x="103" y="209317"/>
                    </a:lnTo>
                    <a:lnTo>
                      <a:pt x="460" y="207817"/>
                    </a:lnTo>
                    <a:lnTo>
                      <a:pt x="3160" y="203209"/>
                    </a:lnTo>
                    <a:lnTo>
                      <a:pt x="4743" y="201368"/>
                    </a:lnTo>
                    <a:lnTo>
                      <a:pt x="5745" y="200633"/>
                    </a:lnTo>
                    <a:lnTo>
                      <a:pt x="16468" y="196311"/>
                    </a:lnTo>
                    <a:lnTo>
                      <a:pt x="22548" y="191971"/>
                    </a:lnTo>
                    <a:lnTo>
                      <a:pt x="24931" y="190983"/>
                    </a:lnTo>
                    <a:lnTo>
                      <a:pt x="42818" y="189749"/>
                    </a:lnTo>
                    <a:lnTo>
                      <a:pt x="44363" y="188684"/>
                    </a:lnTo>
                    <a:lnTo>
                      <a:pt x="46497" y="183479"/>
                    </a:lnTo>
                    <a:lnTo>
                      <a:pt x="52516" y="177905"/>
                    </a:lnTo>
                    <a:lnTo>
                      <a:pt x="54251" y="175792"/>
                    </a:lnTo>
                    <a:lnTo>
                      <a:pt x="55393" y="173949"/>
                    </a:lnTo>
                    <a:lnTo>
                      <a:pt x="55588" y="172506"/>
                    </a:lnTo>
                    <a:lnTo>
                      <a:pt x="55231" y="171057"/>
                    </a:lnTo>
                    <a:lnTo>
                      <a:pt x="54416" y="169463"/>
                    </a:lnTo>
                    <a:lnTo>
                      <a:pt x="48600" y="162807"/>
                    </a:lnTo>
                    <a:lnTo>
                      <a:pt x="47475" y="162438"/>
                    </a:lnTo>
                    <a:lnTo>
                      <a:pt x="46293" y="162494"/>
                    </a:lnTo>
                    <a:lnTo>
                      <a:pt x="45180" y="163083"/>
                    </a:lnTo>
                    <a:lnTo>
                      <a:pt x="40762" y="167569"/>
                    </a:lnTo>
                    <a:lnTo>
                      <a:pt x="34266" y="171247"/>
                    </a:lnTo>
                    <a:lnTo>
                      <a:pt x="33357" y="172060"/>
                    </a:lnTo>
                    <a:lnTo>
                      <a:pt x="32551" y="173022"/>
                    </a:lnTo>
                    <a:lnTo>
                      <a:pt x="31386" y="175505"/>
                    </a:lnTo>
                    <a:lnTo>
                      <a:pt x="30658" y="176615"/>
                    </a:lnTo>
                    <a:lnTo>
                      <a:pt x="29797" y="177527"/>
                    </a:lnTo>
                    <a:lnTo>
                      <a:pt x="28406" y="178135"/>
                    </a:lnTo>
                    <a:lnTo>
                      <a:pt x="26696" y="178459"/>
                    </a:lnTo>
                    <a:lnTo>
                      <a:pt x="24190" y="178361"/>
                    </a:lnTo>
                    <a:lnTo>
                      <a:pt x="23153" y="177586"/>
                    </a:lnTo>
                    <a:lnTo>
                      <a:pt x="23088" y="176522"/>
                    </a:lnTo>
                    <a:lnTo>
                      <a:pt x="24358" y="174295"/>
                    </a:lnTo>
                    <a:lnTo>
                      <a:pt x="24707" y="173019"/>
                    </a:lnTo>
                    <a:lnTo>
                      <a:pt x="24700" y="171539"/>
                    </a:lnTo>
                    <a:lnTo>
                      <a:pt x="24340" y="170296"/>
                    </a:lnTo>
                    <a:lnTo>
                      <a:pt x="23801" y="169134"/>
                    </a:lnTo>
                    <a:lnTo>
                      <a:pt x="21961" y="165875"/>
                    </a:lnTo>
                    <a:lnTo>
                      <a:pt x="21020" y="163253"/>
                    </a:lnTo>
                    <a:lnTo>
                      <a:pt x="20796" y="161526"/>
                    </a:lnTo>
                    <a:lnTo>
                      <a:pt x="20860" y="159375"/>
                    </a:lnTo>
                    <a:lnTo>
                      <a:pt x="21243" y="157734"/>
                    </a:lnTo>
                    <a:lnTo>
                      <a:pt x="21922" y="156557"/>
                    </a:lnTo>
                    <a:lnTo>
                      <a:pt x="22782" y="155684"/>
                    </a:lnTo>
                    <a:lnTo>
                      <a:pt x="29123" y="151726"/>
                    </a:lnTo>
                    <a:lnTo>
                      <a:pt x="31047" y="150019"/>
                    </a:lnTo>
                    <a:lnTo>
                      <a:pt x="32530" y="147861"/>
                    </a:lnTo>
                    <a:lnTo>
                      <a:pt x="33015" y="146595"/>
                    </a:lnTo>
                    <a:lnTo>
                      <a:pt x="33379" y="144845"/>
                    </a:lnTo>
                    <a:lnTo>
                      <a:pt x="34018" y="139631"/>
                    </a:lnTo>
                    <a:lnTo>
                      <a:pt x="34439" y="137565"/>
                    </a:lnTo>
                    <a:lnTo>
                      <a:pt x="35079" y="136071"/>
                    </a:lnTo>
                    <a:lnTo>
                      <a:pt x="35925" y="135179"/>
                    </a:lnTo>
                    <a:lnTo>
                      <a:pt x="40328" y="132529"/>
                    </a:lnTo>
                    <a:lnTo>
                      <a:pt x="41359" y="131496"/>
                    </a:lnTo>
                    <a:lnTo>
                      <a:pt x="42114" y="129498"/>
                    </a:lnTo>
                    <a:lnTo>
                      <a:pt x="42843" y="125931"/>
                    </a:lnTo>
                    <a:lnTo>
                      <a:pt x="42572" y="121155"/>
                    </a:lnTo>
                    <a:lnTo>
                      <a:pt x="42833" y="118636"/>
                    </a:lnTo>
                    <a:lnTo>
                      <a:pt x="43100" y="117154"/>
                    </a:lnTo>
                    <a:lnTo>
                      <a:pt x="44650" y="113837"/>
                    </a:lnTo>
                    <a:lnTo>
                      <a:pt x="45761" y="110267"/>
                    </a:lnTo>
                    <a:lnTo>
                      <a:pt x="46441" y="108942"/>
                    </a:lnTo>
                    <a:lnTo>
                      <a:pt x="47249" y="108009"/>
                    </a:lnTo>
                    <a:lnTo>
                      <a:pt x="48227" y="107440"/>
                    </a:lnTo>
                    <a:lnTo>
                      <a:pt x="49673" y="107056"/>
                    </a:lnTo>
                    <a:lnTo>
                      <a:pt x="54169" y="106663"/>
                    </a:lnTo>
                    <a:lnTo>
                      <a:pt x="55588" y="105815"/>
                    </a:lnTo>
                    <a:lnTo>
                      <a:pt x="57033" y="104484"/>
                    </a:lnTo>
                    <a:lnTo>
                      <a:pt x="58472" y="101344"/>
                    </a:lnTo>
                    <a:lnTo>
                      <a:pt x="58734" y="100177"/>
                    </a:lnTo>
                    <a:lnTo>
                      <a:pt x="58368" y="99173"/>
                    </a:lnTo>
                    <a:lnTo>
                      <a:pt x="54397" y="97185"/>
                    </a:lnTo>
                    <a:lnTo>
                      <a:pt x="53291" y="96225"/>
                    </a:lnTo>
                    <a:lnTo>
                      <a:pt x="52159" y="94919"/>
                    </a:lnTo>
                    <a:lnTo>
                      <a:pt x="49743" y="90680"/>
                    </a:lnTo>
                    <a:lnTo>
                      <a:pt x="49418" y="90345"/>
                    </a:lnTo>
                    <a:lnTo>
                      <a:pt x="48063" y="89563"/>
                    </a:lnTo>
                    <a:lnTo>
                      <a:pt x="42554" y="87750"/>
                    </a:lnTo>
                    <a:lnTo>
                      <a:pt x="36085" y="86896"/>
                    </a:lnTo>
                    <a:lnTo>
                      <a:pt x="34820" y="86054"/>
                    </a:lnTo>
                    <a:lnTo>
                      <a:pt x="33714" y="84836"/>
                    </a:lnTo>
                    <a:lnTo>
                      <a:pt x="32079" y="81694"/>
                    </a:lnTo>
                    <a:lnTo>
                      <a:pt x="31419" y="80968"/>
                    </a:lnTo>
                    <a:lnTo>
                      <a:pt x="30342" y="80499"/>
                    </a:lnTo>
                    <a:lnTo>
                      <a:pt x="23207" y="79939"/>
                    </a:lnTo>
                    <a:lnTo>
                      <a:pt x="19258" y="78111"/>
                    </a:lnTo>
                    <a:lnTo>
                      <a:pt x="16889" y="75554"/>
                    </a:lnTo>
                    <a:lnTo>
                      <a:pt x="16863" y="75474"/>
                    </a:lnTo>
                    <a:lnTo>
                      <a:pt x="14079" y="66839"/>
                    </a:lnTo>
                    <a:lnTo>
                      <a:pt x="14006" y="64963"/>
                    </a:lnTo>
                    <a:lnTo>
                      <a:pt x="14087" y="62692"/>
                    </a:lnTo>
                    <a:lnTo>
                      <a:pt x="14535" y="61358"/>
                    </a:lnTo>
                    <a:lnTo>
                      <a:pt x="15905" y="59111"/>
                    </a:lnTo>
                    <a:lnTo>
                      <a:pt x="16736" y="58082"/>
                    </a:lnTo>
                    <a:lnTo>
                      <a:pt x="19867" y="55058"/>
                    </a:lnTo>
                    <a:lnTo>
                      <a:pt x="21051" y="53078"/>
                    </a:lnTo>
                    <a:lnTo>
                      <a:pt x="21282" y="51489"/>
                    </a:lnTo>
                    <a:lnTo>
                      <a:pt x="21086" y="50147"/>
                    </a:lnTo>
                    <a:lnTo>
                      <a:pt x="20495" y="48491"/>
                    </a:lnTo>
                    <a:lnTo>
                      <a:pt x="20016" y="46647"/>
                    </a:lnTo>
                    <a:lnTo>
                      <a:pt x="19520" y="43499"/>
                    </a:lnTo>
                    <a:lnTo>
                      <a:pt x="19858" y="41742"/>
                    </a:lnTo>
                    <a:lnTo>
                      <a:pt x="20634" y="40485"/>
                    </a:lnTo>
                    <a:lnTo>
                      <a:pt x="23066" y="39507"/>
                    </a:lnTo>
                    <a:lnTo>
                      <a:pt x="24575" y="38472"/>
                    </a:lnTo>
                    <a:lnTo>
                      <a:pt x="26099" y="36798"/>
                    </a:lnTo>
                    <a:lnTo>
                      <a:pt x="27980" y="32721"/>
                    </a:lnTo>
                    <a:lnTo>
                      <a:pt x="29185" y="30633"/>
                    </a:lnTo>
                    <a:lnTo>
                      <a:pt x="30523" y="29076"/>
                    </a:lnTo>
                    <a:lnTo>
                      <a:pt x="33453" y="26811"/>
                    </a:lnTo>
                    <a:lnTo>
                      <a:pt x="34368" y="26362"/>
                    </a:lnTo>
                    <a:lnTo>
                      <a:pt x="35521" y="26130"/>
                    </a:lnTo>
                    <a:lnTo>
                      <a:pt x="36412" y="25690"/>
                    </a:lnTo>
                    <a:lnTo>
                      <a:pt x="48063" y="16671"/>
                    </a:lnTo>
                    <a:lnTo>
                      <a:pt x="50614" y="15462"/>
                    </a:lnTo>
                    <a:lnTo>
                      <a:pt x="54765" y="15217"/>
                    </a:lnTo>
                    <a:lnTo>
                      <a:pt x="57488" y="15803"/>
                    </a:lnTo>
                    <a:lnTo>
                      <a:pt x="58550" y="16358"/>
                    </a:lnTo>
                    <a:lnTo>
                      <a:pt x="62443" y="21041"/>
                    </a:lnTo>
                    <a:lnTo>
                      <a:pt x="63384" y="21912"/>
                    </a:lnTo>
                    <a:lnTo>
                      <a:pt x="64441" y="22517"/>
                    </a:lnTo>
                    <a:lnTo>
                      <a:pt x="66062" y="22783"/>
                    </a:lnTo>
                    <a:lnTo>
                      <a:pt x="68084" y="22551"/>
                    </a:lnTo>
                    <a:lnTo>
                      <a:pt x="77086" y="19689"/>
                    </a:lnTo>
                    <a:lnTo>
                      <a:pt x="80062" y="19775"/>
                    </a:lnTo>
                    <a:lnTo>
                      <a:pt x="82812" y="20533"/>
                    </a:lnTo>
                    <a:lnTo>
                      <a:pt x="84013" y="21214"/>
                    </a:lnTo>
                    <a:lnTo>
                      <a:pt x="96314" y="33853"/>
                    </a:lnTo>
                    <a:lnTo>
                      <a:pt x="97714" y="34541"/>
                    </a:lnTo>
                    <a:lnTo>
                      <a:pt x="99911" y="35104"/>
                    </a:lnTo>
                    <a:lnTo>
                      <a:pt x="101740" y="34465"/>
                    </a:lnTo>
                    <a:lnTo>
                      <a:pt x="106400" y="30868"/>
                    </a:lnTo>
                    <a:lnTo>
                      <a:pt x="108687" y="29760"/>
                    </a:lnTo>
                    <a:lnTo>
                      <a:pt x="111765" y="29039"/>
                    </a:lnTo>
                    <a:lnTo>
                      <a:pt x="113210" y="28254"/>
                    </a:lnTo>
                    <a:lnTo>
                      <a:pt x="114079" y="26931"/>
                    </a:lnTo>
                    <a:lnTo>
                      <a:pt x="114278" y="25399"/>
                    </a:lnTo>
                    <a:lnTo>
                      <a:pt x="114335" y="19219"/>
                    </a:lnTo>
                    <a:lnTo>
                      <a:pt x="114119" y="17779"/>
                    </a:lnTo>
                    <a:lnTo>
                      <a:pt x="113713" y="16501"/>
                    </a:lnTo>
                    <a:lnTo>
                      <a:pt x="112250" y="12913"/>
                    </a:lnTo>
                    <a:lnTo>
                      <a:pt x="111697" y="9847"/>
                    </a:lnTo>
                    <a:lnTo>
                      <a:pt x="111596" y="9787"/>
                    </a:lnTo>
                    <a:lnTo>
                      <a:pt x="135663" y="2187"/>
                    </a:lnTo>
                    <a:lnTo>
                      <a:pt x="143365" y="5494"/>
                    </a:lnTo>
                    <a:lnTo>
                      <a:pt x="146158" y="14366"/>
                    </a:lnTo>
                    <a:lnTo>
                      <a:pt x="150685" y="13265"/>
                    </a:lnTo>
                    <a:lnTo>
                      <a:pt x="157837" y="16670"/>
                    </a:lnTo>
                    <a:lnTo>
                      <a:pt x="161086" y="11100"/>
                    </a:lnTo>
                    <a:lnTo>
                      <a:pt x="168928" y="13878"/>
                    </a:lnTo>
                    <a:lnTo>
                      <a:pt x="175694" y="12720"/>
                    </a:lnTo>
                    <a:lnTo>
                      <a:pt x="179934" y="9581"/>
                    </a:lnTo>
                    <a:lnTo>
                      <a:pt x="181526" y="4344"/>
                    </a:lnTo>
                    <a:lnTo>
                      <a:pt x="191773" y="0"/>
                    </a:lnTo>
                    <a:lnTo>
                      <a:pt x="193606" y="140"/>
                    </a:lnTo>
                    <a:lnTo>
                      <a:pt x="195184" y="3513"/>
                    </a:lnTo>
                    <a:lnTo>
                      <a:pt x="195321" y="8289"/>
                    </a:lnTo>
                    <a:lnTo>
                      <a:pt x="193980" y="12555"/>
                    </a:lnTo>
                    <a:lnTo>
                      <a:pt x="192806" y="15229"/>
                    </a:lnTo>
                    <a:lnTo>
                      <a:pt x="188262" y="15404"/>
                    </a:lnTo>
                    <a:lnTo>
                      <a:pt x="182776" y="20459"/>
                    </a:lnTo>
                    <a:lnTo>
                      <a:pt x="177515" y="29576"/>
                    </a:lnTo>
                    <a:lnTo>
                      <a:pt x="175812" y="35741"/>
                    </a:lnTo>
                    <a:lnTo>
                      <a:pt x="176067" y="3998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85" name="Freeform 232">
                <a:extLst>
                  <a:ext uri="{FF2B5EF4-FFF2-40B4-BE49-F238E27FC236}">
                    <a16:creationId xmlns:a16="http://schemas.microsoft.com/office/drawing/2014/main" id="{046101F9-651A-D9B0-FC9A-2731AD47F66F}"/>
                  </a:ext>
                </a:extLst>
              </p:cNvPr>
              <p:cNvSpPr>
                <a:spLocks noChangeAspect="1"/>
              </p:cNvSpPr>
              <p:nvPr>
                <p:custDataLst>
                  <p:tags r:id="rId157"/>
                </p:custDataLst>
              </p:nvPr>
            </p:nvSpPr>
            <p:spPr>
              <a:xfrm>
                <a:off x="5342711" y="5096294"/>
                <a:ext cx="322525" cy="208863"/>
              </a:xfrm>
              <a:custGeom>
                <a:avLst/>
                <a:gdLst/>
                <a:ahLst/>
                <a:cxnLst/>
                <a:rect l="l" t="t" r="r" b="b"/>
                <a:pathLst>
                  <a:path w="331147" h="214446">
                    <a:moveTo>
                      <a:pt x="167515" y="11661"/>
                    </a:moveTo>
                    <a:lnTo>
                      <a:pt x="197580" y="20143"/>
                    </a:lnTo>
                    <a:lnTo>
                      <a:pt x="199983" y="21335"/>
                    </a:lnTo>
                    <a:lnTo>
                      <a:pt x="202701" y="23224"/>
                    </a:lnTo>
                    <a:lnTo>
                      <a:pt x="208030" y="28441"/>
                    </a:lnTo>
                    <a:lnTo>
                      <a:pt x="210673" y="33899"/>
                    </a:lnTo>
                    <a:lnTo>
                      <a:pt x="209573" y="38545"/>
                    </a:lnTo>
                    <a:lnTo>
                      <a:pt x="203794" y="41440"/>
                    </a:lnTo>
                    <a:lnTo>
                      <a:pt x="175857" y="40781"/>
                    </a:lnTo>
                    <a:lnTo>
                      <a:pt x="171061" y="39245"/>
                    </a:lnTo>
                    <a:lnTo>
                      <a:pt x="166648" y="35256"/>
                    </a:lnTo>
                    <a:lnTo>
                      <a:pt x="162995" y="30240"/>
                    </a:lnTo>
                    <a:lnTo>
                      <a:pt x="160444" y="25766"/>
                    </a:lnTo>
                    <a:lnTo>
                      <a:pt x="162918" y="15110"/>
                    </a:lnTo>
                    <a:lnTo>
                      <a:pt x="164468" y="12699"/>
                    </a:lnTo>
                    <a:close/>
                    <a:moveTo>
                      <a:pt x="105974" y="0"/>
                    </a:moveTo>
                    <a:lnTo>
                      <a:pt x="105971" y="7"/>
                    </a:lnTo>
                    <a:lnTo>
                      <a:pt x="105700" y="902"/>
                    </a:lnTo>
                    <a:lnTo>
                      <a:pt x="104945" y="1063"/>
                    </a:lnTo>
                    <a:lnTo>
                      <a:pt x="102922" y="3281"/>
                    </a:lnTo>
                    <a:lnTo>
                      <a:pt x="99589" y="9990"/>
                    </a:lnTo>
                    <a:lnTo>
                      <a:pt x="99140" y="15353"/>
                    </a:lnTo>
                    <a:lnTo>
                      <a:pt x="100839" y="19412"/>
                    </a:lnTo>
                    <a:lnTo>
                      <a:pt x="105665" y="19736"/>
                    </a:lnTo>
                    <a:lnTo>
                      <a:pt x="107334" y="23203"/>
                    </a:lnTo>
                    <a:lnTo>
                      <a:pt x="106004" y="32766"/>
                    </a:lnTo>
                    <a:lnTo>
                      <a:pt x="102168" y="37132"/>
                    </a:lnTo>
                    <a:lnTo>
                      <a:pt x="95349" y="48183"/>
                    </a:lnTo>
                    <a:lnTo>
                      <a:pt x="93143" y="55422"/>
                    </a:lnTo>
                    <a:lnTo>
                      <a:pt x="93639" y="57766"/>
                    </a:lnTo>
                    <a:lnTo>
                      <a:pt x="96992" y="58176"/>
                    </a:lnTo>
                    <a:lnTo>
                      <a:pt x="99560" y="57440"/>
                    </a:lnTo>
                    <a:lnTo>
                      <a:pt x="103498" y="54851"/>
                    </a:lnTo>
                    <a:lnTo>
                      <a:pt x="107499" y="53442"/>
                    </a:lnTo>
                    <a:lnTo>
                      <a:pt x="114617" y="54824"/>
                    </a:lnTo>
                    <a:lnTo>
                      <a:pt x="121966" y="60342"/>
                    </a:lnTo>
                    <a:lnTo>
                      <a:pt x="128949" y="65877"/>
                    </a:lnTo>
                    <a:lnTo>
                      <a:pt x="136080" y="60725"/>
                    </a:lnTo>
                    <a:lnTo>
                      <a:pt x="141729" y="55655"/>
                    </a:lnTo>
                    <a:lnTo>
                      <a:pt x="144253" y="41272"/>
                    </a:lnTo>
                    <a:lnTo>
                      <a:pt x="145179" y="37561"/>
                    </a:lnTo>
                    <a:lnTo>
                      <a:pt x="145463" y="34736"/>
                    </a:lnTo>
                    <a:lnTo>
                      <a:pt x="145465" y="34722"/>
                    </a:lnTo>
                    <a:lnTo>
                      <a:pt x="146142" y="34683"/>
                    </a:lnTo>
                    <a:lnTo>
                      <a:pt x="156057" y="36721"/>
                    </a:lnTo>
                    <a:lnTo>
                      <a:pt x="153902" y="32348"/>
                    </a:lnTo>
                    <a:lnTo>
                      <a:pt x="152516" y="27135"/>
                    </a:lnTo>
                    <a:lnTo>
                      <a:pt x="153486" y="23372"/>
                    </a:lnTo>
                    <a:lnTo>
                      <a:pt x="158512" y="23264"/>
                    </a:lnTo>
                    <a:lnTo>
                      <a:pt x="159257" y="28110"/>
                    </a:lnTo>
                    <a:lnTo>
                      <a:pt x="162255" y="34941"/>
                    </a:lnTo>
                    <a:lnTo>
                      <a:pt x="165988" y="40994"/>
                    </a:lnTo>
                    <a:lnTo>
                      <a:pt x="168763" y="43555"/>
                    </a:lnTo>
                    <a:lnTo>
                      <a:pt x="219810" y="46273"/>
                    </a:lnTo>
                    <a:lnTo>
                      <a:pt x="248707" y="35241"/>
                    </a:lnTo>
                    <a:lnTo>
                      <a:pt x="325102" y="22956"/>
                    </a:lnTo>
                    <a:lnTo>
                      <a:pt x="331147" y="26060"/>
                    </a:lnTo>
                    <a:lnTo>
                      <a:pt x="329820" y="38712"/>
                    </a:lnTo>
                    <a:lnTo>
                      <a:pt x="329130" y="41190"/>
                    </a:lnTo>
                    <a:lnTo>
                      <a:pt x="328158" y="43531"/>
                    </a:lnTo>
                    <a:lnTo>
                      <a:pt x="326924" y="45469"/>
                    </a:lnTo>
                    <a:lnTo>
                      <a:pt x="325457" y="46833"/>
                    </a:lnTo>
                    <a:lnTo>
                      <a:pt x="316961" y="47367"/>
                    </a:lnTo>
                    <a:lnTo>
                      <a:pt x="315772" y="48803"/>
                    </a:lnTo>
                    <a:lnTo>
                      <a:pt x="317034" y="56944"/>
                    </a:lnTo>
                    <a:lnTo>
                      <a:pt x="319188" y="63247"/>
                    </a:lnTo>
                    <a:lnTo>
                      <a:pt x="323784" y="73092"/>
                    </a:lnTo>
                    <a:lnTo>
                      <a:pt x="326891" y="88054"/>
                    </a:lnTo>
                    <a:lnTo>
                      <a:pt x="325880" y="102754"/>
                    </a:lnTo>
                    <a:lnTo>
                      <a:pt x="321824" y="115230"/>
                    </a:lnTo>
                    <a:lnTo>
                      <a:pt x="315823" y="123552"/>
                    </a:lnTo>
                    <a:lnTo>
                      <a:pt x="300192" y="130148"/>
                    </a:lnTo>
                    <a:lnTo>
                      <a:pt x="293953" y="135643"/>
                    </a:lnTo>
                    <a:lnTo>
                      <a:pt x="291262" y="136101"/>
                    </a:lnTo>
                    <a:lnTo>
                      <a:pt x="286049" y="135993"/>
                    </a:lnTo>
                    <a:lnTo>
                      <a:pt x="283270" y="137220"/>
                    </a:lnTo>
                    <a:lnTo>
                      <a:pt x="281065" y="139778"/>
                    </a:lnTo>
                    <a:lnTo>
                      <a:pt x="279190" y="142612"/>
                    </a:lnTo>
                    <a:lnTo>
                      <a:pt x="277479" y="144639"/>
                    </a:lnTo>
                    <a:lnTo>
                      <a:pt x="272847" y="146936"/>
                    </a:lnTo>
                    <a:lnTo>
                      <a:pt x="257171" y="148337"/>
                    </a:lnTo>
                    <a:lnTo>
                      <a:pt x="252570" y="149925"/>
                    </a:lnTo>
                    <a:lnTo>
                      <a:pt x="247916" y="153507"/>
                    </a:lnTo>
                    <a:lnTo>
                      <a:pt x="239024" y="162776"/>
                    </a:lnTo>
                    <a:lnTo>
                      <a:pt x="227838" y="181541"/>
                    </a:lnTo>
                    <a:lnTo>
                      <a:pt x="225724" y="186157"/>
                    </a:lnTo>
                    <a:lnTo>
                      <a:pt x="226947" y="195985"/>
                    </a:lnTo>
                    <a:lnTo>
                      <a:pt x="230425" y="210578"/>
                    </a:lnTo>
                    <a:lnTo>
                      <a:pt x="222287" y="214446"/>
                    </a:lnTo>
                    <a:lnTo>
                      <a:pt x="203801" y="209552"/>
                    </a:lnTo>
                    <a:lnTo>
                      <a:pt x="203793" y="209551"/>
                    </a:lnTo>
                    <a:lnTo>
                      <a:pt x="204380" y="207346"/>
                    </a:lnTo>
                    <a:lnTo>
                      <a:pt x="202620" y="202469"/>
                    </a:lnTo>
                    <a:lnTo>
                      <a:pt x="198271" y="200182"/>
                    </a:lnTo>
                    <a:lnTo>
                      <a:pt x="195551" y="203114"/>
                    </a:lnTo>
                    <a:lnTo>
                      <a:pt x="191655" y="203013"/>
                    </a:lnTo>
                    <a:lnTo>
                      <a:pt x="182403" y="186679"/>
                    </a:lnTo>
                    <a:lnTo>
                      <a:pt x="176596" y="183623"/>
                    </a:lnTo>
                    <a:lnTo>
                      <a:pt x="160423" y="185207"/>
                    </a:lnTo>
                    <a:lnTo>
                      <a:pt x="155178" y="180095"/>
                    </a:lnTo>
                    <a:lnTo>
                      <a:pt x="150968" y="178737"/>
                    </a:lnTo>
                    <a:lnTo>
                      <a:pt x="130042" y="185250"/>
                    </a:lnTo>
                    <a:lnTo>
                      <a:pt x="121790" y="178697"/>
                    </a:lnTo>
                    <a:lnTo>
                      <a:pt x="107797" y="174908"/>
                    </a:lnTo>
                    <a:lnTo>
                      <a:pt x="106246" y="168292"/>
                    </a:lnTo>
                    <a:lnTo>
                      <a:pt x="91942" y="162383"/>
                    </a:lnTo>
                    <a:lnTo>
                      <a:pt x="87894" y="156229"/>
                    </a:lnTo>
                    <a:lnTo>
                      <a:pt x="83072" y="153622"/>
                    </a:lnTo>
                    <a:lnTo>
                      <a:pt x="77334" y="155098"/>
                    </a:lnTo>
                    <a:lnTo>
                      <a:pt x="77444" y="149358"/>
                    </a:lnTo>
                    <a:lnTo>
                      <a:pt x="71673" y="147532"/>
                    </a:lnTo>
                    <a:lnTo>
                      <a:pt x="71397" y="143416"/>
                    </a:lnTo>
                    <a:lnTo>
                      <a:pt x="70412" y="142618"/>
                    </a:lnTo>
                    <a:lnTo>
                      <a:pt x="55160" y="147137"/>
                    </a:lnTo>
                    <a:lnTo>
                      <a:pt x="44023" y="143249"/>
                    </a:lnTo>
                    <a:lnTo>
                      <a:pt x="24836" y="148151"/>
                    </a:lnTo>
                    <a:lnTo>
                      <a:pt x="27628" y="137436"/>
                    </a:lnTo>
                    <a:lnTo>
                      <a:pt x="22308" y="135856"/>
                    </a:lnTo>
                    <a:lnTo>
                      <a:pt x="13856" y="139146"/>
                    </a:lnTo>
                    <a:lnTo>
                      <a:pt x="5749" y="139844"/>
                    </a:lnTo>
                    <a:lnTo>
                      <a:pt x="3699" y="127653"/>
                    </a:lnTo>
                    <a:lnTo>
                      <a:pt x="4315" y="122414"/>
                    </a:lnTo>
                    <a:lnTo>
                      <a:pt x="0" y="111788"/>
                    </a:lnTo>
                    <a:lnTo>
                      <a:pt x="4061" y="99256"/>
                    </a:lnTo>
                    <a:lnTo>
                      <a:pt x="1692" y="90045"/>
                    </a:lnTo>
                    <a:lnTo>
                      <a:pt x="931" y="81150"/>
                    </a:lnTo>
                    <a:lnTo>
                      <a:pt x="4511" y="83839"/>
                    </a:lnTo>
                    <a:lnTo>
                      <a:pt x="10369" y="81315"/>
                    </a:lnTo>
                    <a:lnTo>
                      <a:pt x="10620" y="72607"/>
                    </a:lnTo>
                    <a:lnTo>
                      <a:pt x="15950" y="67339"/>
                    </a:lnTo>
                    <a:lnTo>
                      <a:pt x="18270" y="60740"/>
                    </a:lnTo>
                    <a:lnTo>
                      <a:pt x="23780" y="55245"/>
                    </a:lnTo>
                    <a:lnTo>
                      <a:pt x="26452" y="42163"/>
                    </a:lnTo>
                    <a:lnTo>
                      <a:pt x="25574" y="38392"/>
                    </a:lnTo>
                    <a:lnTo>
                      <a:pt x="23922" y="31342"/>
                    </a:lnTo>
                    <a:lnTo>
                      <a:pt x="28360" y="23269"/>
                    </a:lnTo>
                    <a:lnTo>
                      <a:pt x="35198" y="15575"/>
                    </a:lnTo>
                    <a:lnTo>
                      <a:pt x="37637" y="9707"/>
                    </a:lnTo>
                    <a:lnTo>
                      <a:pt x="50196" y="13640"/>
                    </a:lnTo>
                    <a:lnTo>
                      <a:pt x="57587" y="10582"/>
                    </a:lnTo>
                    <a:lnTo>
                      <a:pt x="61395" y="10360"/>
                    </a:lnTo>
                    <a:lnTo>
                      <a:pt x="63248" y="14256"/>
                    </a:lnTo>
                    <a:lnTo>
                      <a:pt x="65364" y="17127"/>
                    </a:lnTo>
                    <a:lnTo>
                      <a:pt x="69897" y="17775"/>
                    </a:lnTo>
                    <a:lnTo>
                      <a:pt x="72671" y="16717"/>
                    </a:lnTo>
                    <a:lnTo>
                      <a:pt x="76456" y="14853"/>
                    </a:lnTo>
                    <a:lnTo>
                      <a:pt x="76486" y="14838"/>
                    </a:lnTo>
                    <a:lnTo>
                      <a:pt x="91516" y="11410"/>
                    </a:lnTo>
                    <a:lnTo>
                      <a:pt x="93444" y="10090"/>
                    </a:lnTo>
                    <a:lnTo>
                      <a:pt x="94403" y="7343"/>
                    </a:lnTo>
                    <a:lnTo>
                      <a:pt x="95070" y="4598"/>
                    </a:lnTo>
                    <a:lnTo>
                      <a:pt x="96127" y="332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86" name="Freeform 234">
                <a:extLst>
                  <a:ext uri="{FF2B5EF4-FFF2-40B4-BE49-F238E27FC236}">
                    <a16:creationId xmlns:a16="http://schemas.microsoft.com/office/drawing/2014/main" id="{4EB9BE3B-253D-0DF3-28B1-C13210A84C31}"/>
                  </a:ext>
                </a:extLst>
              </p:cNvPr>
              <p:cNvSpPr>
                <a:spLocks noChangeAspect="1"/>
              </p:cNvSpPr>
              <p:nvPr>
                <p:custDataLst>
                  <p:tags r:id="rId158"/>
                </p:custDataLst>
              </p:nvPr>
            </p:nvSpPr>
            <p:spPr>
              <a:xfrm>
                <a:off x="5303123" y="5088849"/>
                <a:ext cx="8906" cy="6861"/>
              </a:xfrm>
              <a:custGeom>
                <a:avLst/>
                <a:gdLst/>
                <a:ahLst/>
                <a:cxnLst/>
                <a:rect l="0" t="0" r="0" b="0"/>
                <a:pathLst>
                  <a:path w="9144" h="7044">
                    <a:moveTo>
                      <a:pt x="7382" y="4007"/>
                    </a:moveTo>
                    <a:lnTo>
                      <a:pt x="7640" y="4518"/>
                    </a:lnTo>
                    <a:lnTo>
                      <a:pt x="7952" y="5027"/>
                    </a:lnTo>
                    <a:lnTo>
                      <a:pt x="8329" y="5444"/>
                    </a:lnTo>
                    <a:lnTo>
                      <a:pt x="8847" y="5873"/>
                    </a:lnTo>
                    <a:lnTo>
                      <a:pt x="9003" y="6064"/>
                    </a:lnTo>
                    <a:lnTo>
                      <a:pt x="9084" y="6199"/>
                    </a:lnTo>
                    <a:lnTo>
                      <a:pt x="9143" y="6414"/>
                    </a:lnTo>
                    <a:lnTo>
                      <a:pt x="9138" y="6571"/>
                    </a:lnTo>
                    <a:lnTo>
                      <a:pt x="9084" y="6731"/>
                    </a:lnTo>
                    <a:lnTo>
                      <a:pt x="9004" y="6874"/>
                    </a:lnTo>
                    <a:lnTo>
                      <a:pt x="8868" y="6979"/>
                    </a:lnTo>
                    <a:lnTo>
                      <a:pt x="8754" y="7043"/>
                    </a:lnTo>
                    <a:lnTo>
                      <a:pt x="8671" y="6989"/>
                    </a:lnTo>
                    <a:lnTo>
                      <a:pt x="4420" y="5826"/>
                    </a:lnTo>
                    <a:lnTo>
                      <a:pt x="1488" y="6677"/>
                    </a:lnTo>
                    <a:lnTo>
                      <a:pt x="1609" y="4359"/>
                    </a:lnTo>
                    <a:lnTo>
                      <a:pt x="857" y="3535"/>
                    </a:lnTo>
                    <a:lnTo>
                      <a:pt x="464" y="2891"/>
                    </a:lnTo>
                    <a:lnTo>
                      <a:pt x="182" y="1837"/>
                    </a:lnTo>
                    <a:lnTo>
                      <a:pt x="0" y="1489"/>
                    </a:lnTo>
                    <a:lnTo>
                      <a:pt x="1126" y="592"/>
                    </a:lnTo>
                    <a:lnTo>
                      <a:pt x="2220" y="343"/>
                    </a:lnTo>
                    <a:lnTo>
                      <a:pt x="3536" y="0"/>
                    </a:lnTo>
                    <a:lnTo>
                      <a:pt x="3814" y="303"/>
                    </a:lnTo>
                    <a:lnTo>
                      <a:pt x="6041" y="1224"/>
                    </a:lnTo>
                    <a:lnTo>
                      <a:pt x="6148" y="1416"/>
                    </a:lnTo>
                    <a:lnTo>
                      <a:pt x="6456" y="248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87" name="Freeform 235">
                <a:extLst>
                  <a:ext uri="{FF2B5EF4-FFF2-40B4-BE49-F238E27FC236}">
                    <a16:creationId xmlns:a16="http://schemas.microsoft.com/office/drawing/2014/main" id="{F94B64B1-43C2-EB26-78AF-D82E98E2517D}"/>
                  </a:ext>
                </a:extLst>
              </p:cNvPr>
              <p:cNvSpPr>
                <a:spLocks noChangeAspect="1"/>
              </p:cNvSpPr>
              <p:nvPr>
                <p:custDataLst>
                  <p:tags r:id="rId159"/>
                </p:custDataLst>
              </p:nvPr>
            </p:nvSpPr>
            <p:spPr>
              <a:xfrm>
                <a:off x="4891338" y="3783284"/>
                <a:ext cx="55573" cy="43129"/>
              </a:xfrm>
              <a:custGeom>
                <a:avLst/>
                <a:gdLst/>
                <a:ahLst/>
                <a:cxnLst/>
                <a:rect l="0" t="0" r="0" b="0"/>
                <a:pathLst>
                  <a:path w="57059" h="44282">
                    <a:moveTo>
                      <a:pt x="21308" y="1494"/>
                    </a:moveTo>
                    <a:lnTo>
                      <a:pt x="26534" y="10064"/>
                    </a:lnTo>
                    <a:lnTo>
                      <a:pt x="39396" y="20910"/>
                    </a:lnTo>
                    <a:lnTo>
                      <a:pt x="57058" y="32854"/>
                    </a:lnTo>
                    <a:lnTo>
                      <a:pt x="51043" y="38817"/>
                    </a:lnTo>
                    <a:lnTo>
                      <a:pt x="48100" y="44281"/>
                    </a:lnTo>
                    <a:lnTo>
                      <a:pt x="38282" y="41645"/>
                    </a:lnTo>
                    <a:lnTo>
                      <a:pt x="20555" y="36305"/>
                    </a:lnTo>
                    <a:lnTo>
                      <a:pt x="8746" y="29561"/>
                    </a:lnTo>
                    <a:lnTo>
                      <a:pt x="0" y="26836"/>
                    </a:lnTo>
                    <a:lnTo>
                      <a:pt x="4391" y="17072"/>
                    </a:lnTo>
                    <a:lnTo>
                      <a:pt x="11149" y="15000"/>
                    </a:lnTo>
                    <a:lnTo>
                      <a:pt x="14786" y="11720"/>
                    </a:lnTo>
                    <a:lnTo>
                      <a:pt x="14777" y="8856"/>
                    </a:lnTo>
                    <a:lnTo>
                      <a:pt x="10330" y="6102"/>
                    </a:lnTo>
                    <a:lnTo>
                      <a:pt x="10965" y="2264"/>
                    </a:lnTo>
                    <a:lnTo>
                      <a:pt x="12611"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88" name="Freeform 236">
                <a:extLst>
                  <a:ext uri="{FF2B5EF4-FFF2-40B4-BE49-F238E27FC236}">
                    <a16:creationId xmlns:a16="http://schemas.microsoft.com/office/drawing/2014/main" id="{8B4FF200-99A5-E789-1010-AF8871F8AABA}"/>
                  </a:ext>
                </a:extLst>
              </p:cNvPr>
              <p:cNvSpPr>
                <a:spLocks noChangeAspect="1"/>
              </p:cNvSpPr>
              <p:nvPr>
                <p:custDataLst>
                  <p:tags r:id="rId160"/>
                </p:custDataLst>
              </p:nvPr>
            </p:nvSpPr>
            <p:spPr>
              <a:xfrm>
                <a:off x="4912092" y="3782875"/>
                <a:ext cx="51085" cy="32409"/>
              </a:xfrm>
              <a:custGeom>
                <a:avLst/>
                <a:gdLst/>
                <a:ahLst/>
                <a:cxnLst/>
                <a:rect l="0" t="0" r="0" b="0"/>
                <a:pathLst>
                  <a:path w="52451" h="33275">
                    <a:moveTo>
                      <a:pt x="52450" y="26240"/>
                    </a:moveTo>
                    <a:lnTo>
                      <a:pt x="35750" y="33274"/>
                    </a:lnTo>
                    <a:lnTo>
                      <a:pt x="18088" y="21330"/>
                    </a:lnTo>
                    <a:lnTo>
                      <a:pt x="5226" y="10484"/>
                    </a:lnTo>
                    <a:lnTo>
                      <a:pt x="0" y="1914"/>
                    </a:lnTo>
                    <a:lnTo>
                      <a:pt x="13887" y="4287"/>
                    </a:lnTo>
                    <a:lnTo>
                      <a:pt x="19704" y="7748"/>
                    </a:lnTo>
                    <a:lnTo>
                      <a:pt x="29765" y="8643"/>
                    </a:lnTo>
                    <a:lnTo>
                      <a:pt x="34243" y="8105"/>
                    </a:lnTo>
                    <a:lnTo>
                      <a:pt x="39715" y="1256"/>
                    </a:lnTo>
                    <a:lnTo>
                      <a:pt x="42343" y="7"/>
                    </a:lnTo>
                    <a:lnTo>
                      <a:pt x="42356" y="0"/>
                    </a:lnTo>
                    <a:lnTo>
                      <a:pt x="42571" y="808"/>
                    </a:lnTo>
                    <a:lnTo>
                      <a:pt x="46432" y="10359"/>
                    </a:lnTo>
                    <a:lnTo>
                      <a:pt x="48525" y="13753"/>
                    </a:lnTo>
                    <a:lnTo>
                      <a:pt x="49745" y="17124"/>
                    </a:lnTo>
                    <a:lnTo>
                      <a:pt x="50882" y="2193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89" name="Freeform 237">
                <a:extLst>
                  <a:ext uri="{FF2B5EF4-FFF2-40B4-BE49-F238E27FC236}">
                    <a16:creationId xmlns:a16="http://schemas.microsoft.com/office/drawing/2014/main" id="{106394EB-24D2-1359-BC19-7011205DDC83}"/>
                  </a:ext>
                </a:extLst>
              </p:cNvPr>
              <p:cNvSpPr>
                <a:spLocks noChangeAspect="1"/>
              </p:cNvSpPr>
              <p:nvPr>
                <p:custDataLst>
                  <p:tags r:id="rId161"/>
                </p:custDataLst>
              </p:nvPr>
            </p:nvSpPr>
            <p:spPr>
              <a:xfrm>
                <a:off x="4938186" y="3808432"/>
                <a:ext cx="37123" cy="34064"/>
              </a:xfrm>
              <a:custGeom>
                <a:avLst/>
                <a:gdLst/>
                <a:ahLst/>
                <a:cxnLst/>
                <a:rect l="0" t="0" r="0" b="0"/>
                <a:pathLst>
                  <a:path w="38115" h="34975">
                    <a:moveTo>
                      <a:pt x="38114" y="31464"/>
                    </a:moveTo>
                    <a:lnTo>
                      <a:pt x="30072" y="30456"/>
                    </a:lnTo>
                    <a:lnTo>
                      <a:pt x="16872" y="34974"/>
                    </a:lnTo>
                    <a:lnTo>
                      <a:pt x="8705" y="32303"/>
                    </a:lnTo>
                    <a:lnTo>
                      <a:pt x="1763" y="30838"/>
                    </a:lnTo>
                    <a:lnTo>
                      <a:pt x="2998" y="23764"/>
                    </a:lnTo>
                    <a:lnTo>
                      <a:pt x="0" y="18461"/>
                    </a:lnTo>
                    <a:lnTo>
                      <a:pt x="2943" y="12997"/>
                    </a:lnTo>
                    <a:lnTo>
                      <a:pt x="8958" y="7034"/>
                    </a:lnTo>
                    <a:lnTo>
                      <a:pt x="25658" y="0"/>
                    </a:lnTo>
                    <a:lnTo>
                      <a:pt x="28209" y="1793"/>
                    </a:lnTo>
                    <a:lnTo>
                      <a:pt x="28971" y="2844"/>
                    </a:lnTo>
                    <a:lnTo>
                      <a:pt x="35287" y="9193"/>
                    </a:lnTo>
                    <a:lnTo>
                      <a:pt x="37067" y="13248"/>
                    </a:lnTo>
                    <a:lnTo>
                      <a:pt x="37341" y="15573"/>
                    </a:lnTo>
                    <a:lnTo>
                      <a:pt x="36999" y="17279"/>
                    </a:lnTo>
                    <a:lnTo>
                      <a:pt x="36960" y="19598"/>
                    </a:lnTo>
                    <a:lnTo>
                      <a:pt x="37460" y="2809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90" name="Freeform 238">
                <a:extLst>
                  <a:ext uri="{FF2B5EF4-FFF2-40B4-BE49-F238E27FC236}">
                    <a16:creationId xmlns:a16="http://schemas.microsoft.com/office/drawing/2014/main" id="{AFC78FE2-5A7E-396F-8484-5BB7BAD6A2C5}"/>
                  </a:ext>
                </a:extLst>
              </p:cNvPr>
              <p:cNvSpPr>
                <a:spLocks noChangeAspect="1"/>
              </p:cNvSpPr>
              <p:nvPr>
                <p:custDataLst>
                  <p:tags r:id="rId162"/>
                </p:custDataLst>
              </p:nvPr>
            </p:nvSpPr>
            <p:spPr>
              <a:xfrm>
                <a:off x="4929221" y="3838095"/>
                <a:ext cx="50753" cy="46362"/>
              </a:xfrm>
              <a:custGeom>
                <a:avLst/>
                <a:gdLst/>
                <a:ahLst/>
                <a:cxnLst/>
                <a:rect l="0" t="0" r="0" b="0"/>
                <a:pathLst>
                  <a:path w="52110" h="47601">
                    <a:moveTo>
                      <a:pt x="26077" y="4518"/>
                    </a:moveTo>
                    <a:lnTo>
                      <a:pt x="39277" y="0"/>
                    </a:lnTo>
                    <a:lnTo>
                      <a:pt x="47319" y="1008"/>
                    </a:lnTo>
                    <a:lnTo>
                      <a:pt x="48940" y="2314"/>
                    </a:lnTo>
                    <a:lnTo>
                      <a:pt x="48455" y="5860"/>
                    </a:lnTo>
                    <a:lnTo>
                      <a:pt x="52109" y="17834"/>
                    </a:lnTo>
                    <a:lnTo>
                      <a:pt x="52104" y="17836"/>
                    </a:lnTo>
                    <a:lnTo>
                      <a:pt x="49697" y="19093"/>
                    </a:lnTo>
                    <a:lnTo>
                      <a:pt x="46130" y="20908"/>
                    </a:lnTo>
                    <a:lnTo>
                      <a:pt x="41465" y="22714"/>
                    </a:lnTo>
                    <a:lnTo>
                      <a:pt x="40534" y="25506"/>
                    </a:lnTo>
                    <a:lnTo>
                      <a:pt x="38736" y="32770"/>
                    </a:lnTo>
                    <a:lnTo>
                      <a:pt x="39328" y="41622"/>
                    </a:lnTo>
                    <a:lnTo>
                      <a:pt x="37409" y="45560"/>
                    </a:lnTo>
                    <a:lnTo>
                      <a:pt x="31033" y="47391"/>
                    </a:lnTo>
                    <a:lnTo>
                      <a:pt x="23609" y="47600"/>
                    </a:lnTo>
                    <a:lnTo>
                      <a:pt x="16490" y="46691"/>
                    </a:lnTo>
                    <a:lnTo>
                      <a:pt x="14420" y="45089"/>
                    </a:lnTo>
                    <a:lnTo>
                      <a:pt x="13272" y="40141"/>
                    </a:lnTo>
                    <a:lnTo>
                      <a:pt x="12445" y="34612"/>
                    </a:lnTo>
                    <a:lnTo>
                      <a:pt x="9654" y="31350"/>
                    </a:lnTo>
                    <a:lnTo>
                      <a:pt x="5771" y="24816"/>
                    </a:lnTo>
                    <a:lnTo>
                      <a:pt x="5282" y="19280"/>
                    </a:lnTo>
                    <a:lnTo>
                      <a:pt x="3863" y="16551"/>
                    </a:lnTo>
                    <a:lnTo>
                      <a:pt x="0" y="14216"/>
                    </a:lnTo>
                    <a:lnTo>
                      <a:pt x="4094" y="1394"/>
                    </a:lnTo>
                    <a:lnTo>
                      <a:pt x="10968" y="382"/>
                    </a:lnTo>
                    <a:lnTo>
                      <a:pt x="17910" y="184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91" name="Freeform 239">
                <a:extLst>
                  <a:ext uri="{FF2B5EF4-FFF2-40B4-BE49-F238E27FC236}">
                    <a16:creationId xmlns:a16="http://schemas.microsoft.com/office/drawing/2014/main" id="{547B24DC-01CA-0473-7D62-A177441450AC}"/>
                  </a:ext>
                </a:extLst>
              </p:cNvPr>
              <p:cNvSpPr>
                <a:spLocks noChangeAspect="1"/>
              </p:cNvSpPr>
              <p:nvPr>
                <p:custDataLst>
                  <p:tags r:id="rId163"/>
                </p:custDataLst>
              </p:nvPr>
            </p:nvSpPr>
            <p:spPr>
              <a:xfrm>
                <a:off x="4870460" y="3809422"/>
                <a:ext cx="70647" cy="42520"/>
              </a:xfrm>
              <a:custGeom>
                <a:avLst/>
                <a:gdLst/>
                <a:ahLst/>
                <a:cxnLst/>
                <a:rect l="0" t="0" r="0" b="0"/>
                <a:pathLst>
                  <a:path w="72536" h="43657">
                    <a:moveTo>
                      <a:pt x="69537" y="17445"/>
                    </a:moveTo>
                    <a:lnTo>
                      <a:pt x="72535" y="22748"/>
                    </a:lnTo>
                    <a:lnTo>
                      <a:pt x="71300" y="29822"/>
                    </a:lnTo>
                    <a:lnTo>
                      <a:pt x="64426" y="30834"/>
                    </a:lnTo>
                    <a:lnTo>
                      <a:pt x="60332" y="43656"/>
                    </a:lnTo>
                    <a:lnTo>
                      <a:pt x="56309" y="41221"/>
                    </a:lnTo>
                    <a:lnTo>
                      <a:pt x="44491" y="40400"/>
                    </a:lnTo>
                    <a:lnTo>
                      <a:pt x="33039" y="41241"/>
                    </a:lnTo>
                    <a:lnTo>
                      <a:pt x="18855" y="39924"/>
                    </a:lnTo>
                    <a:lnTo>
                      <a:pt x="6831" y="37834"/>
                    </a:lnTo>
                    <a:lnTo>
                      <a:pt x="425" y="34996"/>
                    </a:lnTo>
                    <a:lnTo>
                      <a:pt x="0" y="32252"/>
                    </a:lnTo>
                    <a:lnTo>
                      <a:pt x="6252" y="28396"/>
                    </a:lnTo>
                    <a:lnTo>
                      <a:pt x="10625" y="11939"/>
                    </a:lnTo>
                    <a:lnTo>
                      <a:pt x="12102" y="9683"/>
                    </a:lnTo>
                    <a:lnTo>
                      <a:pt x="17828" y="7098"/>
                    </a:lnTo>
                    <a:lnTo>
                      <a:pt x="18199" y="2211"/>
                    </a:lnTo>
                    <a:lnTo>
                      <a:pt x="21437" y="0"/>
                    </a:lnTo>
                    <a:lnTo>
                      <a:pt x="30183" y="2725"/>
                    </a:lnTo>
                    <a:lnTo>
                      <a:pt x="41992" y="9469"/>
                    </a:lnTo>
                    <a:lnTo>
                      <a:pt x="59719" y="1480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92" name="Freeform 240">
                <a:extLst>
                  <a:ext uri="{FF2B5EF4-FFF2-40B4-BE49-F238E27FC236}">
                    <a16:creationId xmlns:a16="http://schemas.microsoft.com/office/drawing/2014/main" id="{9AE8E1FF-5F75-58B9-FE0E-6B458437E80B}"/>
                  </a:ext>
                </a:extLst>
              </p:cNvPr>
              <p:cNvSpPr>
                <a:spLocks noChangeAspect="1"/>
              </p:cNvSpPr>
              <p:nvPr>
                <p:custDataLst>
                  <p:tags r:id="rId164"/>
                </p:custDataLst>
              </p:nvPr>
            </p:nvSpPr>
            <p:spPr>
              <a:xfrm>
                <a:off x="4642717" y="4364172"/>
                <a:ext cx="39839" cy="74538"/>
              </a:xfrm>
              <a:custGeom>
                <a:avLst/>
                <a:gdLst/>
                <a:ahLst/>
                <a:cxnLst/>
                <a:rect l="0" t="0" r="0" b="0"/>
                <a:pathLst>
                  <a:path w="40904" h="76531">
                    <a:moveTo>
                      <a:pt x="26654" y="11846"/>
                    </a:moveTo>
                    <a:lnTo>
                      <a:pt x="29384" y="21027"/>
                    </a:lnTo>
                    <a:lnTo>
                      <a:pt x="31603" y="35075"/>
                    </a:lnTo>
                    <a:lnTo>
                      <a:pt x="31996" y="45624"/>
                    </a:lnTo>
                    <a:lnTo>
                      <a:pt x="40903" y="54878"/>
                    </a:lnTo>
                    <a:lnTo>
                      <a:pt x="36954" y="59932"/>
                    </a:lnTo>
                    <a:lnTo>
                      <a:pt x="36399" y="61636"/>
                    </a:lnTo>
                    <a:lnTo>
                      <a:pt x="37084" y="66072"/>
                    </a:lnTo>
                    <a:lnTo>
                      <a:pt x="35128" y="68842"/>
                    </a:lnTo>
                    <a:lnTo>
                      <a:pt x="33688" y="70803"/>
                    </a:lnTo>
                    <a:lnTo>
                      <a:pt x="29920" y="68073"/>
                    </a:lnTo>
                    <a:lnTo>
                      <a:pt x="28815" y="73965"/>
                    </a:lnTo>
                    <a:lnTo>
                      <a:pt x="28410" y="76530"/>
                    </a:lnTo>
                    <a:lnTo>
                      <a:pt x="28408" y="76530"/>
                    </a:lnTo>
                    <a:lnTo>
                      <a:pt x="20795" y="75755"/>
                    </a:lnTo>
                    <a:lnTo>
                      <a:pt x="13413" y="73039"/>
                    </a:lnTo>
                    <a:lnTo>
                      <a:pt x="12908" y="56836"/>
                    </a:lnTo>
                    <a:lnTo>
                      <a:pt x="13737" y="47787"/>
                    </a:lnTo>
                    <a:lnTo>
                      <a:pt x="8019" y="44314"/>
                    </a:lnTo>
                    <a:lnTo>
                      <a:pt x="6484" y="39301"/>
                    </a:lnTo>
                    <a:lnTo>
                      <a:pt x="10642" y="34747"/>
                    </a:lnTo>
                    <a:lnTo>
                      <a:pt x="7851" y="21705"/>
                    </a:lnTo>
                    <a:lnTo>
                      <a:pt x="0" y="11211"/>
                    </a:lnTo>
                    <a:lnTo>
                      <a:pt x="5647" y="6649"/>
                    </a:lnTo>
                    <a:lnTo>
                      <a:pt x="8254" y="0"/>
                    </a:lnTo>
                    <a:lnTo>
                      <a:pt x="15641" y="1639"/>
                    </a:lnTo>
                    <a:lnTo>
                      <a:pt x="21292" y="4882"/>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93" name="Freeform 241">
                <a:extLst>
                  <a:ext uri="{FF2B5EF4-FFF2-40B4-BE49-F238E27FC236}">
                    <a16:creationId xmlns:a16="http://schemas.microsoft.com/office/drawing/2014/main" id="{F6A8EABB-B2AB-D317-1F44-0DA3A9170E86}"/>
                  </a:ext>
                </a:extLst>
              </p:cNvPr>
              <p:cNvSpPr>
                <a:spLocks noChangeAspect="1"/>
              </p:cNvSpPr>
              <p:nvPr>
                <p:custDataLst>
                  <p:tags r:id="rId165"/>
                </p:custDataLst>
              </p:nvPr>
            </p:nvSpPr>
            <p:spPr>
              <a:xfrm>
                <a:off x="4605159" y="4294664"/>
                <a:ext cx="45598" cy="85140"/>
              </a:xfrm>
              <a:custGeom>
                <a:avLst/>
                <a:gdLst/>
                <a:ahLst/>
                <a:cxnLst/>
                <a:rect l="0" t="0" r="0" b="0"/>
                <a:pathLst>
                  <a:path w="46817" h="87416">
                    <a:moveTo>
                      <a:pt x="31220" y="31885"/>
                    </a:moveTo>
                    <a:lnTo>
                      <a:pt x="26303" y="30328"/>
                    </a:lnTo>
                    <a:lnTo>
                      <a:pt x="24045" y="31606"/>
                    </a:lnTo>
                    <a:lnTo>
                      <a:pt x="23818" y="36701"/>
                    </a:lnTo>
                    <a:lnTo>
                      <a:pt x="18760" y="44372"/>
                    </a:lnTo>
                    <a:lnTo>
                      <a:pt x="20437" y="50523"/>
                    </a:lnTo>
                    <a:lnTo>
                      <a:pt x="19196" y="54874"/>
                    </a:lnTo>
                    <a:lnTo>
                      <a:pt x="16200" y="57133"/>
                    </a:lnTo>
                    <a:lnTo>
                      <a:pt x="15975" y="64134"/>
                    </a:lnTo>
                    <a:lnTo>
                      <a:pt x="32633" y="74013"/>
                    </a:lnTo>
                    <a:lnTo>
                      <a:pt x="30677" y="64677"/>
                    </a:lnTo>
                    <a:lnTo>
                      <a:pt x="31047" y="62996"/>
                    </a:lnTo>
                    <a:lnTo>
                      <a:pt x="33503" y="62545"/>
                    </a:lnTo>
                    <a:lnTo>
                      <a:pt x="43588" y="70648"/>
                    </a:lnTo>
                    <a:lnTo>
                      <a:pt x="46816" y="71366"/>
                    </a:lnTo>
                    <a:lnTo>
                      <a:pt x="44209" y="78015"/>
                    </a:lnTo>
                    <a:lnTo>
                      <a:pt x="38562" y="82577"/>
                    </a:lnTo>
                    <a:lnTo>
                      <a:pt x="30208" y="85146"/>
                    </a:lnTo>
                    <a:lnTo>
                      <a:pt x="21842" y="86202"/>
                    </a:lnTo>
                    <a:lnTo>
                      <a:pt x="12344" y="87415"/>
                    </a:lnTo>
                    <a:lnTo>
                      <a:pt x="1235" y="63278"/>
                    </a:lnTo>
                    <a:lnTo>
                      <a:pt x="0" y="58044"/>
                    </a:lnTo>
                    <a:lnTo>
                      <a:pt x="530" y="52709"/>
                    </a:lnTo>
                    <a:lnTo>
                      <a:pt x="3188" y="46695"/>
                    </a:lnTo>
                    <a:lnTo>
                      <a:pt x="17972" y="21742"/>
                    </a:lnTo>
                    <a:lnTo>
                      <a:pt x="29915" y="5918"/>
                    </a:lnTo>
                    <a:lnTo>
                      <a:pt x="31785" y="4553"/>
                    </a:lnTo>
                    <a:lnTo>
                      <a:pt x="33709" y="528"/>
                    </a:lnTo>
                    <a:lnTo>
                      <a:pt x="34442" y="0"/>
                    </a:lnTo>
                    <a:lnTo>
                      <a:pt x="34443" y="5"/>
                    </a:lnTo>
                    <a:lnTo>
                      <a:pt x="34598" y="498"/>
                    </a:lnTo>
                    <a:lnTo>
                      <a:pt x="34834" y="1680"/>
                    </a:lnTo>
                    <a:lnTo>
                      <a:pt x="38120" y="1867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94" name="Freeform 242">
                <a:extLst>
                  <a:ext uri="{FF2B5EF4-FFF2-40B4-BE49-F238E27FC236}">
                    <a16:creationId xmlns:a16="http://schemas.microsoft.com/office/drawing/2014/main" id="{4FF539B6-68AA-5C62-8F02-FEB66609193A}"/>
                  </a:ext>
                </a:extLst>
              </p:cNvPr>
              <p:cNvSpPr>
                <a:spLocks noChangeAspect="1"/>
              </p:cNvSpPr>
              <p:nvPr>
                <p:custDataLst>
                  <p:tags r:id="rId166"/>
                </p:custDataLst>
              </p:nvPr>
            </p:nvSpPr>
            <p:spPr>
              <a:xfrm>
                <a:off x="4617182" y="4375091"/>
                <a:ext cx="38916" cy="60219"/>
              </a:xfrm>
              <a:custGeom>
                <a:avLst/>
                <a:gdLst/>
                <a:ahLst/>
                <a:cxnLst/>
                <a:rect l="0" t="0" r="0" b="0"/>
                <a:pathLst>
                  <a:path w="39956" h="61829">
                    <a:moveTo>
                      <a:pt x="39631" y="61828"/>
                    </a:moveTo>
                    <a:lnTo>
                      <a:pt x="37214" y="60937"/>
                    </a:lnTo>
                    <a:lnTo>
                      <a:pt x="28386" y="54722"/>
                    </a:lnTo>
                    <a:lnTo>
                      <a:pt x="21039" y="46921"/>
                    </a:lnTo>
                    <a:lnTo>
                      <a:pt x="15540" y="38467"/>
                    </a:lnTo>
                    <a:lnTo>
                      <a:pt x="0" y="4838"/>
                    </a:lnTo>
                    <a:lnTo>
                      <a:pt x="9498" y="3625"/>
                    </a:lnTo>
                    <a:lnTo>
                      <a:pt x="17864" y="2569"/>
                    </a:lnTo>
                    <a:lnTo>
                      <a:pt x="26218" y="0"/>
                    </a:lnTo>
                    <a:lnTo>
                      <a:pt x="34069" y="10494"/>
                    </a:lnTo>
                    <a:lnTo>
                      <a:pt x="36860" y="23536"/>
                    </a:lnTo>
                    <a:lnTo>
                      <a:pt x="32702" y="28090"/>
                    </a:lnTo>
                    <a:lnTo>
                      <a:pt x="34237" y="33103"/>
                    </a:lnTo>
                    <a:lnTo>
                      <a:pt x="39955" y="36576"/>
                    </a:lnTo>
                    <a:lnTo>
                      <a:pt x="39126" y="4562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95" name="Freeform 243">
                <a:extLst>
                  <a:ext uri="{FF2B5EF4-FFF2-40B4-BE49-F238E27FC236}">
                    <a16:creationId xmlns:a16="http://schemas.microsoft.com/office/drawing/2014/main" id="{DD9356C8-EA2F-7A1C-EE30-81E2C147EEC2}"/>
                  </a:ext>
                </a:extLst>
              </p:cNvPr>
              <p:cNvSpPr>
                <a:spLocks noChangeAspect="1"/>
              </p:cNvSpPr>
              <p:nvPr>
                <p:custDataLst>
                  <p:tags r:id="rId167"/>
                </p:custDataLst>
              </p:nvPr>
            </p:nvSpPr>
            <p:spPr>
              <a:xfrm>
                <a:off x="4668678" y="4361574"/>
                <a:ext cx="55421" cy="56049"/>
              </a:xfrm>
              <a:custGeom>
                <a:avLst/>
                <a:gdLst/>
                <a:ahLst/>
                <a:cxnLst/>
                <a:rect l="0" t="0" r="0" b="0"/>
                <a:pathLst>
                  <a:path w="56903" h="57547">
                    <a:moveTo>
                      <a:pt x="14378" y="6721"/>
                    </a:moveTo>
                    <a:lnTo>
                      <a:pt x="28620" y="21665"/>
                    </a:lnTo>
                    <a:lnTo>
                      <a:pt x="31992" y="18134"/>
                    </a:lnTo>
                    <a:lnTo>
                      <a:pt x="37844" y="21249"/>
                    </a:lnTo>
                    <a:lnTo>
                      <a:pt x="48204" y="21132"/>
                    </a:lnTo>
                    <a:lnTo>
                      <a:pt x="49219" y="26531"/>
                    </a:lnTo>
                    <a:lnTo>
                      <a:pt x="53295" y="29563"/>
                    </a:lnTo>
                    <a:lnTo>
                      <a:pt x="56902" y="35108"/>
                    </a:lnTo>
                    <a:lnTo>
                      <a:pt x="45608" y="37196"/>
                    </a:lnTo>
                    <a:lnTo>
                      <a:pt x="40194" y="33427"/>
                    </a:lnTo>
                    <a:lnTo>
                      <a:pt x="34176" y="33295"/>
                    </a:lnTo>
                    <a:lnTo>
                      <a:pt x="33146" y="37117"/>
                    </a:lnTo>
                    <a:lnTo>
                      <a:pt x="35080" y="40276"/>
                    </a:lnTo>
                    <a:lnTo>
                      <a:pt x="35255" y="45052"/>
                    </a:lnTo>
                    <a:lnTo>
                      <a:pt x="39152" y="48306"/>
                    </a:lnTo>
                    <a:lnTo>
                      <a:pt x="38489" y="52233"/>
                    </a:lnTo>
                    <a:lnTo>
                      <a:pt x="31143" y="57101"/>
                    </a:lnTo>
                    <a:lnTo>
                      <a:pt x="17309" y="53628"/>
                    </a:lnTo>
                    <a:lnTo>
                      <a:pt x="14249" y="57546"/>
                    </a:lnTo>
                    <a:lnTo>
                      <a:pt x="5342" y="48292"/>
                    </a:lnTo>
                    <a:lnTo>
                      <a:pt x="4949" y="37743"/>
                    </a:lnTo>
                    <a:lnTo>
                      <a:pt x="2730" y="23695"/>
                    </a:lnTo>
                    <a:lnTo>
                      <a:pt x="0" y="14514"/>
                    </a:lnTo>
                    <a:lnTo>
                      <a:pt x="2388" y="13545"/>
                    </a:lnTo>
                    <a:lnTo>
                      <a:pt x="2088" y="7387"/>
                    </a:lnTo>
                    <a:lnTo>
                      <a:pt x="3074" y="4614"/>
                    </a:lnTo>
                    <a:lnTo>
                      <a:pt x="8838" y="0"/>
                    </a:lnTo>
                    <a:lnTo>
                      <a:pt x="11239" y="61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96" name="Freeform 244">
                <a:extLst>
                  <a:ext uri="{FF2B5EF4-FFF2-40B4-BE49-F238E27FC236}">
                    <a16:creationId xmlns:a16="http://schemas.microsoft.com/office/drawing/2014/main" id="{2A091EF6-DD06-91C0-A95D-36D3EA0981AC}"/>
                  </a:ext>
                </a:extLst>
              </p:cNvPr>
              <p:cNvSpPr>
                <a:spLocks noChangeAspect="1"/>
              </p:cNvSpPr>
              <p:nvPr>
                <p:custDataLst>
                  <p:tags r:id="rId168"/>
                </p:custDataLst>
              </p:nvPr>
            </p:nvSpPr>
            <p:spPr>
              <a:xfrm>
                <a:off x="4614498" y="4211955"/>
                <a:ext cx="24562" cy="69284"/>
              </a:xfrm>
              <a:custGeom>
                <a:avLst/>
                <a:gdLst/>
                <a:ahLst/>
                <a:cxnLst/>
                <a:rect l="0" t="0" r="0" b="0"/>
                <a:pathLst>
                  <a:path w="25219" h="71136">
                    <a:moveTo>
                      <a:pt x="8264" y="71135"/>
                    </a:moveTo>
                    <a:lnTo>
                      <a:pt x="1954" y="62106"/>
                    </a:lnTo>
                    <a:lnTo>
                      <a:pt x="261" y="49303"/>
                    </a:lnTo>
                    <a:lnTo>
                      <a:pt x="2695" y="20464"/>
                    </a:lnTo>
                    <a:lnTo>
                      <a:pt x="0" y="9907"/>
                    </a:lnTo>
                    <a:lnTo>
                      <a:pt x="3555" y="3248"/>
                    </a:lnTo>
                    <a:lnTo>
                      <a:pt x="8737" y="0"/>
                    </a:lnTo>
                    <a:lnTo>
                      <a:pt x="20116" y="13582"/>
                    </a:lnTo>
                    <a:lnTo>
                      <a:pt x="25218" y="32126"/>
                    </a:lnTo>
                    <a:lnTo>
                      <a:pt x="23327" y="4733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97" name="Freeform 245">
                <a:extLst>
                  <a:ext uri="{FF2B5EF4-FFF2-40B4-BE49-F238E27FC236}">
                    <a16:creationId xmlns:a16="http://schemas.microsoft.com/office/drawing/2014/main" id="{083873AD-AA12-076A-1872-C238E2CEC460}"/>
                  </a:ext>
                </a:extLst>
              </p:cNvPr>
              <p:cNvSpPr>
                <a:spLocks noChangeAspect="1"/>
              </p:cNvSpPr>
              <p:nvPr>
                <p:custDataLst>
                  <p:tags r:id="rId169"/>
                </p:custDataLst>
              </p:nvPr>
            </p:nvSpPr>
            <p:spPr>
              <a:xfrm>
                <a:off x="4842877" y="4269711"/>
                <a:ext cx="97108" cy="93200"/>
              </a:xfrm>
              <a:custGeom>
                <a:avLst/>
                <a:gdLst/>
                <a:ahLst/>
                <a:cxnLst/>
                <a:rect l="0" t="0" r="0" b="0"/>
                <a:pathLst>
                  <a:path w="99704" h="95691">
                    <a:moveTo>
                      <a:pt x="99703" y="23444"/>
                    </a:moveTo>
                    <a:lnTo>
                      <a:pt x="98345" y="39129"/>
                    </a:lnTo>
                    <a:lnTo>
                      <a:pt x="91398" y="43781"/>
                    </a:lnTo>
                    <a:lnTo>
                      <a:pt x="93142" y="60129"/>
                    </a:lnTo>
                    <a:lnTo>
                      <a:pt x="96577" y="72326"/>
                    </a:lnTo>
                    <a:lnTo>
                      <a:pt x="93283" y="76540"/>
                    </a:lnTo>
                    <a:lnTo>
                      <a:pt x="79990" y="81972"/>
                    </a:lnTo>
                    <a:lnTo>
                      <a:pt x="70804" y="80401"/>
                    </a:lnTo>
                    <a:lnTo>
                      <a:pt x="58053" y="88133"/>
                    </a:lnTo>
                    <a:lnTo>
                      <a:pt x="50127" y="89601"/>
                    </a:lnTo>
                    <a:lnTo>
                      <a:pt x="48129" y="95690"/>
                    </a:lnTo>
                    <a:lnTo>
                      <a:pt x="35574" y="89812"/>
                    </a:lnTo>
                    <a:lnTo>
                      <a:pt x="29571" y="89627"/>
                    </a:lnTo>
                    <a:lnTo>
                      <a:pt x="20073" y="76460"/>
                    </a:lnTo>
                    <a:lnTo>
                      <a:pt x="10984" y="66775"/>
                    </a:lnTo>
                    <a:lnTo>
                      <a:pt x="8303" y="58871"/>
                    </a:lnTo>
                    <a:lnTo>
                      <a:pt x="1720" y="57514"/>
                    </a:lnTo>
                    <a:lnTo>
                      <a:pt x="0" y="49599"/>
                    </a:lnTo>
                    <a:lnTo>
                      <a:pt x="33455" y="39948"/>
                    </a:lnTo>
                    <a:lnTo>
                      <a:pt x="45303" y="36702"/>
                    </a:lnTo>
                    <a:lnTo>
                      <a:pt x="63974" y="23597"/>
                    </a:lnTo>
                    <a:lnTo>
                      <a:pt x="59691" y="10287"/>
                    </a:lnTo>
                    <a:lnTo>
                      <a:pt x="67476" y="4140"/>
                    </a:lnTo>
                    <a:lnTo>
                      <a:pt x="84115"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98" name="Freeform 246">
                <a:extLst>
                  <a:ext uri="{FF2B5EF4-FFF2-40B4-BE49-F238E27FC236}">
                    <a16:creationId xmlns:a16="http://schemas.microsoft.com/office/drawing/2014/main" id="{5BCA4A05-72D4-24E0-708A-3AE5F48A2454}"/>
                  </a:ext>
                </a:extLst>
              </p:cNvPr>
              <p:cNvSpPr>
                <a:spLocks noChangeAspect="1"/>
              </p:cNvSpPr>
              <p:nvPr>
                <p:custDataLst>
                  <p:tags r:id="rId170"/>
                </p:custDataLst>
              </p:nvPr>
            </p:nvSpPr>
            <p:spPr>
              <a:xfrm>
                <a:off x="4812331" y="4232131"/>
                <a:ext cx="92855" cy="85889"/>
              </a:xfrm>
              <a:custGeom>
                <a:avLst/>
                <a:gdLst/>
                <a:ahLst/>
                <a:cxnLst/>
                <a:rect l="0" t="0" r="0" b="0"/>
                <a:pathLst>
                  <a:path w="95337" h="88185">
                    <a:moveTo>
                      <a:pt x="40005" y="102"/>
                    </a:moveTo>
                    <a:lnTo>
                      <a:pt x="52928" y="17694"/>
                    </a:lnTo>
                    <a:lnTo>
                      <a:pt x="62633" y="18973"/>
                    </a:lnTo>
                    <a:lnTo>
                      <a:pt x="72033" y="26214"/>
                    </a:lnTo>
                    <a:lnTo>
                      <a:pt x="82831" y="36398"/>
                    </a:lnTo>
                    <a:lnTo>
                      <a:pt x="91053" y="48872"/>
                    </a:lnTo>
                    <a:lnTo>
                      <a:pt x="95336" y="62182"/>
                    </a:lnTo>
                    <a:lnTo>
                      <a:pt x="76665" y="75287"/>
                    </a:lnTo>
                    <a:lnTo>
                      <a:pt x="64817" y="78533"/>
                    </a:lnTo>
                    <a:lnTo>
                      <a:pt x="31362" y="88184"/>
                    </a:lnTo>
                    <a:lnTo>
                      <a:pt x="28789" y="85351"/>
                    </a:lnTo>
                    <a:lnTo>
                      <a:pt x="29479" y="79077"/>
                    </a:lnTo>
                    <a:lnTo>
                      <a:pt x="26634" y="75104"/>
                    </a:lnTo>
                    <a:lnTo>
                      <a:pt x="25926" y="71189"/>
                    </a:lnTo>
                    <a:lnTo>
                      <a:pt x="21720" y="71488"/>
                    </a:lnTo>
                    <a:lnTo>
                      <a:pt x="18142" y="74953"/>
                    </a:lnTo>
                    <a:lnTo>
                      <a:pt x="14203" y="76075"/>
                    </a:lnTo>
                    <a:lnTo>
                      <a:pt x="9721" y="71933"/>
                    </a:lnTo>
                    <a:lnTo>
                      <a:pt x="6640" y="72305"/>
                    </a:lnTo>
                    <a:lnTo>
                      <a:pt x="4172" y="67788"/>
                    </a:lnTo>
                    <a:lnTo>
                      <a:pt x="2092" y="66899"/>
                    </a:lnTo>
                    <a:lnTo>
                      <a:pt x="2529" y="63573"/>
                    </a:lnTo>
                    <a:lnTo>
                      <a:pt x="0" y="55857"/>
                    </a:lnTo>
                    <a:lnTo>
                      <a:pt x="8459" y="44346"/>
                    </a:lnTo>
                    <a:lnTo>
                      <a:pt x="8385" y="30543"/>
                    </a:lnTo>
                    <a:lnTo>
                      <a:pt x="13898" y="23114"/>
                    </a:lnTo>
                    <a:lnTo>
                      <a:pt x="24695" y="17601"/>
                    </a:lnTo>
                    <a:lnTo>
                      <a:pt x="26889" y="14161"/>
                    </a:lnTo>
                    <a:lnTo>
                      <a:pt x="27835" y="8662"/>
                    </a:lnTo>
                    <a:lnTo>
                      <a:pt x="34367"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399" name="Freeform 247">
                <a:extLst>
                  <a:ext uri="{FF2B5EF4-FFF2-40B4-BE49-F238E27FC236}">
                    <a16:creationId xmlns:a16="http://schemas.microsoft.com/office/drawing/2014/main" id="{D2523725-50B3-DEE5-00FC-D8A0041B004C}"/>
                  </a:ext>
                </a:extLst>
              </p:cNvPr>
              <p:cNvSpPr>
                <a:spLocks noChangeAspect="1"/>
              </p:cNvSpPr>
              <p:nvPr>
                <p:custDataLst>
                  <p:tags r:id="rId171"/>
                </p:custDataLst>
              </p:nvPr>
            </p:nvSpPr>
            <p:spPr>
              <a:xfrm>
                <a:off x="4851295" y="4197053"/>
                <a:ext cx="77984" cy="82679"/>
              </a:xfrm>
              <a:custGeom>
                <a:avLst/>
                <a:gdLst/>
                <a:ahLst/>
                <a:cxnLst/>
                <a:rect l="0" t="0" r="0" b="0"/>
                <a:pathLst>
                  <a:path w="80069" h="84889">
                    <a:moveTo>
                      <a:pt x="29149" y="11788"/>
                    </a:moveTo>
                    <a:lnTo>
                      <a:pt x="31429" y="8468"/>
                    </a:lnTo>
                    <a:lnTo>
                      <a:pt x="39891" y="7099"/>
                    </a:lnTo>
                    <a:lnTo>
                      <a:pt x="44279" y="10077"/>
                    </a:lnTo>
                    <a:lnTo>
                      <a:pt x="47785" y="16019"/>
                    </a:lnTo>
                    <a:lnTo>
                      <a:pt x="52384" y="16897"/>
                    </a:lnTo>
                    <a:lnTo>
                      <a:pt x="55819" y="22127"/>
                    </a:lnTo>
                    <a:lnTo>
                      <a:pt x="68021" y="40512"/>
                    </a:lnTo>
                    <a:lnTo>
                      <a:pt x="68592" y="63598"/>
                    </a:lnTo>
                    <a:lnTo>
                      <a:pt x="80068" y="64798"/>
                    </a:lnTo>
                    <a:lnTo>
                      <a:pt x="75472" y="74601"/>
                    </a:lnTo>
                    <a:lnTo>
                      <a:pt x="58833" y="78741"/>
                    </a:lnTo>
                    <a:lnTo>
                      <a:pt x="51048" y="84888"/>
                    </a:lnTo>
                    <a:lnTo>
                      <a:pt x="42826" y="72414"/>
                    </a:lnTo>
                    <a:lnTo>
                      <a:pt x="32028" y="62230"/>
                    </a:lnTo>
                    <a:lnTo>
                      <a:pt x="22628" y="54989"/>
                    </a:lnTo>
                    <a:lnTo>
                      <a:pt x="12923" y="53710"/>
                    </a:lnTo>
                    <a:lnTo>
                      <a:pt x="0" y="36118"/>
                    </a:lnTo>
                    <a:lnTo>
                      <a:pt x="2576" y="33398"/>
                    </a:lnTo>
                    <a:lnTo>
                      <a:pt x="2912" y="25432"/>
                    </a:lnTo>
                    <a:lnTo>
                      <a:pt x="568" y="17836"/>
                    </a:lnTo>
                    <a:lnTo>
                      <a:pt x="5567" y="12103"/>
                    </a:lnTo>
                    <a:lnTo>
                      <a:pt x="4419" y="5018"/>
                    </a:lnTo>
                    <a:lnTo>
                      <a:pt x="6987" y="2219"/>
                    </a:lnTo>
                    <a:lnTo>
                      <a:pt x="16378" y="3064"/>
                    </a:lnTo>
                    <a:lnTo>
                      <a:pt x="21907" y="0"/>
                    </a:lnTo>
                    <a:lnTo>
                      <a:pt x="23285" y="848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00" name="Freeform 248">
                <a:extLst>
                  <a:ext uri="{FF2B5EF4-FFF2-40B4-BE49-F238E27FC236}">
                    <a16:creationId xmlns:a16="http://schemas.microsoft.com/office/drawing/2014/main" id="{7B5134A8-7197-6B50-F87F-4BCAB2AA8EAB}"/>
                  </a:ext>
                </a:extLst>
              </p:cNvPr>
              <p:cNvSpPr>
                <a:spLocks noChangeAspect="1"/>
              </p:cNvSpPr>
              <p:nvPr>
                <p:custDataLst>
                  <p:tags r:id="rId172"/>
                </p:custDataLst>
              </p:nvPr>
            </p:nvSpPr>
            <p:spPr>
              <a:xfrm>
                <a:off x="4905661" y="4200562"/>
                <a:ext cx="98365" cy="93883"/>
              </a:xfrm>
              <a:custGeom>
                <a:avLst/>
                <a:gdLst/>
                <a:ahLst/>
                <a:cxnLst/>
                <a:rect l="0" t="0" r="0" b="0"/>
                <a:pathLst>
                  <a:path w="100994" h="96393">
                    <a:moveTo>
                      <a:pt x="96794" y="78868"/>
                    </a:moveTo>
                    <a:lnTo>
                      <a:pt x="91492" y="86904"/>
                    </a:lnTo>
                    <a:lnTo>
                      <a:pt x="72797" y="96392"/>
                    </a:lnTo>
                    <a:lnTo>
                      <a:pt x="61210" y="92249"/>
                    </a:lnTo>
                    <a:lnTo>
                      <a:pt x="47044" y="90402"/>
                    </a:lnTo>
                    <a:lnTo>
                      <a:pt x="35241" y="94442"/>
                    </a:lnTo>
                    <a:lnTo>
                      <a:pt x="19653" y="70998"/>
                    </a:lnTo>
                    <a:lnTo>
                      <a:pt x="24249" y="61195"/>
                    </a:lnTo>
                    <a:lnTo>
                      <a:pt x="12773" y="59995"/>
                    </a:lnTo>
                    <a:lnTo>
                      <a:pt x="12202" y="36909"/>
                    </a:lnTo>
                    <a:lnTo>
                      <a:pt x="0" y="18524"/>
                    </a:lnTo>
                    <a:lnTo>
                      <a:pt x="7393" y="18878"/>
                    </a:lnTo>
                    <a:lnTo>
                      <a:pt x="19583" y="16340"/>
                    </a:lnTo>
                    <a:lnTo>
                      <a:pt x="32717" y="18431"/>
                    </a:lnTo>
                    <a:lnTo>
                      <a:pt x="39074" y="16505"/>
                    </a:lnTo>
                    <a:lnTo>
                      <a:pt x="40327" y="15267"/>
                    </a:lnTo>
                    <a:lnTo>
                      <a:pt x="40291" y="9104"/>
                    </a:lnTo>
                    <a:lnTo>
                      <a:pt x="43368" y="4991"/>
                    </a:lnTo>
                    <a:lnTo>
                      <a:pt x="47204" y="8384"/>
                    </a:lnTo>
                    <a:lnTo>
                      <a:pt x="49752" y="14182"/>
                    </a:lnTo>
                    <a:lnTo>
                      <a:pt x="61609" y="15631"/>
                    </a:lnTo>
                    <a:lnTo>
                      <a:pt x="66442" y="13717"/>
                    </a:lnTo>
                    <a:lnTo>
                      <a:pt x="68303" y="11411"/>
                    </a:lnTo>
                    <a:lnTo>
                      <a:pt x="68469" y="8443"/>
                    </a:lnTo>
                    <a:lnTo>
                      <a:pt x="76555" y="2462"/>
                    </a:lnTo>
                    <a:lnTo>
                      <a:pt x="88413" y="0"/>
                    </a:lnTo>
                    <a:lnTo>
                      <a:pt x="97512" y="7153"/>
                    </a:lnTo>
                    <a:lnTo>
                      <a:pt x="98256" y="11161"/>
                    </a:lnTo>
                    <a:lnTo>
                      <a:pt x="94797" y="19010"/>
                    </a:lnTo>
                    <a:lnTo>
                      <a:pt x="96007" y="25986"/>
                    </a:lnTo>
                    <a:lnTo>
                      <a:pt x="95685" y="31943"/>
                    </a:lnTo>
                    <a:lnTo>
                      <a:pt x="86954" y="32954"/>
                    </a:lnTo>
                    <a:lnTo>
                      <a:pt x="87588" y="35485"/>
                    </a:lnTo>
                    <a:lnTo>
                      <a:pt x="91222" y="37609"/>
                    </a:lnTo>
                    <a:lnTo>
                      <a:pt x="96220" y="47653"/>
                    </a:lnTo>
                    <a:lnTo>
                      <a:pt x="96057" y="58917"/>
                    </a:lnTo>
                    <a:lnTo>
                      <a:pt x="97433" y="62788"/>
                    </a:lnTo>
                    <a:lnTo>
                      <a:pt x="100543" y="66427"/>
                    </a:lnTo>
                    <a:lnTo>
                      <a:pt x="100993" y="70879"/>
                    </a:lnTo>
                    <a:lnTo>
                      <a:pt x="97273" y="7439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01" name="Freeform 249">
                <a:extLst>
                  <a:ext uri="{FF2B5EF4-FFF2-40B4-BE49-F238E27FC236}">
                    <a16:creationId xmlns:a16="http://schemas.microsoft.com/office/drawing/2014/main" id="{BCFBC7CB-939B-0593-AF66-EBE83E0B8866}"/>
                  </a:ext>
                </a:extLst>
              </p:cNvPr>
              <p:cNvSpPr>
                <a:spLocks noChangeAspect="1"/>
              </p:cNvSpPr>
              <p:nvPr>
                <p:custDataLst>
                  <p:tags r:id="rId173"/>
                </p:custDataLst>
              </p:nvPr>
            </p:nvSpPr>
            <p:spPr>
              <a:xfrm>
                <a:off x="4931895" y="4277377"/>
                <a:ext cx="89442" cy="62779"/>
              </a:xfrm>
              <a:custGeom>
                <a:avLst/>
                <a:gdLst/>
                <a:ahLst/>
                <a:cxnLst/>
                <a:rect l="0" t="0" r="0" b="0"/>
                <a:pathLst>
                  <a:path w="91833" h="64457">
                    <a:moveTo>
                      <a:pt x="88630" y="44269"/>
                    </a:moveTo>
                    <a:lnTo>
                      <a:pt x="85878" y="53441"/>
                    </a:lnTo>
                    <a:lnTo>
                      <a:pt x="72071" y="61827"/>
                    </a:lnTo>
                    <a:lnTo>
                      <a:pt x="63141" y="60296"/>
                    </a:lnTo>
                    <a:lnTo>
                      <a:pt x="61167" y="55357"/>
                    </a:lnTo>
                    <a:lnTo>
                      <a:pt x="57644" y="53544"/>
                    </a:lnTo>
                    <a:lnTo>
                      <a:pt x="44965" y="55411"/>
                    </a:lnTo>
                    <a:lnTo>
                      <a:pt x="39432" y="53335"/>
                    </a:lnTo>
                    <a:lnTo>
                      <a:pt x="31146" y="56846"/>
                    </a:lnTo>
                    <a:lnTo>
                      <a:pt x="26888" y="55481"/>
                    </a:lnTo>
                    <a:lnTo>
                      <a:pt x="19732" y="56623"/>
                    </a:lnTo>
                    <a:lnTo>
                      <a:pt x="18207" y="56151"/>
                    </a:lnTo>
                    <a:lnTo>
                      <a:pt x="16603" y="52678"/>
                    </a:lnTo>
                    <a:lnTo>
                      <a:pt x="13872" y="51793"/>
                    </a:lnTo>
                    <a:lnTo>
                      <a:pt x="8608" y="55340"/>
                    </a:lnTo>
                    <a:lnTo>
                      <a:pt x="5179" y="64456"/>
                    </a:lnTo>
                    <a:lnTo>
                      <a:pt x="1744" y="52259"/>
                    </a:lnTo>
                    <a:lnTo>
                      <a:pt x="0" y="35911"/>
                    </a:lnTo>
                    <a:lnTo>
                      <a:pt x="6947" y="31259"/>
                    </a:lnTo>
                    <a:lnTo>
                      <a:pt x="8305" y="15574"/>
                    </a:lnTo>
                    <a:lnTo>
                      <a:pt x="20108" y="11534"/>
                    </a:lnTo>
                    <a:lnTo>
                      <a:pt x="34274" y="13381"/>
                    </a:lnTo>
                    <a:lnTo>
                      <a:pt x="45861" y="17524"/>
                    </a:lnTo>
                    <a:lnTo>
                      <a:pt x="64556" y="8036"/>
                    </a:lnTo>
                    <a:lnTo>
                      <a:pt x="69858" y="0"/>
                    </a:lnTo>
                    <a:lnTo>
                      <a:pt x="74055" y="71"/>
                    </a:lnTo>
                    <a:lnTo>
                      <a:pt x="80817" y="7409"/>
                    </a:lnTo>
                    <a:lnTo>
                      <a:pt x="89765" y="8298"/>
                    </a:lnTo>
                    <a:lnTo>
                      <a:pt x="91828" y="9932"/>
                    </a:lnTo>
                    <a:lnTo>
                      <a:pt x="91832" y="14178"/>
                    </a:lnTo>
                    <a:lnTo>
                      <a:pt x="88446" y="16083"/>
                    </a:lnTo>
                    <a:lnTo>
                      <a:pt x="84556" y="24798"/>
                    </a:lnTo>
                    <a:lnTo>
                      <a:pt x="84213" y="28108"/>
                    </a:lnTo>
                    <a:lnTo>
                      <a:pt x="84604" y="3872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02" name="Freeform 250">
                <a:extLst>
                  <a:ext uri="{FF2B5EF4-FFF2-40B4-BE49-F238E27FC236}">
                    <a16:creationId xmlns:a16="http://schemas.microsoft.com/office/drawing/2014/main" id="{3FDC4D9D-E51F-D2B5-451D-879E27EC378A}"/>
                  </a:ext>
                </a:extLst>
              </p:cNvPr>
              <p:cNvSpPr>
                <a:spLocks noChangeAspect="1"/>
              </p:cNvSpPr>
              <p:nvPr>
                <p:custDataLst>
                  <p:tags r:id="rId174"/>
                </p:custDataLst>
              </p:nvPr>
            </p:nvSpPr>
            <p:spPr>
              <a:xfrm>
                <a:off x="4735812" y="4351437"/>
                <a:ext cx="47411" cy="50232"/>
              </a:xfrm>
              <a:custGeom>
                <a:avLst/>
                <a:gdLst/>
                <a:ahLst/>
                <a:cxnLst/>
                <a:rect l="0" t="0" r="0" b="0"/>
                <a:pathLst>
                  <a:path w="48678" h="51575">
                    <a:moveTo>
                      <a:pt x="31639" y="7191"/>
                    </a:moveTo>
                    <a:lnTo>
                      <a:pt x="39968" y="7064"/>
                    </a:lnTo>
                    <a:lnTo>
                      <a:pt x="47010" y="18495"/>
                    </a:lnTo>
                    <a:lnTo>
                      <a:pt x="48677" y="30835"/>
                    </a:lnTo>
                    <a:lnTo>
                      <a:pt x="43886" y="38331"/>
                    </a:lnTo>
                    <a:lnTo>
                      <a:pt x="33049" y="36025"/>
                    </a:lnTo>
                    <a:lnTo>
                      <a:pt x="23759" y="38635"/>
                    </a:lnTo>
                    <a:lnTo>
                      <a:pt x="15317" y="51574"/>
                    </a:lnTo>
                    <a:lnTo>
                      <a:pt x="6366" y="35130"/>
                    </a:lnTo>
                    <a:lnTo>
                      <a:pt x="2338" y="15022"/>
                    </a:lnTo>
                    <a:lnTo>
                      <a:pt x="0" y="6170"/>
                    </a:lnTo>
                    <a:lnTo>
                      <a:pt x="15857"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03" name="Freeform 251">
                <a:extLst>
                  <a:ext uri="{FF2B5EF4-FFF2-40B4-BE49-F238E27FC236}">
                    <a16:creationId xmlns:a16="http://schemas.microsoft.com/office/drawing/2014/main" id="{8175FF4D-F51F-9AAA-C181-C82C88E09BCB}"/>
                  </a:ext>
                </a:extLst>
              </p:cNvPr>
              <p:cNvSpPr>
                <a:spLocks noChangeAspect="1"/>
              </p:cNvSpPr>
              <p:nvPr>
                <p:custDataLst>
                  <p:tags r:id="rId175"/>
                </p:custDataLst>
              </p:nvPr>
            </p:nvSpPr>
            <p:spPr>
              <a:xfrm>
                <a:off x="4682681" y="4329814"/>
                <a:ext cx="59332" cy="65955"/>
              </a:xfrm>
              <a:custGeom>
                <a:avLst/>
                <a:gdLst/>
                <a:ahLst/>
                <a:cxnLst/>
                <a:rect l="0" t="0" r="0" b="0"/>
                <a:pathLst>
                  <a:path w="60918" h="67718">
                    <a:moveTo>
                      <a:pt x="43473" y="5226"/>
                    </a:moveTo>
                    <a:lnTo>
                      <a:pt x="52767" y="21613"/>
                    </a:lnTo>
                    <a:lnTo>
                      <a:pt x="54551" y="28371"/>
                    </a:lnTo>
                    <a:lnTo>
                      <a:pt x="56889" y="37223"/>
                    </a:lnTo>
                    <a:lnTo>
                      <a:pt x="60917" y="57331"/>
                    </a:lnTo>
                    <a:lnTo>
                      <a:pt x="52451" y="57343"/>
                    </a:lnTo>
                    <a:lnTo>
                      <a:pt x="48857" y="62800"/>
                    </a:lnTo>
                    <a:lnTo>
                      <a:pt x="42524" y="67717"/>
                    </a:lnTo>
                    <a:lnTo>
                      <a:pt x="38917" y="62172"/>
                    </a:lnTo>
                    <a:lnTo>
                      <a:pt x="34841" y="59140"/>
                    </a:lnTo>
                    <a:lnTo>
                      <a:pt x="33826" y="53741"/>
                    </a:lnTo>
                    <a:lnTo>
                      <a:pt x="23466" y="53858"/>
                    </a:lnTo>
                    <a:lnTo>
                      <a:pt x="17614" y="50743"/>
                    </a:lnTo>
                    <a:lnTo>
                      <a:pt x="14242" y="54274"/>
                    </a:lnTo>
                    <a:lnTo>
                      <a:pt x="0" y="39330"/>
                    </a:lnTo>
                    <a:lnTo>
                      <a:pt x="8788" y="32036"/>
                    </a:lnTo>
                    <a:lnTo>
                      <a:pt x="10722" y="24809"/>
                    </a:lnTo>
                    <a:lnTo>
                      <a:pt x="13321" y="20222"/>
                    </a:lnTo>
                    <a:lnTo>
                      <a:pt x="12382" y="14494"/>
                    </a:lnTo>
                    <a:lnTo>
                      <a:pt x="14491" y="5340"/>
                    </a:lnTo>
                    <a:lnTo>
                      <a:pt x="16500" y="4154"/>
                    </a:lnTo>
                    <a:lnTo>
                      <a:pt x="26179" y="2468"/>
                    </a:lnTo>
                    <a:lnTo>
                      <a:pt x="28875" y="6781"/>
                    </a:lnTo>
                    <a:lnTo>
                      <a:pt x="30510" y="6762"/>
                    </a:lnTo>
                    <a:lnTo>
                      <a:pt x="36356" y="0"/>
                    </a:lnTo>
                    <a:lnTo>
                      <a:pt x="39193" y="71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04" name="Freeform 252">
                <a:extLst>
                  <a:ext uri="{FF2B5EF4-FFF2-40B4-BE49-F238E27FC236}">
                    <a16:creationId xmlns:a16="http://schemas.microsoft.com/office/drawing/2014/main" id="{A04BDBAD-736D-7BEB-94E4-6E3E9C118A87}"/>
                  </a:ext>
                </a:extLst>
              </p:cNvPr>
              <p:cNvSpPr>
                <a:spLocks noChangeAspect="1"/>
              </p:cNvSpPr>
              <p:nvPr>
                <p:custDataLst>
                  <p:tags r:id="rId176"/>
                </p:custDataLst>
              </p:nvPr>
            </p:nvSpPr>
            <p:spPr>
              <a:xfrm>
                <a:off x="4725022" y="4317792"/>
                <a:ext cx="49718" cy="40649"/>
              </a:xfrm>
              <a:custGeom>
                <a:avLst/>
                <a:gdLst/>
                <a:ahLst/>
                <a:cxnLst/>
                <a:rect l="0" t="0" r="0" b="0"/>
                <a:pathLst>
                  <a:path w="51047" h="41736">
                    <a:moveTo>
                      <a:pt x="41173" y="3323"/>
                    </a:moveTo>
                    <a:lnTo>
                      <a:pt x="44858" y="21091"/>
                    </a:lnTo>
                    <a:lnTo>
                      <a:pt x="51046" y="41608"/>
                    </a:lnTo>
                    <a:lnTo>
                      <a:pt x="42717" y="41735"/>
                    </a:lnTo>
                    <a:lnTo>
                      <a:pt x="26935" y="34544"/>
                    </a:lnTo>
                    <a:lnTo>
                      <a:pt x="11078" y="40714"/>
                    </a:lnTo>
                    <a:lnTo>
                      <a:pt x="9294" y="33956"/>
                    </a:lnTo>
                    <a:lnTo>
                      <a:pt x="0" y="17569"/>
                    </a:lnTo>
                    <a:lnTo>
                      <a:pt x="12212" y="6751"/>
                    </a:lnTo>
                    <a:lnTo>
                      <a:pt x="12269" y="6690"/>
                    </a:lnTo>
                    <a:lnTo>
                      <a:pt x="21472" y="7732"/>
                    </a:lnTo>
                    <a:lnTo>
                      <a:pt x="27976"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05" name="Freeform 253">
                <a:extLst>
                  <a:ext uri="{FF2B5EF4-FFF2-40B4-BE49-F238E27FC236}">
                    <a16:creationId xmlns:a16="http://schemas.microsoft.com/office/drawing/2014/main" id="{1341B499-4CB5-085D-9CDC-C09924308B66}"/>
                  </a:ext>
                </a:extLst>
              </p:cNvPr>
              <p:cNvSpPr>
                <a:spLocks noChangeAspect="1"/>
              </p:cNvSpPr>
              <p:nvPr>
                <p:custDataLst>
                  <p:tags r:id="rId177"/>
                </p:custDataLst>
              </p:nvPr>
            </p:nvSpPr>
            <p:spPr>
              <a:xfrm>
                <a:off x="4765123" y="4308953"/>
                <a:ext cx="28135" cy="60498"/>
              </a:xfrm>
              <a:custGeom>
                <a:avLst/>
                <a:gdLst/>
                <a:ahLst/>
                <a:cxnLst/>
                <a:rect l="0" t="0" r="0" b="0"/>
                <a:pathLst>
                  <a:path w="28887" h="62115">
                    <a:moveTo>
                      <a:pt x="10560" y="3518"/>
                    </a:moveTo>
                    <a:lnTo>
                      <a:pt x="18878" y="0"/>
                    </a:lnTo>
                    <a:lnTo>
                      <a:pt x="21659" y="478"/>
                    </a:lnTo>
                    <a:lnTo>
                      <a:pt x="23022" y="15217"/>
                    </a:lnTo>
                    <a:lnTo>
                      <a:pt x="26941" y="19922"/>
                    </a:lnTo>
                    <a:lnTo>
                      <a:pt x="28164" y="30600"/>
                    </a:lnTo>
                    <a:lnTo>
                      <a:pt x="28886" y="44605"/>
                    </a:lnTo>
                    <a:lnTo>
                      <a:pt x="22639" y="52128"/>
                    </a:lnTo>
                    <a:lnTo>
                      <a:pt x="16915" y="62114"/>
                    </a:lnTo>
                    <a:lnTo>
                      <a:pt x="9873" y="50683"/>
                    </a:lnTo>
                    <a:lnTo>
                      <a:pt x="3685" y="30166"/>
                    </a:lnTo>
                    <a:lnTo>
                      <a:pt x="0" y="12398"/>
                    </a:lnTo>
                    <a:lnTo>
                      <a:pt x="2541" y="9694"/>
                    </a:lnTo>
                    <a:lnTo>
                      <a:pt x="3575" y="6815"/>
                    </a:lnTo>
                    <a:lnTo>
                      <a:pt x="3378" y="2257"/>
                    </a:lnTo>
                    <a:lnTo>
                      <a:pt x="4319" y="998"/>
                    </a:lnTo>
                    <a:lnTo>
                      <a:pt x="4984" y="10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06" name="Freeform 254">
                <a:extLst>
                  <a:ext uri="{FF2B5EF4-FFF2-40B4-BE49-F238E27FC236}">
                    <a16:creationId xmlns:a16="http://schemas.microsoft.com/office/drawing/2014/main" id="{92305E58-83B5-F531-363F-E632F1C66E67}"/>
                  </a:ext>
                </a:extLst>
              </p:cNvPr>
              <p:cNvSpPr>
                <a:spLocks noChangeAspect="1"/>
              </p:cNvSpPr>
              <p:nvPr>
                <p:custDataLst>
                  <p:tags r:id="rId178"/>
                </p:custDataLst>
              </p:nvPr>
            </p:nvSpPr>
            <p:spPr>
              <a:xfrm>
                <a:off x="4791363" y="4297288"/>
                <a:ext cx="59602" cy="63678"/>
              </a:xfrm>
              <a:custGeom>
                <a:avLst/>
                <a:gdLst/>
                <a:ahLst/>
                <a:cxnLst/>
                <a:rect l="0" t="0" r="0" b="0"/>
                <a:pathLst>
                  <a:path w="61195" h="65380">
                    <a:moveTo>
                      <a:pt x="28169" y="5406"/>
                    </a:moveTo>
                    <a:lnTo>
                      <a:pt x="31250" y="5034"/>
                    </a:lnTo>
                    <a:lnTo>
                      <a:pt x="35732" y="9176"/>
                    </a:lnTo>
                    <a:lnTo>
                      <a:pt x="39671" y="8054"/>
                    </a:lnTo>
                    <a:lnTo>
                      <a:pt x="43249" y="4589"/>
                    </a:lnTo>
                    <a:lnTo>
                      <a:pt x="47455" y="4290"/>
                    </a:lnTo>
                    <a:lnTo>
                      <a:pt x="48163" y="8205"/>
                    </a:lnTo>
                    <a:lnTo>
                      <a:pt x="51008" y="12178"/>
                    </a:lnTo>
                    <a:lnTo>
                      <a:pt x="50318" y="18452"/>
                    </a:lnTo>
                    <a:lnTo>
                      <a:pt x="52891" y="21285"/>
                    </a:lnTo>
                    <a:lnTo>
                      <a:pt x="54611" y="29200"/>
                    </a:lnTo>
                    <a:lnTo>
                      <a:pt x="61194" y="30557"/>
                    </a:lnTo>
                    <a:lnTo>
                      <a:pt x="36945" y="41942"/>
                    </a:lnTo>
                    <a:lnTo>
                      <a:pt x="24356" y="49595"/>
                    </a:lnTo>
                    <a:lnTo>
                      <a:pt x="17776" y="65379"/>
                    </a:lnTo>
                    <a:lnTo>
                      <a:pt x="1945" y="56582"/>
                    </a:lnTo>
                    <a:lnTo>
                      <a:pt x="1223" y="42577"/>
                    </a:lnTo>
                    <a:lnTo>
                      <a:pt x="0" y="31899"/>
                    </a:lnTo>
                    <a:lnTo>
                      <a:pt x="1536" y="29533"/>
                    </a:lnTo>
                    <a:lnTo>
                      <a:pt x="488" y="19263"/>
                    </a:lnTo>
                    <a:lnTo>
                      <a:pt x="2470" y="13818"/>
                    </a:lnTo>
                    <a:lnTo>
                      <a:pt x="6986" y="9594"/>
                    </a:lnTo>
                    <a:lnTo>
                      <a:pt x="23621" y="0"/>
                    </a:lnTo>
                    <a:lnTo>
                      <a:pt x="25701" y="88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07" name="Freeform 255">
                <a:extLst>
                  <a:ext uri="{FF2B5EF4-FFF2-40B4-BE49-F238E27FC236}">
                    <a16:creationId xmlns:a16="http://schemas.microsoft.com/office/drawing/2014/main" id="{BBADB308-7967-A2FA-9A75-678C9EA95A99}"/>
                  </a:ext>
                </a:extLst>
              </p:cNvPr>
              <p:cNvSpPr>
                <a:spLocks noChangeAspect="1"/>
              </p:cNvSpPr>
              <p:nvPr>
                <p:custDataLst>
                  <p:tags r:id="rId179"/>
                </p:custDataLst>
              </p:nvPr>
            </p:nvSpPr>
            <p:spPr>
              <a:xfrm>
                <a:off x="4804221" y="4327050"/>
                <a:ext cx="67458" cy="54214"/>
              </a:xfrm>
              <a:custGeom>
                <a:avLst/>
                <a:gdLst/>
                <a:ahLst/>
                <a:cxnLst/>
                <a:rect l="0" t="0" r="0" b="0"/>
                <a:pathLst>
                  <a:path w="69261" h="55663">
                    <a:moveTo>
                      <a:pt x="69260" y="30756"/>
                    </a:moveTo>
                    <a:lnTo>
                      <a:pt x="66458" y="35595"/>
                    </a:lnTo>
                    <a:lnTo>
                      <a:pt x="64593" y="43181"/>
                    </a:lnTo>
                    <a:lnTo>
                      <a:pt x="61545" y="45161"/>
                    </a:lnTo>
                    <a:lnTo>
                      <a:pt x="54477" y="45725"/>
                    </a:lnTo>
                    <a:lnTo>
                      <a:pt x="51460" y="55662"/>
                    </a:lnTo>
                    <a:lnTo>
                      <a:pt x="38629" y="46551"/>
                    </a:lnTo>
                    <a:lnTo>
                      <a:pt x="22338" y="41094"/>
                    </a:lnTo>
                    <a:lnTo>
                      <a:pt x="9768" y="51218"/>
                    </a:lnTo>
                    <a:lnTo>
                      <a:pt x="0" y="53865"/>
                    </a:lnTo>
                    <a:lnTo>
                      <a:pt x="3248" y="43090"/>
                    </a:lnTo>
                    <a:lnTo>
                      <a:pt x="4574" y="34822"/>
                    </a:lnTo>
                    <a:lnTo>
                      <a:pt x="11154" y="19038"/>
                    </a:lnTo>
                    <a:lnTo>
                      <a:pt x="23743" y="11385"/>
                    </a:lnTo>
                    <a:lnTo>
                      <a:pt x="47992" y="0"/>
                    </a:lnTo>
                    <a:lnTo>
                      <a:pt x="50673" y="7904"/>
                    </a:lnTo>
                    <a:lnTo>
                      <a:pt x="59762" y="1758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08" name="Freeform 256">
                <a:extLst>
                  <a:ext uri="{FF2B5EF4-FFF2-40B4-BE49-F238E27FC236}">
                    <a16:creationId xmlns:a16="http://schemas.microsoft.com/office/drawing/2014/main" id="{430D5748-499D-7DBC-5AE9-DB1A8CA926E2}"/>
                  </a:ext>
                </a:extLst>
              </p:cNvPr>
              <p:cNvSpPr>
                <a:spLocks noChangeAspect="1"/>
              </p:cNvSpPr>
              <p:nvPr>
                <p:custDataLst>
                  <p:tags r:id="rId180"/>
                </p:custDataLst>
              </p:nvPr>
            </p:nvSpPr>
            <p:spPr>
              <a:xfrm>
                <a:off x="4799552" y="4367074"/>
                <a:ext cx="54790" cy="37008"/>
              </a:xfrm>
              <a:custGeom>
                <a:avLst/>
                <a:gdLst/>
                <a:ahLst/>
                <a:cxnLst/>
                <a:rect l="0" t="0" r="0" b="0"/>
                <a:pathLst>
                  <a:path w="56255" h="37997">
                    <a:moveTo>
                      <a:pt x="56254" y="14568"/>
                    </a:moveTo>
                    <a:lnTo>
                      <a:pt x="55379" y="24145"/>
                    </a:lnTo>
                    <a:lnTo>
                      <a:pt x="49436" y="30526"/>
                    </a:lnTo>
                    <a:lnTo>
                      <a:pt x="48593" y="33406"/>
                    </a:lnTo>
                    <a:lnTo>
                      <a:pt x="48968" y="36264"/>
                    </a:lnTo>
                    <a:lnTo>
                      <a:pt x="39139" y="37697"/>
                    </a:lnTo>
                    <a:lnTo>
                      <a:pt x="23415" y="37996"/>
                    </a:lnTo>
                    <a:lnTo>
                      <a:pt x="10509" y="30810"/>
                    </a:lnTo>
                    <a:lnTo>
                      <a:pt x="139" y="27691"/>
                    </a:lnTo>
                    <a:lnTo>
                      <a:pt x="0" y="19450"/>
                    </a:lnTo>
                    <a:lnTo>
                      <a:pt x="4794" y="12771"/>
                    </a:lnTo>
                    <a:lnTo>
                      <a:pt x="14562" y="10124"/>
                    </a:lnTo>
                    <a:lnTo>
                      <a:pt x="27132" y="0"/>
                    </a:lnTo>
                    <a:lnTo>
                      <a:pt x="43423" y="545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09" name="Freeform 257">
                <a:extLst>
                  <a:ext uri="{FF2B5EF4-FFF2-40B4-BE49-F238E27FC236}">
                    <a16:creationId xmlns:a16="http://schemas.microsoft.com/office/drawing/2014/main" id="{A5D8A008-FF10-0D0A-41AF-C8E7ADB8FB3F}"/>
                  </a:ext>
                </a:extLst>
              </p:cNvPr>
              <p:cNvSpPr>
                <a:spLocks noChangeAspect="1"/>
              </p:cNvSpPr>
              <p:nvPr>
                <p:custDataLst>
                  <p:tags r:id="rId181"/>
                </p:custDataLst>
              </p:nvPr>
            </p:nvSpPr>
            <p:spPr>
              <a:xfrm>
                <a:off x="4791006" y="4394044"/>
                <a:ext cx="63069" cy="42872"/>
              </a:xfrm>
              <a:custGeom>
                <a:avLst/>
                <a:gdLst/>
                <a:ahLst/>
                <a:cxnLst/>
                <a:rect l="0" t="0" r="0" b="0"/>
                <a:pathLst>
                  <a:path w="64755" h="44018">
                    <a:moveTo>
                      <a:pt x="32189" y="10305"/>
                    </a:moveTo>
                    <a:lnTo>
                      <a:pt x="47913" y="10006"/>
                    </a:lnTo>
                    <a:lnTo>
                      <a:pt x="57742" y="8573"/>
                    </a:lnTo>
                    <a:lnTo>
                      <a:pt x="62608" y="10803"/>
                    </a:lnTo>
                    <a:lnTo>
                      <a:pt x="64754" y="13840"/>
                    </a:lnTo>
                    <a:lnTo>
                      <a:pt x="59688" y="23186"/>
                    </a:lnTo>
                    <a:lnTo>
                      <a:pt x="56913" y="24644"/>
                    </a:lnTo>
                    <a:lnTo>
                      <a:pt x="52704" y="25775"/>
                    </a:lnTo>
                    <a:lnTo>
                      <a:pt x="49591" y="31771"/>
                    </a:lnTo>
                    <a:lnTo>
                      <a:pt x="42373" y="28504"/>
                    </a:lnTo>
                    <a:lnTo>
                      <a:pt x="33453" y="29324"/>
                    </a:lnTo>
                    <a:lnTo>
                      <a:pt x="31092" y="32013"/>
                    </a:lnTo>
                    <a:lnTo>
                      <a:pt x="29047" y="41510"/>
                    </a:lnTo>
                    <a:lnTo>
                      <a:pt x="24710" y="44017"/>
                    </a:lnTo>
                    <a:lnTo>
                      <a:pt x="21226" y="40487"/>
                    </a:lnTo>
                    <a:lnTo>
                      <a:pt x="21680" y="37496"/>
                    </a:lnTo>
                    <a:lnTo>
                      <a:pt x="20749" y="34856"/>
                    </a:lnTo>
                    <a:lnTo>
                      <a:pt x="14424" y="31788"/>
                    </a:lnTo>
                    <a:lnTo>
                      <a:pt x="6491" y="31500"/>
                    </a:lnTo>
                    <a:lnTo>
                      <a:pt x="1550" y="35403"/>
                    </a:lnTo>
                    <a:lnTo>
                      <a:pt x="0" y="25708"/>
                    </a:lnTo>
                    <a:lnTo>
                      <a:pt x="7184" y="14046"/>
                    </a:lnTo>
                    <a:lnTo>
                      <a:pt x="8913" y="0"/>
                    </a:lnTo>
                    <a:lnTo>
                      <a:pt x="19283" y="311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10" name="Freeform 258">
                <a:extLst>
                  <a:ext uri="{FF2B5EF4-FFF2-40B4-BE49-F238E27FC236}">
                    <a16:creationId xmlns:a16="http://schemas.microsoft.com/office/drawing/2014/main" id="{D4F9482F-2F7F-C780-66A6-1B5C5692B2E3}"/>
                  </a:ext>
                </a:extLst>
              </p:cNvPr>
              <p:cNvSpPr>
                <a:spLocks noChangeAspect="1"/>
              </p:cNvSpPr>
              <p:nvPr>
                <p:custDataLst>
                  <p:tags r:id="rId182"/>
                </p:custDataLst>
              </p:nvPr>
            </p:nvSpPr>
            <p:spPr>
              <a:xfrm>
                <a:off x="4776536" y="4352397"/>
                <a:ext cx="32141" cy="77242"/>
              </a:xfrm>
              <a:custGeom>
                <a:avLst/>
                <a:gdLst/>
                <a:ahLst/>
                <a:cxnLst/>
                <a:rect l="0" t="0" r="0" b="0"/>
                <a:pathLst>
                  <a:path w="33000" h="79307">
                    <a:moveTo>
                      <a:pt x="32999" y="8797"/>
                    </a:moveTo>
                    <a:lnTo>
                      <a:pt x="31673" y="17065"/>
                    </a:lnTo>
                    <a:lnTo>
                      <a:pt x="28425" y="27840"/>
                    </a:lnTo>
                    <a:lnTo>
                      <a:pt x="23631" y="34519"/>
                    </a:lnTo>
                    <a:lnTo>
                      <a:pt x="23770" y="42760"/>
                    </a:lnTo>
                    <a:lnTo>
                      <a:pt x="22041" y="56806"/>
                    </a:lnTo>
                    <a:lnTo>
                      <a:pt x="14857" y="68468"/>
                    </a:lnTo>
                    <a:lnTo>
                      <a:pt x="16407" y="78163"/>
                    </a:lnTo>
                    <a:lnTo>
                      <a:pt x="11167" y="79306"/>
                    </a:lnTo>
                    <a:lnTo>
                      <a:pt x="3457" y="72636"/>
                    </a:lnTo>
                    <a:lnTo>
                      <a:pt x="0" y="62110"/>
                    </a:lnTo>
                    <a:lnTo>
                      <a:pt x="3325" y="54639"/>
                    </a:lnTo>
                    <a:lnTo>
                      <a:pt x="6157" y="47174"/>
                    </a:lnTo>
                    <a:lnTo>
                      <a:pt x="2073" y="37345"/>
                    </a:lnTo>
                    <a:lnTo>
                      <a:pt x="6864" y="29849"/>
                    </a:lnTo>
                    <a:lnTo>
                      <a:pt x="5197" y="17509"/>
                    </a:lnTo>
                    <a:lnTo>
                      <a:pt x="10921" y="7523"/>
                    </a:lnTo>
                    <a:lnTo>
                      <a:pt x="17168"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11" name="Freeform 259">
                <a:extLst>
                  <a:ext uri="{FF2B5EF4-FFF2-40B4-BE49-F238E27FC236}">
                    <a16:creationId xmlns:a16="http://schemas.microsoft.com/office/drawing/2014/main" id="{24E9CD7F-CA11-85B7-B500-550F3A6673F0}"/>
                  </a:ext>
                </a:extLst>
              </p:cNvPr>
              <p:cNvSpPr>
                <a:spLocks noChangeAspect="1"/>
              </p:cNvSpPr>
              <p:nvPr>
                <p:custDataLst>
                  <p:tags r:id="rId183"/>
                </p:custDataLst>
              </p:nvPr>
            </p:nvSpPr>
            <p:spPr>
              <a:xfrm>
                <a:off x="4747807" y="4386524"/>
                <a:ext cx="34727" cy="36619"/>
              </a:xfrm>
              <a:custGeom>
                <a:avLst/>
                <a:gdLst/>
                <a:ahLst/>
                <a:cxnLst/>
                <a:rect l="0" t="0" r="0" b="0"/>
                <a:pathLst>
                  <a:path w="35655" h="37598">
                    <a:moveTo>
                      <a:pt x="31570" y="2306"/>
                    </a:moveTo>
                    <a:lnTo>
                      <a:pt x="35654" y="12135"/>
                    </a:lnTo>
                    <a:lnTo>
                      <a:pt x="32822" y="19600"/>
                    </a:lnTo>
                    <a:lnTo>
                      <a:pt x="29497" y="27071"/>
                    </a:lnTo>
                    <a:lnTo>
                      <a:pt x="32954" y="37597"/>
                    </a:lnTo>
                    <a:lnTo>
                      <a:pt x="21981" y="36819"/>
                    </a:lnTo>
                    <a:lnTo>
                      <a:pt x="15014" y="32676"/>
                    </a:lnTo>
                    <a:lnTo>
                      <a:pt x="7285" y="30192"/>
                    </a:lnTo>
                    <a:lnTo>
                      <a:pt x="1079" y="28196"/>
                    </a:lnTo>
                    <a:lnTo>
                      <a:pt x="0" y="27261"/>
                    </a:lnTo>
                    <a:lnTo>
                      <a:pt x="3569" y="19985"/>
                    </a:lnTo>
                    <a:lnTo>
                      <a:pt x="3001" y="15549"/>
                    </a:lnTo>
                    <a:lnTo>
                      <a:pt x="11443" y="2610"/>
                    </a:lnTo>
                    <a:lnTo>
                      <a:pt x="20733"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12" name="Freeform 260">
                <a:extLst>
                  <a:ext uri="{FF2B5EF4-FFF2-40B4-BE49-F238E27FC236}">
                    <a16:creationId xmlns:a16="http://schemas.microsoft.com/office/drawing/2014/main" id="{4924B9DD-76BD-62B3-2A7E-A011F88DA508}"/>
                  </a:ext>
                </a:extLst>
              </p:cNvPr>
              <p:cNvSpPr>
                <a:spLocks noChangeAspect="1"/>
              </p:cNvSpPr>
              <p:nvPr>
                <p:custDataLst>
                  <p:tags r:id="rId184"/>
                </p:custDataLst>
              </p:nvPr>
            </p:nvSpPr>
            <p:spPr>
              <a:xfrm>
                <a:off x="4981232" y="4374280"/>
                <a:ext cx="65796" cy="69007"/>
              </a:xfrm>
              <a:custGeom>
                <a:avLst/>
                <a:gdLst/>
                <a:ahLst/>
                <a:cxnLst/>
                <a:rect l="0" t="0" r="0" b="0"/>
                <a:pathLst>
                  <a:path w="67555" h="70852">
                    <a:moveTo>
                      <a:pt x="66333" y="36423"/>
                    </a:moveTo>
                    <a:lnTo>
                      <a:pt x="67554" y="44977"/>
                    </a:lnTo>
                    <a:lnTo>
                      <a:pt x="66054" y="49066"/>
                    </a:lnTo>
                    <a:lnTo>
                      <a:pt x="60758" y="52213"/>
                    </a:lnTo>
                    <a:lnTo>
                      <a:pt x="63121" y="56699"/>
                    </a:lnTo>
                    <a:lnTo>
                      <a:pt x="56261" y="64360"/>
                    </a:lnTo>
                    <a:lnTo>
                      <a:pt x="54165" y="69554"/>
                    </a:lnTo>
                    <a:lnTo>
                      <a:pt x="39006" y="70851"/>
                    </a:lnTo>
                    <a:lnTo>
                      <a:pt x="34603" y="68014"/>
                    </a:lnTo>
                    <a:lnTo>
                      <a:pt x="29893" y="67843"/>
                    </a:lnTo>
                    <a:lnTo>
                      <a:pt x="30818" y="62501"/>
                    </a:lnTo>
                    <a:lnTo>
                      <a:pt x="28624" y="61184"/>
                    </a:lnTo>
                    <a:lnTo>
                      <a:pt x="23016" y="62520"/>
                    </a:lnTo>
                    <a:lnTo>
                      <a:pt x="20678" y="67054"/>
                    </a:lnTo>
                    <a:lnTo>
                      <a:pt x="18368" y="68408"/>
                    </a:lnTo>
                    <a:lnTo>
                      <a:pt x="12265" y="68054"/>
                    </a:lnTo>
                    <a:lnTo>
                      <a:pt x="7243" y="65652"/>
                    </a:lnTo>
                    <a:lnTo>
                      <a:pt x="6639" y="60041"/>
                    </a:lnTo>
                    <a:lnTo>
                      <a:pt x="4124" y="58730"/>
                    </a:lnTo>
                    <a:lnTo>
                      <a:pt x="3201" y="36602"/>
                    </a:lnTo>
                    <a:lnTo>
                      <a:pt x="363" y="26047"/>
                    </a:lnTo>
                    <a:lnTo>
                      <a:pt x="0" y="13292"/>
                    </a:lnTo>
                    <a:lnTo>
                      <a:pt x="7953" y="3488"/>
                    </a:lnTo>
                    <a:lnTo>
                      <a:pt x="17982" y="0"/>
                    </a:lnTo>
                    <a:lnTo>
                      <a:pt x="33261" y="2728"/>
                    </a:lnTo>
                    <a:lnTo>
                      <a:pt x="37483" y="16427"/>
                    </a:lnTo>
                    <a:lnTo>
                      <a:pt x="51817" y="28741"/>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13" name="Freeform 261">
                <a:extLst>
                  <a:ext uri="{FF2B5EF4-FFF2-40B4-BE49-F238E27FC236}">
                    <a16:creationId xmlns:a16="http://schemas.microsoft.com/office/drawing/2014/main" id="{18B46300-5DDD-849F-6C62-63E8BDFB8639}"/>
                  </a:ext>
                </a:extLst>
              </p:cNvPr>
              <p:cNvSpPr>
                <a:spLocks noChangeAspect="1"/>
              </p:cNvSpPr>
              <p:nvPr>
                <p:custDataLst>
                  <p:tags r:id="rId185"/>
                </p:custDataLst>
              </p:nvPr>
            </p:nvSpPr>
            <p:spPr>
              <a:xfrm>
                <a:off x="4889753" y="4362910"/>
                <a:ext cx="95497" cy="82654"/>
              </a:xfrm>
              <a:custGeom>
                <a:avLst/>
                <a:gdLst/>
                <a:ahLst/>
                <a:cxnLst/>
                <a:rect l="0" t="0" r="0" b="0"/>
                <a:pathLst>
                  <a:path w="98050" h="84863">
                    <a:moveTo>
                      <a:pt x="69637" y="17136"/>
                    </a:moveTo>
                    <a:lnTo>
                      <a:pt x="80365" y="15777"/>
                    </a:lnTo>
                    <a:lnTo>
                      <a:pt x="84576" y="30552"/>
                    </a:lnTo>
                    <a:lnTo>
                      <a:pt x="89219" y="37866"/>
                    </a:lnTo>
                    <a:lnTo>
                      <a:pt x="94288" y="37721"/>
                    </a:lnTo>
                    <a:lnTo>
                      <a:pt x="97126" y="48276"/>
                    </a:lnTo>
                    <a:lnTo>
                      <a:pt x="98049" y="70404"/>
                    </a:lnTo>
                    <a:lnTo>
                      <a:pt x="89324" y="71287"/>
                    </a:lnTo>
                    <a:lnTo>
                      <a:pt x="83352" y="77835"/>
                    </a:lnTo>
                    <a:lnTo>
                      <a:pt x="66978" y="84862"/>
                    </a:lnTo>
                    <a:lnTo>
                      <a:pt x="57881" y="79268"/>
                    </a:lnTo>
                    <a:lnTo>
                      <a:pt x="54045" y="80425"/>
                    </a:lnTo>
                    <a:lnTo>
                      <a:pt x="48866" y="79178"/>
                    </a:lnTo>
                    <a:lnTo>
                      <a:pt x="47771" y="78356"/>
                    </a:lnTo>
                    <a:lnTo>
                      <a:pt x="48777" y="75684"/>
                    </a:lnTo>
                    <a:lnTo>
                      <a:pt x="54885" y="71159"/>
                    </a:lnTo>
                    <a:lnTo>
                      <a:pt x="55041" y="69674"/>
                    </a:lnTo>
                    <a:lnTo>
                      <a:pt x="52556" y="66875"/>
                    </a:lnTo>
                    <a:lnTo>
                      <a:pt x="39249" y="61804"/>
                    </a:lnTo>
                    <a:lnTo>
                      <a:pt x="38408" y="59061"/>
                    </a:lnTo>
                    <a:lnTo>
                      <a:pt x="40085" y="55206"/>
                    </a:lnTo>
                    <a:lnTo>
                      <a:pt x="39890" y="52348"/>
                    </a:lnTo>
                    <a:lnTo>
                      <a:pt x="33078" y="48488"/>
                    </a:lnTo>
                    <a:lnTo>
                      <a:pt x="29720" y="48454"/>
                    </a:lnTo>
                    <a:lnTo>
                      <a:pt x="27033" y="42358"/>
                    </a:lnTo>
                    <a:lnTo>
                      <a:pt x="19570" y="39774"/>
                    </a:lnTo>
                    <a:lnTo>
                      <a:pt x="18836" y="35664"/>
                    </a:lnTo>
                    <a:lnTo>
                      <a:pt x="19989" y="28209"/>
                    </a:lnTo>
                    <a:lnTo>
                      <a:pt x="6981" y="17991"/>
                    </a:lnTo>
                    <a:lnTo>
                      <a:pt x="5572" y="14527"/>
                    </a:lnTo>
                    <a:lnTo>
                      <a:pt x="4828" y="7217"/>
                    </a:lnTo>
                    <a:lnTo>
                      <a:pt x="0" y="0"/>
                    </a:lnTo>
                    <a:lnTo>
                      <a:pt x="51616" y="5917"/>
                    </a:lnTo>
                    <a:lnTo>
                      <a:pt x="58852" y="1636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14" name="Freeform 262">
                <a:extLst>
                  <a:ext uri="{FF2B5EF4-FFF2-40B4-BE49-F238E27FC236}">
                    <a16:creationId xmlns:a16="http://schemas.microsoft.com/office/drawing/2014/main" id="{1DC15FFA-E00A-FFBC-F9FA-D64B9A556744}"/>
                  </a:ext>
                </a:extLst>
              </p:cNvPr>
              <p:cNvSpPr>
                <a:spLocks noChangeAspect="1"/>
              </p:cNvSpPr>
              <p:nvPr>
                <p:custDataLst>
                  <p:tags r:id="rId186"/>
                </p:custDataLst>
              </p:nvPr>
            </p:nvSpPr>
            <p:spPr>
              <a:xfrm>
                <a:off x="4889753" y="4327821"/>
                <a:ext cx="115367" cy="71970"/>
              </a:xfrm>
              <a:custGeom>
                <a:avLst/>
                <a:gdLst/>
                <a:ahLst/>
                <a:cxnLst/>
                <a:rect l="0" t="0" r="0" b="0"/>
                <a:pathLst>
                  <a:path w="118451" h="73894">
                    <a:moveTo>
                      <a:pt x="63001" y="4830"/>
                    </a:moveTo>
                    <a:lnTo>
                      <a:pt x="70157" y="3688"/>
                    </a:lnTo>
                    <a:lnTo>
                      <a:pt x="74415" y="5053"/>
                    </a:lnTo>
                    <a:lnTo>
                      <a:pt x="82701" y="1542"/>
                    </a:lnTo>
                    <a:lnTo>
                      <a:pt x="88234" y="3618"/>
                    </a:lnTo>
                    <a:lnTo>
                      <a:pt x="100913" y="1751"/>
                    </a:lnTo>
                    <a:lnTo>
                      <a:pt x="104436" y="3564"/>
                    </a:lnTo>
                    <a:lnTo>
                      <a:pt x="106410" y="8503"/>
                    </a:lnTo>
                    <a:lnTo>
                      <a:pt x="111183" y="23256"/>
                    </a:lnTo>
                    <a:lnTo>
                      <a:pt x="118450" y="33675"/>
                    </a:lnTo>
                    <a:lnTo>
                      <a:pt x="111907" y="47701"/>
                    </a:lnTo>
                    <a:lnTo>
                      <a:pt x="101878" y="51189"/>
                    </a:lnTo>
                    <a:lnTo>
                      <a:pt x="93925" y="60993"/>
                    </a:lnTo>
                    <a:lnTo>
                      <a:pt x="94288" y="73748"/>
                    </a:lnTo>
                    <a:lnTo>
                      <a:pt x="89219" y="73893"/>
                    </a:lnTo>
                    <a:lnTo>
                      <a:pt x="84576" y="66579"/>
                    </a:lnTo>
                    <a:lnTo>
                      <a:pt x="80365" y="51804"/>
                    </a:lnTo>
                    <a:lnTo>
                      <a:pt x="69637" y="53163"/>
                    </a:lnTo>
                    <a:lnTo>
                      <a:pt x="58852" y="52390"/>
                    </a:lnTo>
                    <a:lnTo>
                      <a:pt x="51616" y="41944"/>
                    </a:lnTo>
                    <a:lnTo>
                      <a:pt x="0" y="36027"/>
                    </a:lnTo>
                    <a:lnTo>
                      <a:pt x="1998" y="29938"/>
                    </a:lnTo>
                    <a:lnTo>
                      <a:pt x="9924" y="28470"/>
                    </a:lnTo>
                    <a:lnTo>
                      <a:pt x="22675" y="20738"/>
                    </a:lnTo>
                    <a:lnTo>
                      <a:pt x="31861" y="22309"/>
                    </a:lnTo>
                    <a:lnTo>
                      <a:pt x="45154" y="16877"/>
                    </a:lnTo>
                    <a:lnTo>
                      <a:pt x="48448" y="12663"/>
                    </a:lnTo>
                    <a:lnTo>
                      <a:pt x="51877" y="3547"/>
                    </a:lnTo>
                    <a:lnTo>
                      <a:pt x="57141" y="0"/>
                    </a:lnTo>
                    <a:lnTo>
                      <a:pt x="59872" y="885"/>
                    </a:lnTo>
                    <a:lnTo>
                      <a:pt x="61476" y="435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15" name="Freeform 263">
                <a:extLst>
                  <a:ext uri="{FF2B5EF4-FFF2-40B4-BE49-F238E27FC236}">
                    <a16:creationId xmlns:a16="http://schemas.microsoft.com/office/drawing/2014/main" id="{5458918E-E18E-5050-E603-FAD08DBCD531}"/>
                  </a:ext>
                </a:extLst>
              </p:cNvPr>
              <p:cNvSpPr>
                <a:spLocks noChangeAspect="1"/>
              </p:cNvSpPr>
              <p:nvPr>
                <p:custDataLst>
                  <p:tags r:id="rId187"/>
                </p:custDataLst>
              </p:nvPr>
            </p:nvSpPr>
            <p:spPr>
              <a:xfrm>
                <a:off x="4993392" y="4304179"/>
                <a:ext cx="107790" cy="105577"/>
              </a:xfrm>
              <a:custGeom>
                <a:avLst/>
                <a:gdLst/>
                <a:ahLst/>
                <a:cxnLst/>
                <a:rect l="0" t="0" r="0" b="0"/>
                <a:pathLst>
                  <a:path w="110671" h="108399">
                    <a:moveTo>
                      <a:pt x="109245" y="17052"/>
                    </a:moveTo>
                    <a:lnTo>
                      <a:pt x="110670" y="22415"/>
                    </a:lnTo>
                    <a:lnTo>
                      <a:pt x="109630" y="28834"/>
                    </a:lnTo>
                    <a:lnTo>
                      <a:pt x="107924" y="30161"/>
                    </a:lnTo>
                    <a:lnTo>
                      <a:pt x="104991" y="29320"/>
                    </a:lnTo>
                    <a:lnTo>
                      <a:pt x="99884" y="33001"/>
                    </a:lnTo>
                    <a:lnTo>
                      <a:pt x="102559" y="35453"/>
                    </a:lnTo>
                    <a:lnTo>
                      <a:pt x="103517" y="39450"/>
                    </a:lnTo>
                    <a:lnTo>
                      <a:pt x="107417" y="42609"/>
                    </a:lnTo>
                    <a:lnTo>
                      <a:pt x="107822" y="48325"/>
                    </a:lnTo>
                    <a:lnTo>
                      <a:pt x="105773" y="49465"/>
                    </a:lnTo>
                    <a:lnTo>
                      <a:pt x="98074" y="47826"/>
                    </a:lnTo>
                    <a:lnTo>
                      <a:pt x="91789" y="53789"/>
                    </a:lnTo>
                    <a:lnTo>
                      <a:pt x="97646" y="65268"/>
                    </a:lnTo>
                    <a:lnTo>
                      <a:pt x="86515" y="75008"/>
                    </a:lnTo>
                    <a:lnTo>
                      <a:pt x="85129" y="86003"/>
                    </a:lnTo>
                    <a:lnTo>
                      <a:pt x="79229" y="94692"/>
                    </a:lnTo>
                    <a:lnTo>
                      <a:pt x="77379" y="96248"/>
                    </a:lnTo>
                    <a:lnTo>
                      <a:pt x="73643" y="94242"/>
                    </a:lnTo>
                    <a:lnTo>
                      <a:pt x="65178" y="94845"/>
                    </a:lnTo>
                    <a:lnTo>
                      <a:pt x="60496" y="98932"/>
                    </a:lnTo>
                    <a:lnTo>
                      <a:pt x="53848" y="108398"/>
                    </a:lnTo>
                    <a:lnTo>
                      <a:pt x="39332" y="100716"/>
                    </a:lnTo>
                    <a:lnTo>
                      <a:pt x="24998" y="88402"/>
                    </a:lnTo>
                    <a:lnTo>
                      <a:pt x="20776" y="74703"/>
                    </a:lnTo>
                    <a:lnTo>
                      <a:pt x="5497" y="71975"/>
                    </a:lnTo>
                    <a:lnTo>
                      <a:pt x="12040" y="57949"/>
                    </a:lnTo>
                    <a:lnTo>
                      <a:pt x="4773" y="47530"/>
                    </a:lnTo>
                    <a:lnTo>
                      <a:pt x="0" y="32777"/>
                    </a:lnTo>
                    <a:lnTo>
                      <a:pt x="8930" y="34308"/>
                    </a:lnTo>
                    <a:lnTo>
                      <a:pt x="22737" y="25922"/>
                    </a:lnTo>
                    <a:lnTo>
                      <a:pt x="25489" y="16750"/>
                    </a:lnTo>
                    <a:lnTo>
                      <a:pt x="28946" y="16918"/>
                    </a:lnTo>
                    <a:lnTo>
                      <a:pt x="32181" y="9704"/>
                    </a:lnTo>
                    <a:lnTo>
                      <a:pt x="42845" y="8394"/>
                    </a:lnTo>
                    <a:lnTo>
                      <a:pt x="45759" y="10848"/>
                    </a:lnTo>
                    <a:lnTo>
                      <a:pt x="48780" y="10967"/>
                    </a:lnTo>
                    <a:lnTo>
                      <a:pt x="51993" y="7147"/>
                    </a:lnTo>
                    <a:lnTo>
                      <a:pt x="60493" y="5283"/>
                    </a:lnTo>
                    <a:lnTo>
                      <a:pt x="77880" y="0"/>
                    </a:lnTo>
                    <a:lnTo>
                      <a:pt x="90369" y="738"/>
                    </a:lnTo>
                    <a:lnTo>
                      <a:pt x="109126" y="9409"/>
                    </a:lnTo>
                    <a:lnTo>
                      <a:pt x="108552" y="1442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16" name="Freeform 264">
                <a:extLst>
                  <a:ext uri="{FF2B5EF4-FFF2-40B4-BE49-F238E27FC236}">
                    <a16:creationId xmlns:a16="http://schemas.microsoft.com/office/drawing/2014/main" id="{63646128-95E5-604C-ED45-C85007ED9164}"/>
                  </a:ext>
                </a:extLst>
              </p:cNvPr>
              <p:cNvSpPr>
                <a:spLocks noChangeAspect="1"/>
              </p:cNvSpPr>
              <p:nvPr>
                <p:custDataLst>
                  <p:tags r:id="rId188"/>
                </p:custDataLst>
              </p:nvPr>
            </p:nvSpPr>
            <p:spPr>
              <a:xfrm>
                <a:off x="4850166" y="4707133"/>
                <a:ext cx="66772" cy="80201"/>
              </a:xfrm>
              <a:custGeom>
                <a:avLst/>
                <a:gdLst/>
                <a:ahLst/>
                <a:cxnLst/>
                <a:rect l="0" t="0" r="0" b="0"/>
                <a:pathLst>
                  <a:path w="68557" h="82345">
                    <a:moveTo>
                      <a:pt x="57685" y="5701"/>
                    </a:moveTo>
                    <a:lnTo>
                      <a:pt x="59320" y="10480"/>
                    </a:lnTo>
                    <a:lnTo>
                      <a:pt x="63665" y="16540"/>
                    </a:lnTo>
                    <a:lnTo>
                      <a:pt x="63697" y="21001"/>
                    </a:lnTo>
                    <a:lnTo>
                      <a:pt x="68556" y="29793"/>
                    </a:lnTo>
                    <a:lnTo>
                      <a:pt x="66880" y="35244"/>
                    </a:lnTo>
                    <a:lnTo>
                      <a:pt x="55496" y="37054"/>
                    </a:lnTo>
                    <a:lnTo>
                      <a:pt x="55916" y="43386"/>
                    </a:lnTo>
                    <a:lnTo>
                      <a:pt x="61282" y="48695"/>
                    </a:lnTo>
                    <a:lnTo>
                      <a:pt x="60576" y="65920"/>
                    </a:lnTo>
                    <a:lnTo>
                      <a:pt x="52065" y="68383"/>
                    </a:lnTo>
                    <a:lnTo>
                      <a:pt x="45953" y="80404"/>
                    </a:lnTo>
                    <a:lnTo>
                      <a:pt x="43799" y="79302"/>
                    </a:lnTo>
                    <a:lnTo>
                      <a:pt x="30641" y="76096"/>
                    </a:lnTo>
                    <a:lnTo>
                      <a:pt x="25124" y="79187"/>
                    </a:lnTo>
                    <a:lnTo>
                      <a:pt x="18052" y="78596"/>
                    </a:lnTo>
                    <a:lnTo>
                      <a:pt x="11520" y="82344"/>
                    </a:lnTo>
                    <a:lnTo>
                      <a:pt x="8532" y="81871"/>
                    </a:lnTo>
                    <a:lnTo>
                      <a:pt x="6998" y="76591"/>
                    </a:lnTo>
                    <a:lnTo>
                      <a:pt x="11075" y="69815"/>
                    </a:lnTo>
                    <a:lnTo>
                      <a:pt x="11210" y="66947"/>
                    </a:lnTo>
                    <a:lnTo>
                      <a:pt x="5633" y="63350"/>
                    </a:lnTo>
                    <a:lnTo>
                      <a:pt x="2163" y="64584"/>
                    </a:lnTo>
                    <a:lnTo>
                      <a:pt x="0" y="59849"/>
                    </a:lnTo>
                    <a:lnTo>
                      <a:pt x="848" y="49552"/>
                    </a:lnTo>
                    <a:lnTo>
                      <a:pt x="8058" y="51220"/>
                    </a:lnTo>
                    <a:lnTo>
                      <a:pt x="15481" y="49709"/>
                    </a:lnTo>
                    <a:lnTo>
                      <a:pt x="19461" y="41926"/>
                    </a:lnTo>
                    <a:lnTo>
                      <a:pt x="14956" y="37491"/>
                    </a:lnTo>
                    <a:lnTo>
                      <a:pt x="19428" y="26983"/>
                    </a:lnTo>
                    <a:lnTo>
                      <a:pt x="26269" y="24574"/>
                    </a:lnTo>
                    <a:lnTo>
                      <a:pt x="28869" y="17272"/>
                    </a:lnTo>
                    <a:lnTo>
                      <a:pt x="35931" y="12589"/>
                    </a:lnTo>
                    <a:lnTo>
                      <a:pt x="39600" y="6054"/>
                    </a:lnTo>
                    <a:lnTo>
                      <a:pt x="45046" y="1252"/>
                    </a:lnTo>
                    <a:lnTo>
                      <a:pt x="48882" y="0"/>
                    </a:lnTo>
                    <a:lnTo>
                      <a:pt x="54785" y="124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17" name="Freeform 265">
                <a:extLst>
                  <a:ext uri="{FF2B5EF4-FFF2-40B4-BE49-F238E27FC236}">
                    <a16:creationId xmlns:a16="http://schemas.microsoft.com/office/drawing/2014/main" id="{21AACD75-FFFE-91CB-3933-91B7D36F341E}"/>
                  </a:ext>
                </a:extLst>
              </p:cNvPr>
              <p:cNvSpPr>
                <a:spLocks noChangeAspect="1"/>
              </p:cNvSpPr>
              <p:nvPr>
                <p:custDataLst>
                  <p:tags r:id="rId189"/>
                </p:custDataLst>
              </p:nvPr>
            </p:nvSpPr>
            <p:spPr>
              <a:xfrm>
                <a:off x="4836308" y="4716730"/>
                <a:ext cx="41977" cy="40291"/>
              </a:xfrm>
              <a:custGeom>
                <a:avLst/>
                <a:gdLst/>
                <a:ahLst/>
                <a:cxnLst/>
                <a:rect l="0" t="0" r="0" b="0"/>
                <a:pathLst>
                  <a:path w="43099" h="41368">
                    <a:moveTo>
                      <a:pt x="10825" y="5367"/>
                    </a:moveTo>
                    <a:lnTo>
                      <a:pt x="22850" y="598"/>
                    </a:lnTo>
                    <a:lnTo>
                      <a:pt x="38588" y="2533"/>
                    </a:lnTo>
                    <a:lnTo>
                      <a:pt x="43098" y="7419"/>
                    </a:lnTo>
                    <a:lnTo>
                      <a:pt x="40498" y="14721"/>
                    </a:lnTo>
                    <a:lnTo>
                      <a:pt x="33657" y="17130"/>
                    </a:lnTo>
                    <a:lnTo>
                      <a:pt x="29185" y="27638"/>
                    </a:lnTo>
                    <a:lnTo>
                      <a:pt x="33690" y="32073"/>
                    </a:lnTo>
                    <a:lnTo>
                      <a:pt x="29710" y="39856"/>
                    </a:lnTo>
                    <a:lnTo>
                      <a:pt x="22287" y="41367"/>
                    </a:lnTo>
                    <a:lnTo>
                      <a:pt x="15077" y="39699"/>
                    </a:lnTo>
                    <a:lnTo>
                      <a:pt x="11920" y="33421"/>
                    </a:lnTo>
                    <a:lnTo>
                      <a:pt x="3386" y="34493"/>
                    </a:lnTo>
                    <a:lnTo>
                      <a:pt x="0" y="30482"/>
                    </a:lnTo>
                    <a:lnTo>
                      <a:pt x="5309" y="19513"/>
                    </a:lnTo>
                    <a:lnTo>
                      <a:pt x="2074" y="8705"/>
                    </a:lnTo>
                    <a:lnTo>
                      <a:pt x="2264" y="4175"/>
                    </a:lnTo>
                    <a:lnTo>
                      <a:pt x="7417"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18" name="Freeform 266">
                <a:extLst>
                  <a:ext uri="{FF2B5EF4-FFF2-40B4-BE49-F238E27FC236}">
                    <a16:creationId xmlns:a16="http://schemas.microsoft.com/office/drawing/2014/main" id="{73C3942F-23FC-A629-1AC7-3EC9EA307554}"/>
                  </a:ext>
                </a:extLst>
              </p:cNvPr>
              <p:cNvSpPr>
                <a:spLocks noChangeAspect="1"/>
              </p:cNvSpPr>
              <p:nvPr>
                <p:custDataLst>
                  <p:tags r:id="rId190"/>
                </p:custDataLst>
              </p:nvPr>
            </p:nvSpPr>
            <p:spPr>
              <a:xfrm>
                <a:off x="4816403" y="4718241"/>
                <a:ext cx="34590" cy="53045"/>
              </a:xfrm>
              <a:custGeom>
                <a:avLst/>
                <a:gdLst/>
                <a:ahLst/>
                <a:cxnLst/>
                <a:rect l="0" t="0" r="0" b="0"/>
                <a:pathLst>
                  <a:path w="35515" h="54463">
                    <a:moveTo>
                      <a:pt x="22701" y="2623"/>
                    </a:moveTo>
                    <a:lnTo>
                      <a:pt x="22511" y="7153"/>
                    </a:lnTo>
                    <a:lnTo>
                      <a:pt x="25746" y="17961"/>
                    </a:lnTo>
                    <a:lnTo>
                      <a:pt x="20437" y="28930"/>
                    </a:lnTo>
                    <a:lnTo>
                      <a:pt x="23823" y="32941"/>
                    </a:lnTo>
                    <a:lnTo>
                      <a:pt x="32357" y="31869"/>
                    </a:lnTo>
                    <a:lnTo>
                      <a:pt x="35514" y="38147"/>
                    </a:lnTo>
                    <a:lnTo>
                      <a:pt x="34666" y="48444"/>
                    </a:lnTo>
                    <a:lnTo>
                      <a:pt x="30731" y="49587"/>
                    </a:lnTo>
                    <a:lnTo>
                      <a:pt x="28294" y="54097"/>
                    </a:lnTo>
                    <a:lnTo>
                      <a:pt x="22501" y="49015"/>
                    </a:lnTo>
                    <a:lnTo>
                      <a:pt x="14188" y="54462"/>
                    </a:lnTo>
                    <a:lnTo>
                      <a:pt x="6036" y="54315"/>
                    </a:lnTo>
                    <a:lnTo>
                      <a:pt x="4487" y="33532"/>
                    </a:lnTo>
                    <a:lnTo>
                      <a:pt x="0" y="24578"/>
                    </a:lnTo>
                    <a:lnTo>
                      <a:pt x="9916" y="18990"/>
                    </a:lnTo>
                    <a:lnTo>
                      <a:pt x="10013" y="13371"/>
                    </a:lnTo>
                    <a:lnTo>
                      <a:pt x="11655" y="7810"/>
                    </a:lnTo>
                    <a:lnTo>
                      <a:pt x="13598" y="1888"/>
                    </a:lnTo>
                    <a:lnTo>
                      <a:pt x="17695"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19" name="Freeform 267">
                <a:extLst>
                  <a:ext uri="{FF2B5EF4-FFF2-40B4-BE49-F238E27FC236}">
                    <a16:creationId xmlns:a16="http://schemas.microsoft.com/office/drawing/2014/main" id="{D813B5A9-5A8F-FEB2-5DE8-3E6F9F6B7DED}"/>
                  </a:ext>
                </a:extLst>
              </p:cNvPr>
              <p:cNvSpPr>
                <a:spLocks noChangeAspect="1"/>
              </p:cNvSpPr>
              <p:nvPr>
                <p:custDataLst>
                  <p:tags r:id="rId191"/>
                </p:custDataLst>
              </p:nvPr>
            </p:nvSpPr>
            <p:spPr>
              <a:xfrm>
                <a:off x="4810683" y="4692353"/>
                <a:ext cx="37547" cy="33497"/>
              </a:xfrm>
              <a:custGeom>
                <a:avLst/>
                <a:gdLst/>
                <a:ahLst/>
                <a:cxnLst/>
                <a:rect l="0" t="0" r="0" b="0"/>
                <a:pathLst>
                  <a:path w="38551" h="34392">
                    <a:moveTo>
                      <a:pt x="30943" y="9831"/>
                    </a:moveTo>
                    <a:lnTo>
                      <a:pt x="34483" y="6159"/>
                    </a:lnTo>
                    <a:lnTo>
                      <a:pt x="38550" y="18140"/>
                    </a:lnTo>
                    <a:lnTo>
                      <a:pt x="33727" y="25029"/>
                    </a:lnTo>
                    <a:lnTo>
                      <a:pt x="28574" y="29204"/>
                    </a:lnTo>
                    <a:lnTo>
                      <a:pt x="23568" y="26581"/>
                    </a:lnTo>
                    <a:lnTo>
                      <a:pt x="19471" y="28469"/>
                    </a:lnTo>
                    <a:lnTo>
                      <a:pt x="17528" y="34391"/>
                    </a:lnTo>
                    <a:lnTo>
                      <a:pt x="15436" y="32949"/>
                    </a:lnTo>
                    <a:lnTo>
                      <a:pt x="10219" y="33776"/>
                    </a:lnTo>
                    <a:lnTo>
                      <a:pt x="6139" y="25792"/>
                    </a:lnTo>
                    <a:lnTo>
                      <a:pt x="0" y="21338"/>
                    </a:lnTo>
                    <a:lnTo>
                      <a:pt x="3224" y="17570"/>
                    </a:lnTo>
                    <a:lnTo>
                      <a:pt x="4507" y="13401"/>
                    </a:lnTo>
                    <a:lnTo>
                      <a:pt x="12869" y="8364"/>
                    </a:lnTo>
                    <a:lnTo>
                      <a:pt x="13816" y="3676"/>
                    </a:lnTo>
                    <a:lnTo>
                      <a:pt x="15782" y="1942"/>
                    </a:lnTo>
                    <a:lnTo>
                      <a:pt x="23539"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20" name="Freeform 268">
                <a:extLst>
                  <a:ext uri="{FF2B5EF4-FFF2-40B4-BE49-F238E27FC236}">
                    <a16:creationId xmlns:a16="http://schemas.microsoft.com/office/drawing/2014/main" id="{36CDB933-B410-A265-52D6-4C2DCBED65C0}"/>
                  </a:ext>
                </a:extLst>
              </p:cNvPr>
              <p:cNvSpPr>
                <a:spLocks noChangeAspect="1"/>
              </p:cNvSpPr>
              <p:nvPr>
                <p:custDataLst>
                  <p:tags r:id="rId192"/>
                </p:custDataLst>
              </p:nvPr>
            </p:nvSpPr>
            <p:spPr>
              <a:xfrm>
                <a:off x="4843531" y="4680044"/>
                <a:ext cx="45205" cy="43913"/>
              </a:xfrm>
              <a:custGeom>
                <a:avLst/>
                <a:gdLst/>
                <a:ahLst/>
                <a:cxnLst/>
                <a:rect l="0" t="0" r="0" b="0"/>
                <a:pathLst>
                  <a:path w="46413" h="45087">
                    <a:moveTo>
                      <a:pt x="46412" y="33868"/>
                    </a:moveTo>
                    <a:lnTo>
                      <a:pt x="42743" y="40403"/>
                    </a:lnTo>
                    <a:lnTo>
                      <a:pt x="35681" y="45086"/>
                    </a:lnTo>
                    <a:lnTo>
                      <a:pt x="31171" y="40200"/>
                    </a:lnTo>
                    <a:lnTo>
                      <a:pt x="15433" y="38265"/>
                    </a:lnTo>
                    <a:lnTo>
                      <a:pt x="3408" y="43034"/>
                    </a:lnTo>
                    <a:lnTo>
                      <a:pt x="0" y="37667"/>
                    </a:lnTo>
                    <a:lnTo>
                      <a:pt x="4823" y="30778"/>
                    </a:lnTo>
                    <a:lnTo>
                      <a:pt x="756" y="18797"/>
                    </a:lnTo>
                    <a:lnTo>
                      <a:pt x="6563" y="19206"/>
                    </a:lnTo>
                    <a:lnTo>
                      <a:pt x="23413" y="10688"/>
                    </a:lnTo>
                    <a:lnTo>
                      <a:pt x="24915" y="8543"/>
                    </a:lnTo>
                    <a:lnTo>
                      <a:pt x="24532" y="2498"/>
                    </a:lnTo>
                    <a:lnTo>
                      <a:pt x="25829" y="32"/>
                    </a:lnTo>
                    <a:lnTo>
                      <a:pt x="27380" y="0"/>
                    </a:lnTo>
                    <a:lnTo>
                      <a:pt x="36143" y="5856"/>
                    </a:lnTo>
                    <a:lnTo>
                      <a:pt x="36590" y="18059"/>
                    </a:lnTo>
                    <a:lnTo>
                      <a:pt x="40436" y="22853"/>
                    </a:lnTo>
                    <a:lnTo>
                      <a:pt x="41744" y="29825"/>
                    </a:lnTo>
                    <a:lnTo>
                      <a:pt x="45045" y="33366"/>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21" name="Freeform 269">
                <a:extLst>
                  <a:ext uri="{FF2B5EF4-FFF2-40B4-BE49-F238E27FC236}">
                    <a16:creationId xmlns:a16="http://schemas.microsoft.com/office/drawing/2014/main" id="{EDADF545-DFF1-612D-ACCD-66CB9C203162}"/>
                  </a:ext>
                </a:extLst>
              </p:cNvPr>
              <p:cNvSpPr>
                <a:spLocks noChangeAspect="1"/>
              </p:cNvSpPr>
              <p:nvPr>
                <p:custDataLst>
                  <p:tags r:id="rId193"/>
                </p:custDataLst>
              </p:nvPr>
            </p:nvSpPr>
            <p:spPr>
              <a:xfrm>
                <a:off x="4894923" y="4741460"/>
                <a:ext cx="48446" cy="59728"/>
              </a:xfrm>
              <a:custGeom>
                <a:avLst/>
                <a:gdLst/>
                <a:ahLst/>
                <a:cxnLst/>
                <a:rect l="0" t="0" r="0" b="0"/>
                <a:pathLst>
                  <a:path w="49741" h="61325">
                    <a:moveTo>
                      <a:pt x="40088" y="27356"/>
                    </a:moveTo>
                    <a:lnTo>
                      <a:pt x="49740" y="19568"/>
                    </a:lnTo>
                    <a:lnTo>
                      <a:pt x="45835" y="55442"/>
                    </a:lnTo>
                    <a:lnTo>
                      <a:pt x="38533" y="56366"/>
                    </a:lnTo>
                    <a:lnTo>
                      <a:pt x="35999" y="58878"/>
                    </a:lnTo>
                    <a:lnTo>
                      <a:pt x="28361" y="54187"/>
                    </a:lnTo>
                    <a:lnTo>
                      <a:pt x="19807" y="57355"/>
                    </a:lnTo>
                    <a:lnTo>
                      <a:pt x="18144" y="61324"/>
                    </a:lnTo>
                    <a:lnTo>
                      <a:pt x="9200" y="55805"/>
                    </a:lnTo>
                    <a:lnTo>
                      <a:pt x="4953" y="51539"/>
                    </a:lnTo>
                    <a:lnTo>
                      <a:pt x="3024" y="46705"/>
                    </a:lnTo>
                    <a:lnTo>
                      <a:pt x="0" y="45160"/>
                    </a:lnTo>
                    <a:lnTo>
                      <a:pt x="6112" y="33139"/>
                    </a:lnTo>
                    <a:lnTo>
                      <a:pt x="14623" y="30676"/>
                    </a:lnTo>
                    <a:lnTo>
                      <a:pt x="15329" y="13451"/>
                    </a:lnTo>
                    <a:lnTo>
                      <a:pt x="9963" y="8142"/>
                    </a:lnTo>
                    <a:lnTo>
                      <a:pt x="9543" y="1810"/>
                    </a:lnTo>
                    <a:lnTo>
                      <a:pt x="20927" y="0"/>
                    </a:lnTo>
                    <a:lnTo>
                      <a:pt x="35096" y="2174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22" name="Freeform 270">
                <a:extLst>
                  <a:ext uri="{FF2B5EF4-FFF2-40B4-BE49-F238E27FC236}">
                    <a16:creationId xmlns:a16="http://schemas.microsoft.com/office/drawing/2014/main" id="{333AD29A-EFD3-D1C0-F9F7-758EA3500AFE}"/>
                  </a:ext>
                </a:extLst>
              </p:cNvPr>
              <p:cNvSpPr>
                <a:spLocks noChangeAspect="1"/>
              </p:cNvSpPr>
              <p:nvPr>
                <p:custDataLst>
                  <p:tags r:id="rId194"/>
                </p:custDataLst>
              </p:nvPr>
            </p:nvSpPr>
            <p:spPr>
              <a:xfrm>
                <a:off x="4939564" y="4760518"/>
                <a:ext cx="47022" cy="34941"/>
              </a:xfrm>
              <a:custGeom>
                <a:avLst/>
                <a:gdLst/>
                <a:ahLst/>
                <a:cxnLst/>
                <a:rect l="0" t="0" r="0" b="0"/>
                <a:pathLst>
                  <a:path w="48279" h="35875">
                    <a:moveTo>
                      <a:pt x="41210" y="29042"/>
                    </a:moveTo>
                    <a:lnTo>
                      <a:pt x="29975" y="28718"/>
                    </a:lnTo>
                    <a:lnTo>
                      <a:pt x="24010" y="33343"/>
                    </a:lnTo>
                    <a:lnTo>
                      <a:pt x="17819" y="27246"/>
                    </a:lnTo>
                    <a:lnTo>
                      <a:pt x="11577" y="26561"/>
                    </a:lnTo>
                    <a:lnTo>
                      <a:pt x="8914" y="31409"/>
                    </a:lnTo>
                    <a:lnTo>
                      <a:pt x="0" y="35874"/>
                    </a:lnTo>
                    <a:lnTo>
                      <a:pt x="3905" y="0"/>
                    </a:lnTo>
                    <a:lnTo>
                      <a:pt x="42266" y="1421"/>
                    </a:lnTo>
                    <a:lnTo>
                      <a:pt x="45142" y="2408"/>
                    </a:lnTo>
                    <a:lnTo>
                      <a:pt x="46299" y="4606"/>
                    </a:lnTo>
                    <a:lnTo>
                      <a:pt x="48278" y="2205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23" name="Freeform 271">
                <a:extLst>
                  <a:ext uri="{FF2B5EF4-FFF2-40B4-BE49-F238E27FC236}">
                    <a16:creationId xmlns:a16="http://schemas.microsoft.com/office/drawing/2014/main" id="{40D96C52-A067-ED1F-F6DE-9A94B96095E5}"/>
                  </a:ext>
                </a:extLst>
              </p:cNvPr>
              <p:cNvSpPr>
                <a:spLocks noChangeAspect="1"/>
              </p:cNvSpPr>
              <p:nvPr>
                <p:custDataLst>
                  <p:tags r:id="rId195"/>
                </p:custDataLst>
              </p:nvPr>
            </p:nvSpPr>
            <p:spPr>
              <a:xfrm>
                <a:off x="5162262" y="4843437"/>
                <a:ext cx="124201" cy="147608"/>
              </a:xfrm>
              <a:custGeom>
                <a:avLst/>
                <a:gdLst/>
                <a:ahLst/>
                <a:cxnLst/>
                <a:rect l="0" t="0" r="0" b="0"/>
                <a:pathLst>
                  <a:path w="127521" h="151554">
                    <a:moveTo>
                      <a:pt x="118139" y="22869"/>
                    </a:moveTo>
                    <a:lnTo>
                      <a:pt x="126978" y="20966"/>
                    </a:lnTo>
                    <a:lnTo>
                      <a:pt x="127520" y="25625"/>
                    </a:lnTo>
                    <a:lnTo>
                      <a:pt x="124780" y="45507"/>
                    </a:lnTo>
                    <a:lnTo>
                      <a:pt x="122215" y="50834"/>
                    </a:lnTo>
                    <a:lnTo>
                      <a:pt x="116051" y="54734"/>
                    </a:lnTo>
                    <a:lnTo>
                      <a:pt x="111702" y="61200"/>
                    </a:lnTo>
                    <a:lnTo>
                      <a:pt x="112959" y="68889"/>
                    </a:lnTo>
                    <a:lnTo>
                      <a:pt x="104707" y="74481"/>
                    </a:lnTo>
                    <a:lnTo>
                      <a:pt x="100820" y="81435"/>
                    </a:lnTo>
                    <a:lnTo>
                      <a:pt x="98046" y="80927"/>
                    </a:lnTo>
                    <a:lnTo>
                      <a:pt x="92276" y="76085"/>
                    </a:lnTo>
                    <a:lnTo>
                      <a:pt x="87413" y="80016"/>
                    </a:lnTo>
                    <a:lnTo>
                      <a:pt x="78892" y="81359"/>
                    </a:lnTo>
                    <a:lnTo>
                      <a:pt x="77884" y="83843"/>
                    </a:lnTo>
                    <a:lnTo>
                      <a:pt x="80037" y="88314"/>
                    </a:lnTo>
                    <a:lnTo>
                      <a:pt x="76270" y="93685"/>
                    </a:lnTo>
                    <a:lnTo>
                      <a:pt x="74644" y="93853"/>
                    </a:lnTo>
                    <a:lnTo>
                      <a:pt x="73690" y="91465"/>
                    </a:lnTo>
                    <a:lnTo>
                      <a:pt x="72547" y="82899"/>
                    </a:lnTo>
                    <a:lnTo>
                      <a:pt x="69973" y="85668"/>
                    </a:lnTo>
                    <a:lnTo>
                      <a:pt x="67367" y="92054"/>
                    </a:lnTo>
                    <a:lnTo>
                      <a:pt x="67550" y="99584"/>
                    </a:lnTo>
                    <a:lnTo>
                      <a:pt x="71071" y="104738"/>
                    </a:lnTo>
                    <a:lnTo>
                      <a:pt x="66920" y="107070"/>
                    </a:lnTo>
                    <a:lnTo>
                      <a:pt x="57174" y="108177"/>
                    </a:lnTo>
                    <a:lnTo>
                      <a:pt x="52500" y="108373"/>
                    </a:lnTo>
                    <a:lnTo>
                      <a:pt x="50943" y="111897"/>
                    </a:lnTo>
                    <a:lnTo>
                      <a:pt x="49890" y="117453"/>
                    </a:lnTo>
                    <a:lnTo>
                      <a:pt x="50088" y="122266"/>
                    </a:lnTo>
                    <a:lnTo>
                      <a:pt x="51537" y="126354"/>
                    </a:lnTo>
                    <a:lnTo>
                      <a:pt x="55619" y="132387"/>
                    </a:lnTo>
                    <a:lnTo>
                      <a:pt x="56337" y="133522"/>
                    </a:lnTo>
                    <a:lnTo>
                      <a:pt x="53564" y="133955"/>
                    </a:lnTo>
                    <a:lnTo>
                      <a:pt x="49567" y="138796"/>
                    </a:lnTo>
                    <a:lnTo>
                      <a:pt x="47699" y="146312"/>
                    </a:lnTo>
                    <a:lnTo>
                      <a:pt x="43976" y="151553"/>
                    </a:lnTo>
                    <a:lnTo>
                      <a:pt x="42330" y="151513"/>
                    </a:lnTo>
                    <a:lnTo>
                      <a:pt x="37669" y="145027"/>
                    </a:lnTo>
                    <a:lnTo>
                      <a:pt x="37420" y="142162"/>
                    </a:lnTo>
                    <a:lnTo>
                      <a:pt x="33298" y="137777"/>
                    </a:lnTo>
                    <a:lnTo>
                      <a:pt x="30643" y="131820"/>
                    </a:lnTo>
                    <a:lnTo>
                      <a:pt x="20379" y="122571"/>
                    </a:lnTo>
                    <a:lnTo>
                      <a:pt x="15114" y="124165"/>
                    </a:lnTo>
                    <a:lnTo>
                      <a:pt x="6432" y="116860"/>
                    </a:lnTo>
                    <a:lnTo>
                      <a:pt x="0" y="114661"/>
                    </a:lnTo>
                    <a:lnTo>
                      <a:pt x="3696" y="101775"/>
                    </a:lnTo>
                    <a:lnTo>
                      <a:pt x="6606" y="97138"/>
                    </a:lnTo>
                    <a:lnTo>
                      <a:pt x="10043" y="91647"/>
                    </a:lnTo>
                    <a:lnTo>
                      <a:pt x="6728" y="81801"/>
                    </a:lnTo>
                    <a:lnTo>
                      <a:pt x="11122" y="75365"/>
                    </a:lnTo>
                    <a:lnTo>
                      <a:pt x="11812" y="66190"/>
                    </a:lnTo>
                    <a:lnTo>
                      <a:pt x="9785" y="62991"/>
                    </a:lnTo>
                    <a:lnTo>
                      <a:pt x="4997" y="62428"/>
                    </a:lnTo>
                    <a:lnTo>
                      <a:pt x="9061" y="55788"/>
                    </a:lnTo>
                    <a:lnTo>
                      <a:pt x="14826" y="52912"/>
                    </a:lnTo>
                    <a:lnTo>
                      <a:pt x="13061" y="49584"/>
                    </a:lnTo>
                    <a:lnTo>
                      <a:pt x="13873" y="48584"/>
                    </a:lnTo>
                    <a:lnTo>
                      <a:pt x="24025" y="39581"/>
                    </a:lnTo>
                    <a:lnTo>
                      <a:pt x="40872" y="48308"/>
                    </a:lnTo>
                    <a:lnTo>
                      <a:pt x="51114" y="45778"/>
                    </a:lnTo>
                    <a:lnTo>
                      <a:pt x="66782" y="49318"/>
                    </a:lnTo>
                    <a:lnTo>
                      <a:pt x="79063" y="34062"/>
                    </a:lnTo>
                    <a:lnTo>
                      <a:pt x="77142" y="19422"/>
                    </a:lnTo>
                    <a:lnTo>
                      <a:pt x="81063" y="5578"/>
                    </a:lnTo>
                    <a:lnTo>
                      <a:pt x="97619" y="0"/>
                    </a:lnTo>
                    <a:lnTo>
                      <a:pt x="101865" y="4592"/>
                    </a:lnTo>
                    <a:lnTo>
                      <a:pt x="102426" y="7115"/>
                    </a:lnTo>
                    <a:lnTo>
                      <a:pt x="99072" y="10784"/>
                    </a:lnTo>
                    <a:lnTo>
                      <a:pt x="99578" y="11928"/>
                    </a:lnTo>
                    <a:lnTo>
                      <a:pt x="109122" y="15309"/>
                    </a:lnTo>
                    <a:lnTo>
                      <a:pt x="106121" y="21186"/>
                    </a:lnTo>
                    <a:lnTo>
                      <a:pt x="107150" y="2219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24" name="Freeform 272">
                <a:extLst>
                  <a:ext uri="{FF2B5EF4-FFF2-40B4-BE49-F238E27FC236}">
                    <a16:creationId xmlns:a16="http://schemas.microsoft.com/office/drawing/2014/main" id="{4709DB6E-A8B5-0D32-F5C2-CB491D9D6FBC}"/>
                  </a:ext>
                </a:extLst>
              </p:cNvPr>
              <p:cNvSpPr>
                <a:spLocks noChangeAspect="1"/>
              </p:cNvSpPr>
              <p:nvPr>
                <p:custDataLst>
                  <p:tags r:id="rId196"/>
                </p:custDataLst>
              </p:nvPr>
            </p:nvSpPr>
            <p:spPr>
              <a:xfrm>
                <a:off x="5165811" y="4802029"/>
                <a:ext cx="91529" cy="89443"/>
              </a:xfrm>
              <a:custGeom>
                <a:avLst/>
                <a:gdLst/>
                <a:ahLst/>
                <a:cxnLst/>
                <a:rect l="0" t="0" r="0" b="0"/>
                <a:pathLst>
                  <a:path w="93976" h="91834">
                    <a:moveTo>
                      <a:pt x="71725" y="31190"/>
                    </a:moveTo>
                    <a:lnTo>
                      <a:pt x="74954" y="29132"/>
                    </a:lnTo>
                    <a:lnTo>
                      <a:pt x="84011" y="30649"/>
                    </a:lnTo>
                    <a:lnTo>
                      <a:pt x="84694" y="38800"/>
                    </a:lnTo>
                    <a:lnTo>
                      <a:pt x="93975" y="42515"/>
                    </a:lnTo>
                    <a:lnTo>
                      <a:pt x="77419" y="48093"/>
                    </a:lnTo>
                    <a:lnTo>
                      <a:pt x="73498" y="61937"/>
                    </a:lnTo>
                    <a:lnTo>
                      <a:pt x="75419" y="76577"/>
                    </a:lnTo>
                    <a:lnTo>
                      <a:pt x="63138" y="91833"/>
                    </a:lnTo>
                    <a:lnTo>
                      <a:pt x="47470" y="88293"/>
                    </a:lnTo>
                    <a:lnTo>
                      <a:pt x="37228" y="90823"/>
                    </a:lnTo>
                    <a:lnTo>
                      <a:pt x="20381" y="82096"/>
                    </a:lnTo>
                    <a:lnTo>
                      <a:pt x="16675" y="74067"/>
                    </a:lnTo>
                    <a:lnTo>
                      <a:pt x="6043" y="63615"/>
                    </a:lnTo>
                    <a:lnTo>
                      <a:pt x="8054" y="52678"/>
                    </a:lnTo>
                    <a:lnTo>
                      <a:pt x="0" y="46258"/>
                    </a:lnTo>
                    <a:lnTo>
                      <a:pt x="4338" y="37078"/>
                    </a:lnTo>
                    <a:lnTo>
                      <a:pt x="3555" y="28603"/>
                    </a:lnTo>
                    <a:lnTo>
                      <a:pt x="1589" y="23475"/>
                    </a:lnTo>
                    <a:lnTo>
                      <a:pt x="2080" y="20710"/>
                    </a:lnTo>
                    <a:lnTo>
                      <a:pt x="13849" y="17573"/>
                    </a:lnTo>
                    <a:lnTo>
                      <a:pt x="16943" y="18417"/>
                    </a:lnTo>
                    <a:lnTo>
                      <a:pt x="21595" y="24164"/>
                    </a:lnTo>
                    <a:lnTo>
                      <a:pt x="25712" y="24847"/>
                    </a:lnTo>
                    <a:lnTo>
                      <a:pt x="27803" y="23269"/>
                    </a:lnTo>
                    <a:lnTo>
                      <a:pt x="29201" y="19083"/>
                    </a:lnTo>
                    <a:lnTo>
                      <a:pt x="28849" y="10383"/>
                    </a:lnTo>
                    <a:lnTo>
                      <a:pt x="33733" y="2633"/>
                    </a:lnTo>
                    <a:lnTo>
                      <a:pt x="43983" y="0"/>
                    </a:lnTo>
                    <a:lnTo>
                      <a:pt x="50998" y="4042"/>
                    </a:lnTo>
                    <a:lnTo>
                      <a:pt x="53783" y="11354"/>
                    </a:lnTo>
                    <a:lnTo>
                      <a:pt x="65111" y="14798"/>
                    </a:lnTo>
                    <a:lnTo>
                      <a:pt x="66178" y="24634"/>
                    </a:lnTo>
                    <a:lnTo>
                      <a:pt x="69469" y="30122"/>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425" name="Freeform 273">
                <a:extLst>
                  <a:ext uri="{FF2B5EF4-FFF2-40B4-BE49-F238E27FC236}">
                    <a16:creationId xmlns:a16="http://schemas.microsoft.com/office/drawing/2014/main" id="{07C77FAA-D049-E93F-7FA4-6115FADF2BA2}"/>
                  </a:ext>
                </a:extLst>
              </p:cNvPr>
              <p:cNvSpPr>
                <a:spLocks noChangeAspect="1"/>
              </p:cNvSpPr>
              <p:nvPr>
                <p:custDataLst>
                  <p:tags r:id="rId197"/>
                </p:custDataLst>
              </p:nvPr>
            </p:nvSpPr>
            <p:spPr>
              <a:xfrm>
                <a:off x="5077037" y="5112161"/>
                <a:ext cx="27448" cy="28483"/>
              </a:xfrm>
              <a:custGeom>
                <a:avLst/>
                <a:gdLst/>
                <a:ahLst/>
                <a:cxnLst/>
                <a:rect l="0" t="0" r="0" b="0"/>
                <a:pathLst>
                  <a:path w="28182" h="29244">
                    <a:moveTo>
                      <a:pt x="22801" y="12994"/>
                    </a:moveTo>
                    <a:lnTo>
                      <a:pt x="28181" y="12196"/>
                    </a:lnTo>
                    <a:lnTo>
                      <a:pt x="23776" y="24485"/>
                    </a:lnTo>
                    <a:lnTo>
                      <a:pt x="14087" y="29022"/>
                    </a:lnTo>
                    <a:lnTo>
                      <a:pt x="7533" y="29243"/>
                    </a:lnTo>
                    <a:lnTo>
                      <a:pt x="52" y="21083"/>
                    </a:lnTo>
                    <a:lnTo>
                      <a:pt x="0" y="0"/>
                    </a:lnTo>
                    <a:lnTo>
                      <a:pt x="5304" y="535"/>
                    </a:lnTo>
                    <a:lnTo>
                      <a:pt x="9492" y="2329"/>
                    </a:lnTo>
                    <a:lnTo>
                      <a:pt x="18816" y="10761"/>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76" name="Freeform 274">
                <a:extLst>
                  <a:ext uri="{FF2B5EF4-FFF2-40B4-BE49-F238E27FC236}">
                    <a16:creationId xmlns:a16="http://schemas.microsoft.com/office/drawing/2014/main" id="{C35FF1A3-0088-EDBD-BFC3-2DA43122D178}"/>
                  </a:ext>
                </a:extLst>
              </p:cNvPr>
              <p:cNvSpPr>
                <a:spLocks noChangeAspect="1"/>
              </p:cNvSpPr>
              <p:nvPr>
                <p:custDataLst>
                  <p:tags r:id="rId198"/>
                </p:custDataLst>
              </p:nvPr>
            </p:nvSpPr>
            <p:spPr>
              <a:xfrm>
                <a:off x="4960115" y="5089949"/>
                <a:ext cx="129965" cy="83319"/>
              </a:xfrm>
              <a:custGeom>
                <a:avLst/>
                <a:gdLst/>
                <a:ahLst/>
                <a:cxnLst/>
                <a:rect l="0" t="0" r="0" b="0"/>
                <a:pathLst>
                  <a:path w="133439" h="85546">
                    <a:moveTo>
                      <a:pt x="75940" y="7663"/>
                    </a:moveTo>
                    <a:lnTo>
                      <a:pt x="84847" y="7053"/>
                    </a:lnTo>
                    <a:lnTo>
                      <a:pt x="90614" y="10269"/>
                    </a:lnTo>
                    <a:lnTo>
                      <a:pt x="95120" y="10659"/>
                    </a:lnTo>
                    <a:lnTo>
                      <a:pt x="103979" y="7502"/>
                    </a:lnTo>
                    <a:lnTo>
                      <a:pt x="106193" y="13544"/>
                    </a:lnTo>
                    <a:lnTo>
                      <a:pt x="109877" y="17789"/>
                    </a:lnTo>
                    <a:lnTo>
                      <a:pt x="114689" y="20910"/>
                    </a:lnTo>
                    <a:lnTo>
                      <a:pt x="120048" y="22806"/>
                    </a:lnTo>
                    <a:lnTo>
                      <a:pt x="120100" y="43889"/>
                    </a:lnTo>
                    <a:lnTo>
                      <a:pt x="127581" y="52049"/>
                    </a:lnTo>
                    <a:lnTo>
                      <a:pt x="131860" y="62415"/>
                    </a:lnTo>
                    <a:lnTo>
                      <a:pt x="133438" y="73725"/>
                    </a:lnTo>
                    <a:lnTo>
                      <a:pt x="128971" y="71131"/>
                    </a:lnTo>
                    <a:lnTo>
                      <a:pt x="126449" y="66871"/>
                    </a:lnTo>
                    <a:lnTo>
                      <a:pt x="122301" y="65824"/>
                    </a:lnTo>
                    <a:lnTo>
                      <a:pt x="114345" y="68002"/>
                    </a:lnTo>
                    <a:lnTo>
                      <a:pt x="114650" y="73304"/>
                    </a:lnTo>
                    <a:lnTo>
                      <a:pt x="112427" y="74424"/>
                    </a:lnTo>
                    <a:lnTo>
                      <a:pt x="82374" y="69965"/>
                    </a:lnTo>
                    <a:lnTo>
                      <a:pt x="45576" y="70429"/>
                    </a:lnTo>
                    <a:lnTo>
                      <a:pt x="36883" y="77586"/>
                    </a:lnTo>
                    <a:lnTo>
                      <a:pt x="39195" y="82180"/>
                    </a:lnTo>
                    <a:lnTo>
                      <a:pt x="37933" y="84338"/>
                    </a:lnTo>
                    <a:lnTo>
                      <a:pt x="25081" y="85545"/>
                    </a:lnTo>
                    <a:lnTo>
                      <a:pt x="25242" y="81187"/>
                    </a:lnTo>
                    <a:lnTo>
                      <a:pt x="22482" y="77234"/>
                    </a:lnTo>
                    <a:lnTo>
                      <a:pt x="22086" y="72783"/>
                    </a:lnTo>
                    <a:lnTo>
                      <a:pt x="13557" y="68669"/>
                    </a:lnTo>
                    <a:lnTo>
                      <a:pt x="6067" y="55600"/>
                    </a:lnTo>
                    <a:lnTo>
                      <a:pt x="8383" y="52459"/>
                    </a:lnTo>
                    <a:lnTo>
                      <a:pt x="15796" y="50148"/>
                    </a:lnTo>
                    <a:lnTo>
                      <a:pt x="15909" y="46947"/>
                    </a:lnTo>
                    <a:lnTo>
                      <a:pt x="14013" y="40423"/>
                    </a:lnTo>
                    <a:lnTo>
                      <a:pt x="8622" y="36735"/>
                    </a:lnTo>
                    <a:lnTo>
                      <a:pt x="2208" y="26401"/>
                    </a:lnTo>
                    <a:lnTo>
                      <a:pt x="1111" y="21019"/>
                    </a:lnTo>
                    <a:lnTo>
                      <a:pt x="0" y="15559"/>
                    </a:lnTo>
                    <a:lnTo>
                      <a:pt x="2102" y="6668"/>
                    </a:lnTo>
                    <a:lnTo>
                      <a:pt x="3763" y="4600"/>
                    </a:lnTo>
                    <a:lnTo>
                      <a:pt x="11632" y="2594"/>
                    </a:lnTo>
                    <a:lnTo>
                      <a:pt x="22960" y="3670"/>
                    </a:lnTo>
                    <a:lnTo>
                      <a:pt x="32090" y="8828"/>
                    </a:lnTo>
                    <a:lnTo>
                      <a:pt x="39271" y="5762"/>
                    </a:lnTo>
                    <a:lnTo>
                      <a:pt x="46513" y="7155"/>
                    </a:lnTo>
                    <a:lnTo>
                      <a:pt x="51759" y="3596"/>
                    </a:lnTo>
                    <a:lnTo>
                      <a:pt x="58181" y="6380"/>
                    </a:lnTo>
                    <a:lnTo>
                      <a:pt x="62068" y="1377"/>
                    </a:lnTo>
                    <a:lnTo>
                      <a:pt x="65529" y="0"/>
                    </a:lnTo>
                    <a:lnTo>
                      <a:pt x="69745" y="167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77" name="Freeform 275">
                <a:extLst>
                  <a:ext uri="{FF2B5EF4-FFF2-40B4-BE49-F238E27FC236}">
                    <a16:creationId xmlns:a16="http://schemas.microsoft.com/office/drawing/2014/main" id="{CA9DEFD6-E339-8F9F-793E-EC4A55FAFE3D}"/>
                  </a:ext>
                </a:extLst>
              </p:cNvPr>
              <p:cNvSpPr>
                <a:spLocks noChangeAspect="1"/>
              </p:cNvSpPr>
              <p:nvPr>
                <p:custDataLst>
                  <p:tags r:id="rId199"/>
                </p:custDataLst>
              </p:nvPr>
            </p:nvSpPr>
            <p:spPr>
              <a:xfrm>
                <a:off x="5084374" y="5087541"/>
                <a:ext cx="55836" cy="74471"/>
              </a:xfrm>
              <a:custGeom>
                <a:avLst/>
                <a:gdLst/>
                <a:ahLst/>
                <a:cxnLst/>
                <a:rect l="0" t="0" r="0" b="0"/>
                <a:pathLst>
                  <a:path w="57329" h="76462">
                    <a:moveTo>
                      <a:pt x="47593" y="2956"/>
                    </a:moveTo>
                    <a:lnTo>
                      <a:pt x="51802" y="16963"/>
                    </a:lnTo>
                    <a:lnTo>
                      <a:pt x="52946" y="30587"/>
                    </a:lnTo>
                    <a:lnTo>
                      <a:pt x="57328" y="43039"/>
                    </a:lnTo>
                    <a:lnTo>
                      <a:pt x="57204" y="57760"/>
                    </a:lnTo>
                    <a:lnTo>
                      <a:pt x="51024" y="68500"/>
                    </a:lnTo>
                    <a:lnTo>
                      <a:pt x="48644" y="76461"/>
                    </a:lnTo>
                    <a:lnTo>
                      <a:pt x="40628" y="76268"/>
                    </a:lnTo>
                    <a:lnTo>
                      <a:pt x="32693" y="73155"/>
                    </a:lnTo>
                    <a:lnTo>
                      <a:pt x="21391" y="74718"/>
                    </a:lnTo>
                    <a:lnTo>
                      <a:pt x="14244" y="73058"/>
                    </a:lnTo>
                    <a:lnTo>
                      <a:pt x="5857" y="76198"/>
                    </a:lnTo>
                    <a:lnTo>
                      <a:pt x="4279" y="64888"/>
                    </a:lnTo>
                    <a:lnTo>
                      <a:pt x="0" y="54522"/>
                    </a:lnTo>
                    <a:lnTo>
                      <a:pt x="6554" y="54301"/>
                    </a:lnTo>
                    <a:lnTo>
                      <a:pt x="16243" y="49764"/>
                    </a:lnTo>
                    <a:lnTo>
                      <a:pt x="20648" y="37475"/>
                    </a:lnTo>
                    <a:lnTo>
                      <a:pt x="28384" y="31417"/>
                    </a:lnTo>
                    <a:lnTo>
                      <a:pt x="34088" y="28686"/>
                    </a:lnTo>
                    <a:lnTo>
                      <a:pt x="38612" y="22895"/>
                    </a:lnTo>
                    <a:lnTo>
                      <a:pt x="40083" y="20432"/>
                    </a:lnTo>
                    <a:lnTo>
                      <a:pt x="41668" y="16553"/>
                    </a:lnTo>
                    <a:lnTo>
                      <a:pt x="41399" y="14498"/>
                    </a:lnTo>
                    <a:lnTo>
                      <a:pt x="40184" y="12498"/>
                    </a:lnTo>
                    <a:lnTo>
                      <a:pt x="38933" y="8732"/>
                    </a:lnTo>
                    <a:lnTo>
                      <a:pt x="37837" y="1166"/>
                    </a:lnTo>
                    <a:lnTo>
                      <a:pt x="38951" y="0"/>
                    </a:lnTo>
                    <a:lnTo>
                      <a:pt x="42215" y="1769"/>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78" name="Freeform 276">
                <a:extLst>
                  <a:ext uri="{FF2B5EF4-FFF2-40B4-BE49-F238E27FC236}">
                    <a16:creationId xmlns:a16="http://schemas.microsoft.com/office/drawing/2014/main" id="{2049C498-B201-3543-3416-2BBF619F3E81}"/>
                  </a:ext>
                </a:extLst>
              </p:cNvPr>
              <p:cNvSpPr>
                <a:spLocks noChangeAspect="1"/>
              </p:cNvSpPr>
              <p:nvPr>
                <p:custDataLst>
                  <p:tags r:id="rId200"/>
                </p:custDataLst>
              </p:nvPr>
            </p:nvSpPr>
            <p:spPr>
              <a:xfrm>
                <a:off x="5131752" y="5117331"/>
                <a:ext cx="39543" cy="50894"/>
              </a:xfrm>
              <a:custGeom>
                <a:avLst/>
                <a:gdLst/>
                <a:ahLst/>
                <a:cxnLst/>
                <a:rect l="0" t="0" r="0" b="0"/>
                <a:pathLst>
                  <a:path w="40600" h="52254">
                    <a:moveTo>
                      <a:pt x="36559" y="38077"/>
                    </a:moveTo>
                    <a:lnTo>
                      <a:pt x="31309" y="39444"/>
                    </a:lnTo>
                    <a:lnTo>
                      <a:pt x="21165" y="52253"/>
                    </a:lnTo>
                    <a:lnTo>
                      <a:pt x="12970" y="49696"/>
                    </a:lnTo>
                    <a:lnTo>
                      <a:pt x="7930" y="46059"/>
                    </a:lnTo>
                    <a:lnTo>
                      <a:pt x="0" y="45874"/>
                    </a:lnTo>
                    <a:lnTo>
                      <a:pt x="2380" y="37913"/>
                    </a:lnTo>
                    <a:lnTo>
                      <a:pt x="8560" y="27173"/>
                    </a:lnTo>
                    <a:lnTo>
                      <a:pt x="8684" y="12452"/>
                    </a:lnTo>
                    <a:lnTo>
                      <a:pt x="4302" y="0"/>
                    </a:lnTo>
                    <a:lnTo>
                      <a:pt x="16814" y="1637"/>
                    </a:lnTo>
                    <a:lnTo>
                      <a:pt x="32025" y="5265"/>
                    </a:lnTo>
                    <a:lnTo>
                      <a:pt x="39545" y="13386"/>
                    </a:lnTo>
                    <a:lnTo>
                      <a:pt x="40599" y="23857"/>
                    </a:lnTo>
                    <a:lnTo>
                      <a:pt x="32236" y="28385"/>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79" name="Freeform 277">
                <a:extLst>
                  <a:ext uri="{FF2B5EF4-FFF2-40B4-BE49-F238E27FC236}">
                    <a16:creationId xmlns:a16="http://schemas.microsoft.com/office/drawing/2014/main" id="{A71F9350-6C1C-AC29-77B7-26CA2D0EE600}"/>
                  </a:ext>
                </a:extLst>
              </p:cNvPr>
              <p:cNvSpPr>
                <a:spLocks noChangeAspect="1"/>
              </p:cNvSpPr>
              <p:nvPr>
                <p:custDataLst>
                  <p:tags r:id="rId201"/>
                </p:custDataLst>
              </p:nvPr>
            </p:nvSpPr>
            <p:spPr>
              <a:xfrm>
                <a:off x="5130728" y="5081565"/>
                <a:ext cx="64033" cy="72853"/>
              </a:xfrm>
              <a:custGeom>
                <a:avLst/>
                <a:gdLst/>
                <a:ahLst/>
                <a:cxnLst/>
                <a:rect l="0" t="0" r="0" b="0"/>
                <a:pathLst>
                  <a:path w="65745" h="74800">
                    <a:moveTo>
                      <a:pt x="44608" y="26862"/>
                    </a:moveTo>
                    <a:lnTo>
                      <a:pt x="50642" y="25814"/>
                    </a:lnTo>
                    <a:lnTo>
                      <a:pt x="58388" y="25361"/>
                    </a:lnTo>
                    <a:lnTo>
                      <a:pt x="61605" y="27815"/>
                    </a:lnTo>
                    <a:lnTo>
                      <a:pt x="64493" y="32209"/>
                    </a:lnTo>
                    <a:lnTo>
                      <a:pt x="65744" y="43584"/>
                    </a:lnTo>
                    <a:lnTo>
                      <a:pt x="62564" y="51100"/>
                    </a:lnTo>
                    <a:lnTo>
                      <a:pt x="60848" y="59870"/>
                    </a:lnTo>
                    <a:lnTo>
                      <a:pt x="56121" y="66113"/>
                    </a:lnTo>
                    <a:lnTo>
                      <a:pt x="47067" y="68584"/>
                    </a:lnTo>
                    <a:lnTo>
                      <a:pt x="37610" y="74799"/>
                    </a:lnTo>
                    <a:lnTo>
                      <a:pt x="33287" y="65107"/>
                    </a:lnTo>
                    <a:lnTo>
                      <a:pt x="41650" y="60579"/>
                    </a:lnTo>
                    <a:lnTo>
                      <a:pt x="40596" y="50108"/>
                    </a:lnTo>
                    <a:lnTo>
                      <a:pt x="33076" y="41987"/>
                    </a:lnTo>
                    <a:lnTo>
                      <a:pt x="17865" y="38359"/>
                    </a:lnTo>
                    <a:lnTo>
                      <a:pt x="5353" y="36722"/>
                    </a:lnTo>
                    <a:lnTo>
                      <a:pt x="4209" y="23098"/>
                    </a:lnTo>
                    <a:lnTo>
                      <a:pt x="0" y="9091"/>
                    </a:lnTo>
                    <a:lnTo>
                      <a:pt x="16914" y="3013"/>
                    </a:lnTo>
                    <a:lnTo>
                      <a:pt x="20160" y="3365"/>
                    </a:lnTo>
                    <a:lnTo>
                      <a:pt x="24228" y="723"/>
                    </a:lnTo>
                    <a:lnTo>
                      <a:pt x="29958" y="0"/>
                    </a:lnTo>
                    <a:lnTo>
                      <a:pt x="35276" y="1387"/>
                    </a:lnTo>
                    <a:lnTo>
                      <a:pt x="38088" y="5050"/>
                    </a:lnTo>
                    <a:lnTo>
                      <a:pt x="37592" y="12556"/>
                    </a:lnTo>
                    <a:lnTo>
                      <a:pt x="35254" y="17387"/>
                    </a:lnTo>
                    <a:lnTo>
                      <a:pt x="34958" y="21290"/>
                    </a:lnTo>
                    <a:lnTo>
                      <a:pt x="40516" y="26072"/>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80" name="Freeform 278">
                <a:extLst>
                  <a:ext uri="{FF2B5EF4-FFF2-40B4-BE49-F238E27FC236}">
                    <a16:creationId xmlns:a16="http://schemas.microsoft.com/office/drawing/2014/main" id="{7D81AA31-9D7B-4236-CC35-68C76757E84C}"/>
                  </a:ext>
                </a:extLst>
              </p:cNvPr>
              <p:cNvSpPr>
                <a:spLocks noChangeAspect="1"/>
              </p:cNvSpPr>
              <p:nvPr>
                <p:custDataLst>
                  <p:tags r:id="rId202"/>
                </p:custDataLst>
              </p:nvPr>
            </p:nvSpPr>
            <p:spPr>
              <a:xfrm>
                <a:off x="5176535" y="5092965"/>
                <a:ext cx="32363" cy="35091"/>
              </a:xfrm>
              <a:custGeom>
                <a:avLst/>
                <a:gdLst/>
                <a:ahLst/>
                <a:cxnLst/>
                <a:rect l="0" t="0" r="0" b="0"/>
                <a:pathLst>
                  <a:path w="33228" h="36029">
                    <a:moveTo>
                      <a:pt x="15241" y="3413"/>
                    </a:moveTo>
                    <a:lnTo>
                      <a:pt x="16541" y="1128"/>
                    </a:lnTo>
                    <a:lnTo>
                      <a:pt x="19168" y="707"/>
                    </a:lnTo>
                    <a:lnTo>
                      <a:pt x="20961" y="2649"/>
                    </a:lnTo>
                    <a:lnTo>
                      <a:pt x="22151" y="9387"/>
                    </a:lnTo>
                    <a:lnTo>
                      <a:pt x="30189" y="8219"/>
                    </a:lnTo>
                    <a:lnTo>
                      <a:pt x="31343" y="10601"/>
                    </a:lnTo>
                    <a:lnTo>
                      <a:pt x="31128" y="15194"/>
                    </a:lnTo>
                    <a:lnTo>
                      <a:pt x="33227" y="19770"/>
                    </a:lnTo>
                    <a:lnTo>
                      <a:pt x="31634" y="29605"/>
                    </a:lnTo>
                    <a:lnTo>
                      <a:pt x="32464" y="33709"/>
                    </a:lnTo>
                    <a:lnTo>
                      <a:pt x="29389" y="36028"/>
                    </a:lnTo>
                    <a:lnTo>
                      <a:pt x="18713" y="31879"/>
                    </a:lnTo>
                    <a:lnTo>
                      <a:pt x="17462" y="20504"/>
                    </a:lnTo>
                    <a:lnTo>
                      <a:pt x="14574" y="16110"/>
                    </a:lnTo>
                    <a:lnTo>
                      <a:pt x="11357" y="13656"/>
                    </a:lnTo>
                    <a:lnTo>
                      <a:pt x="3611" y="14109"/>
                    </a:lnTo>
                    <a:lnTo>
                      <a:pt x="1756" y="10528"/>
                    </a:lnTo>
                    <a:lnTo>
                      <a:pt x="0" y="4217"/>
                    </a:lnTo>
                    <a:lnTo>
                      <a:pt x="1166" y="1740"/>
                    </a:lnTo>
                    <a:lnTo>
                      <a:pt x="7703"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81" name="Freeform 279">
                <a:extLst>
                  <a:ext uri="{FF2B5EF4-FFF2-40B4-BE49-F238E27FC236}">
                    <a16:creationId xmlns:a16="http://schemas.microsoft.com/office/drawing/2014/main" id="{C80A2E04-D466-6888-228C-3D6052B068A4}"/>
                  </a:ext>
                </a:extLst>
              </p:cNvPr>
              <p:cNvSpPr>
                <a:spLocks noChangeAspect="1"/>
              </p:cNvSpPr>
              <p:nvPr>
                <p:custDataLst>
                  <p:tags r:id="rId203"/>
                </p:custDataLst>
              </p:nvPr>
            </p:nvSpPr>
            <p:spPr>
              <a:xfrm>
                <a:off x="5257055" y="5036019"/>
                <a:ext cx="40258" cy="44967"/>
              </a:xfrm>
              <a:custGeom>
                <a:avLst/>
                <a:gdLst/>
                <a:ahLst/>
                <a:cxnLst/>
                <a:rect l="0" t="0" r="0" b="0"/>
                <a:pathLst>
                  <a:path w="41334" h="46169">
                    <a:moveTo>
                      <a:pt x="17766" y="7141"/>
                    </a:moveTo>
                    <a:lnTo>
                      <a:pt x="21644" y="3882"/>
                    </a:lnTo>
                    <a:lnTo>
                      <a:pt x="28017" y="1999"/>
                    </a:lnTo>
                    <a:lnTo>
                      <a:pt x="29815" y="0"/>
                    </a:lnTo>
                    <a:lnTo>
                      <a:pt x="30026" y="7626"/>
                    </a:lnTo>
                    <a:lnTo>
                      <a:pt x="41333" y="16090"/>
                    </a:lnTo>
                    <a:lnTo>
                      <a:pt x="39183" y="23871"/>
                    </a:lnTo>
                    <a:lnTo>
                      <a:pt x="39070" y="24499"/>
                    </a:lnTo>
                    <a:lnTo>
                      <a:pt x="38695" y="25426"/>
                    </a:lnTo>
                    <a:lnTo>
                      <a:pt x="38634" y="25705"/>
                    </a:lnTo>
                    <a:lnTo>
                      <a:pt x="38527" y="27271"/>
                    </a:lnTo>
                    <a:lnTo>
                      <a:pt x="38110" y="28239"/>
                    </a:lnTo>
                    <a:lnTo>
                      <a:pt x="37859" y="28508"/>
                    </a:lnTo>
                    <a:lnTo>
                      <a:pt x="37505" y="28702"/>
                    </a:lnTo>
                    <a:lnTo>
                      <a:pt x="37160" y="28678"/>
                    </a:lnTo>
                    <a:lnTo>
                      <a:pt x="36890" y="28552"/>
                    </a:lnTo>
                    <a:lnTo>
                      <a:pt x="36511" y="28036"/>
                    </a:lnTo>
                    <a:lnTo>
                      <a:pt x="36284" y="27376"/>
                    </a:lnTo>
                    <a:lnTo>
                      <a:pt x="35902" y="26682"/>
                    </a:lnTo>
                    <a:lnTo>
                      <a:pt x="35756" y="26570"/>
                    </a:lnTo>
                    <a:lnTo>
                      <a:pt x="35633" y="26556"/>
                    </a:lnTo>
                    <a:lnTo>
                      <a:pt x="35505" y="26582"/>
                    </a:lnTo>
                    <a:lnTo>
                      <a:pt x="35363" y="26706"/>
                    </a:lnTo>
                    <a:lnTo>
                      <a:pt x="35085" y="27353"/>
                    </a:lnTo>
                    <a:lnTo>
                      <a:pt x="35000" y="27771"/>
                    </a:lnTo>
                    <a:lnTo>
                      <a:pt x="34989" y="27929"/>
                    </a:lnTo>
                    <a:lnTo>
                      <a:pt x="35003" y="28106"/>
                    </a:lnTo>
                    <a:lnTo>
                      <a:pt x="35875" y="31900"/>
                    </a:lnTo>
                    <a:lnTo>
                      <a:pt x="35860" y="32374"/>
                    </a:lnTo>
                    <a:lnTo>
                      <a:pt x="35644" y="33294"/>
                    </a:lnTo>
                    <a:lnTo>
                      <a:pt x="35525" y="33507"/>
                    </a:lnTo>
                    <a:lnTo>
                      <a:pt x="34794" y="34183"/>
                    </a:lnTo>
                    <a:lnTo>
                      <a:pt x="33180" y="34910"/>
                    </a:lnTo>
                    <a:lnTo>
                      <a:pt x="32890" y="35299"/>
                    </a:lnTo>
                    <a:lnTo>
                      <a:pt x="32826" y="35510"/>
                    </a:lnTo>
                    <a:lnTo>
                      <a:pt x="32269" y="40031"/>
                    </a:lnTo>
                    <a:lnTo>
                      <a:pt x="29575" y="41499"/>
                    </a:lnTo>
                    <a:lnTo>
                      <a:pt x="28673" y="42627"/>
                    </a:lnTo>
                    <a:lnTo>
                      <a:pt x="28019" y="43922"/>
                    </a:lnTo>
                    <a:lnTo>
                      <a:pt x="27006" y="45055"/>
                    </a:lnTo>
                    <a:lnTo>
                      <a:pt x="22544" y="46168"/>
                    </a:lnTo>
                    <a:lnTo>
                      <a:pt x="17302" y="40518"/>
                    </a:lnTo>
                    <a:lnTo>
                      <a:pt x="16937" y="40317"/>
                    </a:lnTo>
                    <a:lnTo>
                      <a:pt x="16776" y="40295"/>
                    </a:lnTo>
                    <a:lnTo>
                      <a:pt x="16309" y="40444"/>
                    </a:lnTo>
                    <a:lnTo>
                      <a:pt x="15712" y="40985"/>
                    </a:lnTo>
                    <a:lnTo>
                      <a:pt x="15281" y="41104"/>
                    </a:lnTo>
                    <a:lnTo>
                      <a:pt x="14853" y="41013"/>
                    </a:lnTo>
                    <a:lnTo>
                      <a:pt x="13548" y="39700"/>
                    </a:lnTo>
                    <a:lnTo>
                      <a:pt x="12930" y="38364"/>
                    </a:lnTo>
                    <a:lnTo>
                      <a:pt x="12658" y="36805"/>
                    </a:lnTo>
                    <a:lnTo>
                      <a:pt x="12586" y="35159"/>
                    </a:lnTo>
                    <a:lnTo>
                      <a:pt x="12538" y="34904"/>
                    </a:lnTo>
                    <a:lnTo>
                      <a:pt x="12347" y="34339"/>
                    </a:lnTo>
                    <a:lnTo>
                      <a:pt x="6981" y="27940"/>
                    </a:lnTo>
                    <a:lnTo>
                      <a:pt x="435" y="17483"/>
                    </a:lnTo>
                    <a:lnTo>
                      <a:pt x="0" y="13965"/>
                    </a:lnTo>
                    <a:lnTo>
                      <a:pt x="9248" y="11340"/>
                    </a:lnTo>
                    <a:lnTo>
                      <a:pt x="10955" y="2351"/>
                    </a:lnTo>
                    <a:lnTo>
                      <a:pt x="12521" y="462"/>
                    </a:lnTo>
                    <a:lnTo>
                      <a:pt x="14816" y="1741"/>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82" name="Freeform 280">
                <a:extLst>
                  <a:ext uri="{FF2B5EF4-FFF2-40B4-BE49-F238E27FC236}">
                    <a16:creationId xmlns:a16="http://schemas.microsoft.com/office/drawing/2014/main" id="{DA4C10C3-69EF-CA4E-C0E5-31D2D6694D4E}"/>
                  </a:ext>
                </a:extLst>
              </p:cNvPr>
              <p:cNvSpPr>
                <a:spLocks noChangeAspect="1"/>
              </p:cNvSpPr>
              <p:nvPr>
                <p:custDataLst>
                  <p:tags r:id="rId204"/>
                </p:custDataLst>
              </p:nvPr>
            </p:nvSpPr>
            <p:spPr>
              <a:xfrm>
                <a:off x="4703228" y="4415930"/>
                <a:ext cx="154467" cy="161478"/>
              </a:xfrm>
              <a:custGeom>
                <a:avLst/>
                <a:gdLst/>
                <a:ahLst/>
                <a:cxnLst/>
                <a:rect l="0" t="0" r="0" b="0"/>
                <a:pathLst>
                  <a:path w="158596" h="165795">
                    <a:moveTo>
                      <a:pt x="78725" y="7405"/>
                    </a:moveTo>
                    <a:lnTo>
                      <a:pt x="86435" y="14075"/>
                    </a:lnTo>
                    <a:lnTo>
                      <a:pt x="91675" y="12932"/>
                    </a:lnTo>
                    <a:lnTo>
                      <a:pt x="96616" y="9029"/>
                    </a:lnTo>
                    <a:lnTo>
                      <a:pt x="104549" y="9317"/>
                    </a:lnTo>
                    <a:lnTo>
                      <a:pt x="110874" y="12385"/>
                    </a:lnTo>
                    <a:lnTo>
                      <a:pt x="111805" y="15025"/>
                    </a:lnTo>
                    <a:lnTo>
                      <a:pt x="111351" y="18016"/>
                    </a:lnTo>
                    <a:lnTo>
                      <a:pt x="114835" y="21546"/>
                    </a:lnTo>
                    <a:lnTo>
                      <a:pt x="119172" y="19039"/>
                    </a:lnTo>
                    <a:lnTo>
                      <a:pt x="121217" y="9542"/>
                    </a:lnTo>
                    <a:lnTo>
                      <a:pt x="123578" y="6853"/>
                    </a:lnTo>
                    <a:lnTo>
                      <a:pt x="132498" y="6033"/>
                    </a:lnTo>
                    <a:lnTo>
                      <a:pt x="139716" y="9300"/>
                    </a:lnTo>
                    <a:lnTo>
                      <a:pt x="142829" y="3304"/>
                    </a:lnTo>
                    <a:lnTo>
                      <a:pt x="147038" y="2173"/>
                    </a:lnTo>
                    <a:lnTo>
                      <a:pt x="146667" y="4905"/>
                    </a:lnTo>
                    <a:lnTo>
                      <a:pt x="150779" y="10985"/>
                    </a:lnTo>
                    <a:lnTo>
                      <a:pt x="151568" y="15334"/>
                    </a:lnTo>
                    <a:lnTo>
                      <a:pt x="152685" y="42702"/>
                    </a:lnTo>
                    <a:lnTo>
                      <a:pt x="154004" y="51267"/>
                    </a:lnTo>
                    <a:lnTo>
                      <a:pt x="158595" y="55537"/>
                    </a:lnTo>
                    <a:lnTo>
                      <a:pt x="157402" y="64310"/>
                    </a:lnTo>
                    <a:lnTo>
                      <a:pt x="150995" y="72556"/>
                    </a:lnTo>
                    <a:lnTo>
                      <a:pt x="145285" y="73204"/>
                    </a:lnTo>
                    <a:lnTo>
                      <a:pt x="136774" y="80599"/>
                    </a:lnTo>
                    <a:lnTo>
                      <a:pt x="129139" y="80744"/>
                    </a:lnTo>
                    <a:lnTo>
                      <a:pt x="123718" y="77331"/>
                    </a:lnTo>
                    <a:lnTo>
                      <a:pt x="120743" y="77820"/>
                    </a:lnTo>
                    <a:lnTo>
                      <a:pt x="120321" y="79308"/>
                    </a:lnTo>
                    <a:lnTo>
                      <a:pt x="122500" y="83929"/>
                    </a:lnTo>
                    <a:lnTo>
                      <a:pt x="121664" y="86807"/>
                    </a:lnTo>
                    <a:lnTo>
                      <a:pt x="116402" y="87970"/>
                    </a:lnTo>
                    <a:lnTo>
                      <a:pt x="105829" y="101091"/>
                    </a:lnTo>
                    <a:lnTo>
                      <a:pt x="97122" y="111844"/>
                    </a:lnTo>
                    <a:lnTo>
                      <a:pt x="96494" y="112625"/>
                    </a:lnTo>
                    <a:lnTo>
                      <a:pt x="90609" y="115171"/>
                    </a:lnTo>
                    <a:lnTo>
                      <a:pt x="82948" y="114652"/>
                    </a:lnTo>
                    <a:lnTo>
                      <a:pt x="76197" y="123576"/>
                    </a:lnTo>
                    <a:lnTo>
                      <a:pt x="69264" y="125162"/>
                    </a:lnTo>
                    <a:lnTo>
                      <a:pt x="67503" y="130914"/>
                    </a:lnTo>
                    <a:lnTo>
                      <a:pt x="69434" y="145004"/>
                    </a:lnTo>
                    <a:lnTo>
                      <a:pt x="66642" y="149124"/>
                    </a:lnTo>
                    <a:lnTo>
                      <a:pt x="56395" y="153468"/>
                    </a:lnTo>
                    <a:lnTo>
                      <a:pt x="54803" y="158705"/>
                    </a:lnTo>
                    <a:lnTo>
                      <a:pt x="50563" y="161844"/>
                    </a:lnTo>
                    <a:lnTo>
                      <a:pt x="43797" y="163002"/>
                    </a:lnTo>
                    <a:lnTo>
                      <a:pt x="35955" y="160224"/>
                    </a:lnTo>
                    <a:lnTo>
                      <a:pt x="32706" y="165794"/>
                    </a:lnTo>
                    <a:lnTo>
                      <a:pt x="25554" y="162389"/>
                    </a:lnTo>
                    <a:lnTo>
                      <a:pt x="21027" y="163490"/>
                    </a:lnTo>
                    <a:lnTo>
                      <a:pt x="18234" y="154618"/>
                    </a:lnTo>
                    <a:lnTo>
                      <a:pt x="10532" y="151311"/>
                    </a:lnTo>
                    <a:lnTo>
                      <a:pt x="11195" y="141429"/>
                    </a:lnTo>
                    <a:lnTo>
                      <a:pt x="11122" y="134951"/>
                    </a:lnTo>
                    <a:lnTo>
                      <a:pt x="5241" y="131777"/>
                    </a:lnTo>
                    <a:lnTo>
                      <a:pt x="0" y="127515"/>
                    </a:lnTo>
                    <a:lnTo>
                      <a:pt x="3070" y="111285"/>
                    </a:lnTo>
                    <a:lnTo>
                      <a:pt x="12076" y="104704"/>
                    </a:lnTo>
                    <a:lnTo>
                      <a:pt x="26895" y="96968"/>
                    </a:lnTo>
                    <a:lnTo>
                      <a:pt x="40403" y="89234"/>
                    </a:lnTo>
                    <a:lnTo>
                      <a:pt x="39643" y="80607"/>
                    </a:lnTo>
                    <a:lnTo>
                      <a:pt x="40852" y="74110"/>
                    </a:lnTo>
                    <a:lnTo>
                      <a:pt x="49294" y="76155"/>
                    </a:lnTo>
                    <a:lnTo>
                      <a:pt x="53041" y="66385"/>
                    </a:lnTo>
                    <a:lnTo>
                      <a:pt x="58077" y="56593"/>
                    </a:lnTo>
                    <a:lnTo>
                      <a:pt x="55354" y="46913"/>
                    </a:lnTo>
                    <a:lnTo>
                      <a:pt x="42950" y="37367"/>
                    </a:lnTo>
                    <a:lnTo>
                      <a:pt x="35008" y="19153"/>
                    </a:lnTo>
                    <a:lnTo>
                      <a:pt x="49026" y="9741"/>
                    </a:lnTo>
                    <a:lnTo>
                      <a:pt x="51872" y="2929"/>
                    </a:lnTo>
                    <a:lnTo>
                      <a:pt x="53056" y="0"/>
                    </a:lnTo>
                    <a:lnTo>
                      <a:pt x="60785" y="2484"/>
                    </a:lnTo>
                    <a:lnTo>
                      <a:pt x="67752" y="6627"/>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83" name="Freeform 281">
                <a:extLst>
                  <a:ext uri="{FF2B5EF4-FFF2-40B4-BE49-F238E27FC236}">
                    <a16:creationId xmlns:a16="http://schemas.microsoft.com/office/drawing/2014/main" id="{C6A6FEE0-A69E-AD62-225A-C3606E41AC36}"/>
                  </a:ext>
                </a:extLst>
              </p:cNvPr>
              <p:cNvSpPr>
                <a:spLocks noChangeAspect="1"/>
              </p:cNvSpPr>
              <p:nvPr>
                <p:custDataLst>
                  <p:tags r:id="rId205"/>
                </p:custDataLst>
              </p:nvPr>
            </p:nvSpPr>
            <p:spPr>
              <a:xfrm>
                <a:off x="4606948" y="4434584"/>
                <a:ext cx="152846" cy="136120"/>
              </a:xfrm>
              <a:custGeom>
                <a:avLst/>
                <a:gdLst/>
                <a:ahLst/>
                <a:cxnLst/>
                <a:rect l="0" t="0" r="0" b="0"/>
                <a:pathLst>
                  <a:path w="156932" h="139759">
                    <a:moveTo>
                      <a:pt x="148148" y="57002"/>
                    </a:moveTo>
                    <a:lnTo>
                      <a:pt x="139706" y="54957"/>
                    </a:lnTo>
                    <a:lnTo>
                      <a:pt x="138497" y="61454"/>
                    </a:lnTo>
                    <a:lnTo>
                      <a:pt x="139257" y="70081"/>
                    </a:lnTo>
                    <a:lnTo>
                      <a:pt x="125749" y="77815"/>
                    </a:lnTo>
                    <a:lnTo>
                      <a:pt x="110930" y="85551"/>
                    </a:lnTo>
                    <a:lnTo>
                      <a:pt x="101924" y="92132"/>
                    </a:lnTo>
                    <a:lnTo>
                      <a:pt x="98854" y="108362"/>
                    </a:lnTo>
                    <a:lnTo>
                      <a:pt x="104095" y="112624"/>
                    </a:lnTo>
                    <a:lnTo>
                      <a:pt x="109976" y="115798"/>
                    </a:lnTo>
                    <a:lnTo>
                      <a:pt x="110049" y="122276"/>
                    </a:lnTo>
                    <a:lnTo>
                      <a:pt x="109386" y="132158"/>
                    </a:lnTo>
                    <a:lnTo>
                      <a:pt x="85319" y="139758"/>
                    </a:lnTo>
                    <a:lnTo>
                      <a:pt x="75851" y="134115"/>
                    </a:lnTo>
                    <a:lnTo>
                      <a:pt x="67201" y="132890"/>
                    </a:lnTo>
                    <a:lnTo>
                      <a:pt x="65525" y="132185"/>
                    </a:lnTo>
                    <a:lnTo>
                      <a:pt x="64387" y="131188"/>
                    </a:lnTo>
                    <a:lnTo>
                      <a:pt x="62647" y="127195"/>
                    </a:lnTo>
                    <a:lnTo>
                      <a:pt x="56895" y="120667"/>
                    </a:lnTo>
                    <a:lnTo>
                      <a:pt x="55826" y="118505"/>
                    </a:lnTo>
                    <a:lnTo>
                      <a:pt x="55300" y="116584"/>
                    </a:lnTo>
                    <a:lnTo>
                      <a:pt x="55365" y="115063"/>
                    </a:lnTo>
                    <a:lnTo>
                      <a:pt x="55241" y="113662"/>
                    </a:lnTo>
                    <a:lnTo>
                      <a:pt x="53680" y="106942"/>
                    </a:lnTo>
                    <a:lnTo>
                      <a:pt x="52057" y="101948"/>
                    </a:lnTo>
                    <a:lnTo>
                      <a:pt x="45891" y="88254"/>
                    </a:lnTo>
                    <a:lnTo>
                      <a:pt x="44669" y="86555"/>
                    </a:lnTo>
                    <a:lnTo>
                      <a:pt x="33384" y="74522"/>
                    </a:lnTo>
                    <a:lnTo>
                      <a:pt x="32180" y="72468"/>
                    </a:lnTo>
                    <a:lnTo>
                      <a:pt x="32147" y="72165"/>
                    </a:lnTo>
                    <a:lnTo>
                      <a:pt x="32041" y="71195"/>
                    </a:lnTo>
                    <a:lnTo>
                      <a:pt x="32359" y="69890"/>
                    </a:lnTo>
                    <a:lnTo>
                      <a:pt x="33134" y="68995"/>
                    </a:lnTo>
                    <a:lnTo>
                      <a:pt x="41599" y="63486"/>
                    </a:lnTo>
                    <a:lnTo>
                      <a:pt x="42218" y="62338"/>
                    </a:lnTo>
                    <a:lnTo>
                      <a:pt x="42460" y="60589"/>
                    </a:lnTo>
                    <a:lnTo>
                      <a:pt x="41951" y="57265"/>
                    </a:lnTo>
                    <a:lnTo>
                      <a:pt x="40923" y="55040"/>
                    </a:lnTo>
                    <a:lnTo>
                      <a:pt x="39894" y="53439"/>
                    </a:lnTo>
                    <a:lnTo>
                      <a:pt x="32254" y="45072"/>
                    </a:lnTo>
                    <a:lnTo>
                      <a:pt x="17493" y="33247"/>
                    </a:lnTo>
                    <a:lnTo>
                      <a:pt x="15379" y="32361"/>
                    </a:lnTo>
                    <a:lnTo>
                      <a:pt x="6751" y="30808"/>
                    </a:lnTo>
                    <a:lnTo>
                      <a:pt x="2657" y="28788"/>
                    </a:lnTo>
                    <a:lnTo>
                      <a:pt x="2626" y="22337"/>
                    </a:lnTo>
                    <a:lnTo>
                      <a:pt x="2" y="17888"/>
                    </a:lnTo>
                    <a:lnTo>
                      <a:pt x="0" y="17885"/>
                    </a:lnTo>
                    <a:lnTo>
                      <a:pt x="6650" y="10847"/>
                    </a:lnTo>
                    <a:lnTo>
                      <a:pt x="16128" y="15356"/>
                    </a:lnTo>
                    <a:lnTo>
                      <a:pt x="27718" y="14121"/>
                    </a:lnTo>
                    <a:lnTo>
                      <a:pt x="34470" y="16842"/>
                    </a:lnTo>
                    <a:lnTo>
                      <a:pt x="36751" y="15434"/>
                    </a:lnTo>
                    <a:lnTo>
                      <a:pt x="38255" y="11938"/>
                    </a:lnTo>
                    <a:lnTo>
                      <a:pt x="38679" y="10918"/>
                    </a:lnTo>
                    <a:lnTo>
                      <a:pt x="38683" y="10906"/>
                    </a:lnTo>
                    <a:lnTo>
                      <a:pt x="42328" y="14121"/>
                    </a:lnTo>
                    <a:lnTo>
                      <a:pt x="48987" y="17102"/>
                    </a:lnTo>
                    <a:lnTo>
                      <a:pt x="56049" y="16766"/>
                    </a:lnTo>
                    <a:lnTo>
                      <a:pt x="56266" y="15971"/>
                    </a:lnTo>
                    <a:lnTo>
                      <a:pt x="56531" y="14306"/>
                    </a:lnTo>
                    <a:lnTo>
                      <a:pt x="57298" y="12558"/>
                    </a:lnTo>
                    <a:lnTo>
                      <a:pt x="58981" y="11518"/>
                    </a:lnTo>
                    <a:lnTo>
                      <a:pt x="61026" y="11640"/>
                    </a:lnTo>
                    <a:lnTo>
                      <a:pt x="64517" y="13399"/>
                    </a:lnTo>
                    <a:lnTo>
                      <a:pt x="66175" y="13835"/>
                    </a:lnTo>
                    <a:lnTo>
                      <a:pt x="69908" y="13475"/>
                    </a:lnTo>
                    <a:lnTo>
                      <a:pt x="73161" y="12512"/>
                    </a:lnTo>
                    <a:lnTo>
                      <a:pt x="82372" y="15667"/>
                    </a:lnTo>
                    <a:lnTo>
                      <a:pt x="91387" y="13417"/>
                    </a:lnTo>
                    <a:lnTo>
                      <a:pt x="106890" y="14327"/>
                    </a:lnTo>
                    <a:lnTo>
                      <a:pt x="120161" y="7260"/>
                    </a:lnTo>
                    <a:lnTo>
                      <a:pt x="123470" y="7220"/>
                    </a:lnTo>
                    <a:lnTo>
                      <a:pt x="128768" y="4380"/>
                    </a:lnTo>
                    <a:lnTo>
                      <a:pt x="133862" y="0"/>
                    </a:lnTo>
                    <a:lnTo>
                      <a:pt x="141804" y="18214"/>
                    </a:lnTo>
                    <a:lnTo>
                      <a:pt x="154208" y="27760"/>
                    </a:lnTo>
                    <a:lnTo>
                      <a:pt x="156931" y="37440"/>
                    </a:lnTo>
                    <a:lnTo>
                      <a:pt x="151895" y="47232"/>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84" name="Freeform 282">
                <a:extLst>
                  <a:ext uri="{FF2B5EF4-FFF2-40B4-BE49-F238E27FC236}">
                    <a16:creationId xmlns:a16="http://schemas.microsoft.com/office/drawing/2014/main" id="{3788654F-61C8-CEF8-0E37-2160B45F4F03}"/>
                  </a:ext>
                </a:extLst>
              </p:cNvPr>
              <p:cNvSpPr>
                <a:spLocks noChangeAspect="1"/>
              </p:cNvSpPr>
              <p:nvPr>
                <p:custDataLst>
                  <p:tags r:id="rId206"/>
                </p:custDataLst>
              </p:nvPr>
            </p:nvSpPr>
            <p:spPr>
              <a:xfrm>
                <a:off x="4670388" y="4413806"/>
                <a:ext cx="53593" cy="36039"/>
              </a:xfrm>
              <a:custGeom>
                <a:avLst/>
                <a:gdLst/>
                <a:ahLst/>
                <a:cxnLst/>
                <a:rect l="0" t="0" r="0" b="0"/>
                <a:pathLst>
                  <a:path w="55026" h="37002">
                    <a:moveTo>
                      <a:pt x="29387" y="3473"/>
                    </a:moveTo>
                    <a:lnTo>
                      <a:pt x="33515" y="11604"/>
                    </a:lnTo>
                    <a:lnTo>
                      <a:pt x="41289" y="17363"/>
                    </a:lnTo>
                    <a:lnTo>
                      <a:pt x="44791" y="17934"/>
                    </a:lnTo>
                    <a:lnTo>
                      <a:pt x="46641" y="18841"/>
                    </a:lnTo>
                    <a:lnTo>
                      <a:pt x="50183" y="23726"/>
                    </a:lnTo>
                    <a:lnTo>
                      <a:pt x="52439" y="27391"/>
                    </a:lnTo>
                    <a:lnTo>
                      <a:pt x="55025" y="28594"/>
                    </a:lnTo>
                    <a:lnTo>
                      <a:pt x="41754" y="35661"/>
                    </a:lnTo>
                    <a:lnTo>
                      <a:pt x="26251" y="34751"/>
                    </a:lnTo>
                    <a:lnTo>
                      <a:pt x="17236" y="37001"/>
                    </a:lnTo>
                    <a:lnTo>
                      <a:pt x="8025" y="33846"/>
                    </a:lnTo>
                    <a:lnTo>
                      <a:pt x="14244" y="30056"/>
                    </a:lnTo>
                    <a:lnTo>
                      <a:pt x="12934" y="25171"/>
                    </a:lnTo>
                    <a:lnTo>
                      <a:pt x="13532" y="21668"/>
                    </a:lnTo>
                    <a:lnTo>
                      <a:pt x="15271" y="19008"/>
                    </a:lnTo>
                    <a:lnTo>
                      <a:pt x="17227" y="16734"/>
                    </a:lnTo>
                    <a:lnTo>
                      <a:pt x="19139" y="17648"/>
                    </a:lnTo>
                    <a:lnTo>
                      <a:pt x="21123" y="17349"/>
                    </a:lnTo>
                    <a:lnTo>
                      <a:pt x="23124" y="16022"/>
                    </a:lnTo>
                    <a:lnTo>
                      <a:pt x="25117" y="13842"/>
                    </a:lnTo>
                    <a:lnTo>
                      <a:pt x="21847" y="13656"/>
                    </a:lnTo>
                    <a:lnTo>
                      <a:pt x="10401" y="16520"/>
                    </a:lnTo>
                    <a:lnTo>
                      <a:pt x="7910" y="18129"/>
                    </a:lnTo>
                    <a:lnTo>
                      <a:pt x="6363" y="23740"/>
                    </a:lnTo>
                    <a:lnTo>
                      <a:pt x="2406" y="25814"/>
                    </a:lnTo>
                    <a:lnTo>
                      <a:pt x="0" y="25570"/>
                    </a:lnTo>
                    <a:lnTo>
                      <a:pt x="405" y="23005"/>
                    </a:lnTo>
                    <a:lnTo>
                      <a:pt x="1510" y="17113"/>
                    </a:lnTo>
                    <a:lnTo>
                      <a:pt x="5278" y="19843"/>
                    </a:lnTo>
                    <a:lnTo>
                      <a:pt x="6718" y="17882"/>
                    </a:lnTo>
                    <a:lnTo>
                      <a:pt x="8674" y="15112"/>
                    </a:lnTo>
                    <a:lnTo>
                      <a:pt x="7989" y="10676"/>
                    </a:lnTo>
                    <a:lnTo>
                      <a:pt x="8544" y="8972"/>
                    </a:lnTo>
                    <a:lnTo>
                      <a:pt x="12493" y="3918"/>
                    </a:lnTo>
                    <a:lnTo>
                      <a:pt x="15553" y="0"/>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85" name="Freeform 283">
                <a:extLst>
                  <a:ext uri="{FF2B5EF4-FFF2-40B4-BE49-F238E27FC236}">
                    <a16:creationId xmlns:a16="http://schemas.microsoft.com/office/drawing/2014/main" id="{572FD86A-7035-84FF-8C69-C31E3934AEEB}"/>
                  </a:ext>
                </a:extLst>
              </p:cNvPr>
              <p:cNvSpPr>
                <a:spLocks noChangeAspect="1"/>
              </p:cNvSpPr>
              <p:nvPr>
                <p:custDataLst>
                  <p:tags r:id="rId207"/>
                </p:custDataLst>
              </p:nvPr>
            </p:nvSpPr>
            <p:spPr>
              <a:xfrm>
                <a:off x="3833266" y="5673817"/>
                <a:ext cx="14907" cy="20839"/>
              </a:xfrm>
              <a:custGeom>
                <a:avLst/>
                <a:gdLst/>
                <a:ahLst/>
                <a:cxnLst/>
                <a:rect l="l" t="t" r="r" b="b"/>
                <a:pathLst>
                  <a:path w="15305" h="21396">
                    <a:moveTo>
                      <a:pt x="11891" y="11508"/>
                    </a:moveTo>
                    <a:lnTo>
                      <a:pt x="13461" y="12878"/>
                    </a:lnTo>
                    <a:lnTo>
                      <a:pt x="15305" y="16513"/>
                    </a:lnTo>
                    <a:lnTo>
                      <a:pt x="14354" y="19816"/>
                    </a:lnTo>
                    <a:lnTo>
                      <a:pt x="11885" y="21396"/>
                    </a:lnTo>
                    <a:lnTo>
                      <a:pt x="9021" y="19740"/>
                    </a:lnTo>
                    <a:lnTo>
                      <a:pt x="9649" y="14495"/>
                    </a:lnTo>
                    <a:close/>
                    <a:moveTo>
                      <a:pt x="0" y="0"/>
                    </a:moveTo>
                    <a:lnTo>
                      <a:pt x="1749" y="352"/>
                    </a:lnTo>
                    <a:lnTo>
                      <a:pt x="2929" y="1426"/>
                    </a:lnTo>
                    <a:lnTo>
                      <a:pt x="3690" y="1924"/>
                    </a:lnTo>
                    <a:lnTo>
                      <a:pt x="5024" y="3160"/>
                    </a:lnTo>
                    <a:lnTo>
                      <a:pt x="5293" y="6001"/>
                    </a:lnTo>
                    <a:lnTo>
                      <a:pt x="3698" y="8796"/>
                    </a:lnTo>
                    <a:lnTo>
                      <a:pt x="1603" y="7544"/>
                    </a:lnTo>
                    <a:lnTo>
                      <a:pt x="96" y="3113"/>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86" name="Freeform 285">
                <a:extLst>
                  <a:ext uri="{FF2B5EF4-FFF2-40B4-BE49-F238E27FC236}">
                    <a16:creationId xmlns:a16="http://schemas.microsoft.com/office/drawing/2014/main" id="{01E986B6-D9F4-DD73-AB90-DAACA439AEF5}"/>
                  </a:ext>
                </a:extLst>
              </p:cNvPr>
              <p:cNvSpPr>
                <a:spLocks noChangeAspect="1"/>
              </p:cNvSpPr>
              <p:nvPr>
                <p:custDataLst>
                  <p:tags r:id="rId208"/>
                </p:custDataLst>
              </p:nvPr>
            </p:nvSpPr>
            <p:spPr>
              <a:xfrm>
                <a:off x="4235564" y="4029577"/>
                <a:ext cx="105491" cy="133925"/>
              </a:xfrm>
              <a:custGeom>
                <a:avLst/>
                <a:gdLst/>
                <a:ahLst/>
                <a:cxnLst/>
                <a:rect l="0" t="0" r="0" b="0"/>
                <a:pathLst>
                  <a:path w="108311" h="137505">
                    <a:moveTo>
                      <a:pt x="44842" y="124557"/>
                    </a:moveTo>
                    <a:lnTo>
                      <a:pt x="43001" y="127263"/>
                    </a:lnTo>
                    <a:lnTo>
                      <a:pt x="39873" y="137504"/>
                    </a:lnTo>
                    <a:lnTo>
                      <a:pt x="38020" y="132621"/>
                    </a:lnTo>
                    <a:lnTo>
                      <a:pt x="35673" y="132207"/>
                    </a:lnTo>
                    <a:lnTo>
                      <a:pt x="32964" y="133700"/>
                    </a:lnTo>
                    <a:lnTo>
                      <a:pt x="29990" y="134721"/>
                    </a:lnTo>
                    <a:lnTo>
                      <a:pt x="26736" y="133420"/>
                    </a:lnTo>
                    <a:lnTo>
                      <a:pt x="22648" y="127811"/>
                    </a:lnTo>
                    <a:lnTo>
                      <a:pt x="19351" y="126476"/>
                    </a:lnTo>
                    <a:lnTo>
                      <a:pt x="14495" y="128626"/>
                    </a:lnTo>
                    <a:lnTo>
                      <a:pt x="10016" y="132990"/>
                    </a:lnTo>
                    <a:lnTo>
                      <a:pt x="5332" y="136011"/>
                    </a:lnTo>
                    <a:lnTo>
                      <a:pt x="0" y="134166"/>
                    </a:lnTo>
                    <a:lnTo>
                      <a:pt x="55" y="131321"/>
                    </a:lnTo>
                    <a:lnTo>
                      <a:pt x="1264" y="130644"/>
                    </a:lnTo>
                    <a:lnTo>
                      <a:pt x="2061" y="130007"/>
                    </a:lnTo>
                    <a:lnTo>
                      <a:pt x="3020" y="129465"/>
                    </a:lnTo>
                    <a:lnTo>
                      <a:pt x="4689" y="129031"/>
                    </a:lnTo>
                    <a:lnTo>
                      <a:pt x="4565" y="121627"/>
                    </a:lnTo>
                    <a:lnTo>
                      <a:pt x="12313" y="111043"/>
                    </a:lnTo>
                    <a:lnTo>
                      <a:pt x="14461" y="104335"/>
                    </a:lnTo>
                    <a:lnTo>
                      <a:pt x="14782" y="92864"/>
                    </a:lnTo>
                    <a:lnTo>
                      <a:pt x="15737" y="87967"/>
                    </a:lnTo>
                    <a:lnTo>
                      <a:pt x="17924" y="82316"/>
                    </a:lnTo>
                    <a:lnTo>
                      <a:pt x="18746" y="78676"/>
                    </a:lnTo>
                    <a:lnTo>
                      <a:pt x="18529" y="76106"/>
                    </a:lnTo>
                    <a:lnTo>
                      <a:pt x="19003" y="74575"/>
                    </a:lnTo>
                    <a:lnTo>
                      <a:pt x="23968" y="73469"/>
                    </a:lnTo>
                    <a:lnTo>
                      <a:pt x="29433" y="69834"/>
                    </a:lnTo>
                    <a:lnTo>
                      <a:pt x="34208" y="63853"/>
                    </a:lnTo>
                    <a:lnTo>
                      <a:pt x="41142" y="57845"/>
                    </a:lnTo>
                    <a:lnTo>
                      <a:pt x="44354" y="53639"/>
                    </a:lnTo>
                    <a:lnTo>
                      <a:pt x="54505" y="29888"/>
                    </a:lnTo>
                    <a:lnTo>
                      <a:pt x="59924" y="19680"/>
                    </a:lnTo>
                    <a:lnTo>
                      <a:pt x="67973" y="12248"/>
                    </a:lnTo>
                    <a:lnTo>
                      <a:pt x="79944" y="5366"/>
                    </a:lnTo>
                    <a:lnTo>
                      <a:pt x="88324" y="3465"/>
                    </a:lnTo>
                    <a:lnTo>
                      <a:pt x="92518" y="1205"/>
                    </a:lnTo>
                    <a:lnTo>
                      <a:pt x="96525" y="0"/>
                    </a:lnTo>
                    <a:lnTo>
                      <a:pt x="100162" y="2040"/>
                    </a:lnTo>
                    <a:lnTo>
                      <a:pt x="98805" y="7526"/>
                    </a:lnTo>
                    <a:lnTo>
                      <a:pt x="94058" y="21799"/>
                    </a:lnTo>
                    <a:lnTo>
                      <a:pt x="94423" y="26982"/>
                    </a:lnTo>
                    <a:lnTo>
                      <a:pt x="95581" y="29843"/>
                    </a:lnTo>
                    <a:lnTo>
                      <a:pt x="96937" y="36205"/>
                    </a:lnTo>
                    <a:lnTo>
                      <a:pt x="98136" y="38773"/>
                    </a:lnTo>
                    <a:lnTo>
                      <a:pt x="99845" y="39883"/>
                    </a:lnTo>
                    <a:lnTo>
                      <a:pt x="103920" y="40449"/>
                    </a:lnTo>
                    <a:lnTo>
                      <a:pt x="105573" y="41700"/>
                    </a:lnTo>
                    <a:lnTo>
                      <a:pt x="106725" y="43860"/>
                    </a:lnTo>
                    <a:lnTo>
                      <a:pt x="108060" y="47313"/>
                    </a:lnTo>
                    <a:lnTo>
                      <a:pt x="108310" y="50535"/>
                    </a:lnTo>
                    <a:lnTo>
                      <a:pt x="106277" y="51909"/>
                    </a:lnTo>
                    <a:lnTo>
                      <a:pt x="104973" y="53105"/>
                    </a:lnTo>
                    <a:lnTo>
                      <a:pt x="101746" y="59687"/>
                    </a:lnTo>
                    <a:lnTo>
                      <a:pt x="100067" y="61003"/>
                    </a:lnTo>
                    <a:lnTo>
                      <a:pt x="98665" y="64031"/>
                    </a:lnTo>
                    <a:lnTo>
                      <a:pt x="97409" y="67560"/>
                    </a:lnTo>
                    <a:lnTo>
                      <a:pt x="96064" y="70294"/>
                    </a:lnTo>
                    <a:lnTo>
                      <a:pt x="94664" y="71721"/>
                    </a:lnTo>
                    <a:lnTo>
                      <a:pt x="88508" y="75152"/>
                    </a:lnTo>
                    <a:lnTo>
                      <a:pt x="90238" y="85625"/>
                    </a:lnTo>
                    <a:lnTo>
                      <a:pt x="85284" y="91154"/>
                    </a:lnTo>
                    <a:lnTo>
                      <a:pt x="77553" y="95226"/>
                    </a:lnTo>
                    <a:lnTo>
                      <a:pt x="71064" y="101241"/>
                    </a:lnTo>
                    <a:lnTo>
                      <a:pt x="71194" y="105955"/>
                    </a:lnTo>
                    <a:lnTo>
                      <a:pt x="58824" y="114068"/>
                    </a:lnTo>
                    <a:lnTo>
                      <a:pt x="55516" y="118074"/>
                    </a:lnTo>
                    <a:lnTo>
                      <a:pt x="54119" y="121038"/>
                    </a:lnTo>
                    <a:lnTo>
                      <a:pt x="50951" y="122449"/>
                    </a:lnTo>
                    <a:lnTo>
                      <a:pt x="47407" y="123308"/>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87" name="Freeform 286">
                <a:extLst>
                  <a:ext uri="{FF2B5EF4-FFF2-40B4-BE49-F238E27FC236}">
                    <a16:creationId xmlns:a16="http://schemas.microsoft.com/office/drawing/2014/main" id="{F669C940-D22D-8A83-775D-908C1D530279}"/>
                  </a:ext>
                </a:extLst>
              </p:cNvPr>
              <p:cNvSpPr>
                <a:spLocks noChangeAspect="1"/>
              </p:cNvSpPr>
              <p:nvPr>
                <p:custDataLst>
                  <p:tags r:id="rId209"/>
                </p:custDataLst>
              </p:nvPr>
            </p:nvSpPr>
            <p:spPr>
              <a:xfrm>
                <a:off x="4821481" y="5944698"/>
                <a:ext cx="57098" cy="34987"/>
              </a:xfrm>
              <a:custGeom>
                <a:avLst/>
                <a:gdLst/>
                <a:ahLst/>
                <a:cxnLst/>
                <a:rect l="0" t="0" r="0" b="0"/>
                <a:pathLst>
                  <a:path w="58624" h="35922">
                    <a:moveTo>
                      <a:pt x="39705" y="2277"/>
                    </a:moveTo>
                    <a:lnTo>
                      <a:pt x="43469" y="5855"/>
                    </a:lnTo>
                    <a:lnTo>
                      <a:pt x="55367" y="11511"/>
                    </a:lnTo>
                    <a:lnTo>
                      <a:pt x="55112" y="15244"/>
                    </a:lnTo>
                    <a:lnTo>
                      <a:pt x="56301" y="16789"/>
                    </a:lnTo>
                    <a:lnTo>
                      <a:pt x="57708" y="19090"/>
                    </a:lnTo>
                    <a:lnTo>
                      <a:pt x="58623" y="20144"/>
                    </a:lnTo>
                    <a:lnTo>
                      <a:pt x="56485" y="22190"/>
                    </a:lnTo>
                    <a:lnTo>
                      <a:pt x="55536" y="24678"/>
                    </a:lnTo>
                    <a:lnTo>
                      <a:pt x="55331" y="27851"/>
                    </a:lnTo>
                    <a:lnTo>
                      <a:pt x="55432" y="32075"/>
                    </a:lnTo>
                    <a:lnTo>
                      <a:pt x="54864" y="35921"/>
                    </a:lnTo>
                    <a:lnTo>
                      <a:pt x="53204" y="35907"/>
                    </a:lnTo>
                    <a:lnTo>
                      <a:pt x="50955" y="34320"/>
                    </a:lnTo>
                    <a:lnTo>
                      <a:pt x="48637" y="33386"/>
                    </a:lnTo>
                    <a:lnTo>
                      <a:pt x="40942" y="33379"/>
                    </a:lnTo>
                    <a:lnTo>
                      <a:pt x="36654" y="31564"/>
                    </a:lnTo>
                    <a:lnTo>
                      <a:pt x="30740" y="25756"/>
                    </a:lnTo>
                    <a:lnTo>
                      <a:pt x="28548" y="24305"/>
                    </a:lnTo>
                    <a:lnTo>
                      <a:pt x="26273" y="23368"/>
                    </a:lnTo>
                    <a:lnTo>
                      <a:pt x="24544" y="23399"/>
                    </a:lnTo>
                    <a:lnTo>
                      <a:pt x="22558" y="25610"/>
                    </a:lnTo>
                    <a:lnTo>
                      <a:pt x="20696" y="29152"/>
                    </a:lnTo>
                    <a:lnTo>
                      <a:pt x="18762" y="33939"/>
                    </a:lnTo>
                    <a:lnTo>
                      <a:pt x="16633" y="33263"/>
                    </a:lnTo>
                    <a:lnTo>
                      <a:pt x="13442" y="29901"/>
                    </a:lnTo>
                    <a:lnTo>
                      <a:pt x="10820" y="28859"/>
                    </a:lnTo>
                    <a:lnTo>
                      <a:pt x="10118" y="29462"/>
                    </a:lnTo>
                    <a:lnTo>
                      <a:pt x="5046" y="31722"/>
                    </a:lnTo>
                    <a:lnTo>
                      <a:pt x="2484" y="31842"/>
                    </a:lnTo>
                    <a:lnTo>
                      <a:pt x="4141" y="23614"/>
                    </a:lnTo>
                    <a:lnTo>
                      <a:pt x="2314" y="15057"/>
                    </a:lnTo>
                    <a:lnTo>
                      <a:pt x="0" y="7671"/>
                    </a:lnTo>
                    <a:lnTo>
                      <a:pt x="148" y="2979"/>
                    </a:lnTo>
                    <a:lnTo>
                      <a:pt x="3067" y="1873"/>
                    </a:lnTo>
                    <a:lnTo>
                      <a:pt x="6619" y="2870"/>
                    </a:lnTo>
                    <a:lnTo>
                      <a:pt x="11386" y="5398"/>
                    </a:lnTo>
                    <a:lnTo>
                      <a:pt x="14765" y="5090"/>
                    </a:lnTo>
                    <a:lnTo>
                      <a:pt x="17342" y="4206"/>
                    </a:lnTo>
                    <a:lnTo>
                      <a:pt x="19722" y="2580"/>
                    </a:lnTo>
                    <a:lnTo>
                      <a:pt x="22432" y="0"/>
                    </a:lnTo>
                    <a:lnTo>
                      <a:pt x="24436" y="1937"/>
                    </a:lnTo>
                    <a:lnTo>
                      <a:pt x="29905" y="3205"/>
                    </a:lnTo>
                    <a:lnTo>
                      <a:pt x="32762" y="5016"/>
                    </a:lnTo>
                    <a:lnTo>
                      <a:pt x="34426" y="3152"/>
                    </a:lnTo>
                    <a:lnTo>
                      <a:pt x="35990" y="256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sp>
            <p:nvSpPr>
              <p:cNvPr id="588" name="Freeform 288">
                <a:extLst>
                  <a:ext uri="{FF2B5EF4-FFF2-40B4-BE49-F238E27FC236}">
                    <a16:creationId xmlns:a16="http://schemas.microsoft.com/office/drawing/2014/main" id="{805D9DA5-C584-78DD-D548-363EC997F439}"/>
                  </a:ext>
                </a:extLst>
              </p:cNvPr>
              <p:cNvSpPr>
                <a:spLocks noChangeAspect="1"/>
              </p:cNvSpPr>
              <p:nvPr>
                <p:custDataLst>
                  <p:tags r:id="rId210"/>
                </p:custDataLst>
              </p:nvPr>
            </p:nvSpPr>
            <p:spPr>
              <a:xfrm>
                <a:off x="4715840" y="5772199"/>
                <a:ext cx="120070" cy="119659"/>
              </a:xfrm>
              <a:custGeom>
                <a:avLst/>
                <a:gdLst/>
                <a:ahLst/>
                <a:cxnLst/>
                <a:rect l="l" t="t" r="r" b="b"/>
                <a:pathLst>
                  <a:path w="123280" h="122858">
                    <a:moveTo>
                      <a:pt x="76970" y="109359"/>
                    </a:moveTo>
                    <a:lnTo>
                      <a:pt x="78848" y="111801"/>
                    </a:lnTo>
                    <a:lnTo>
                      <a:pt x="79404" y="116592"/>
                    </a:lnTo>
                    <a:lnTo>
                      <a:pt x="76907" y="120419"/>
                    </a:lnTo>
                    <a:lnTo>
                      <a:pt x="74734" y="122858"/>
                    </a:lnTo>
                    <a:lnTo>
                      <a:pt x="73593" y="122426"/>
                    </a:lnTo>
                    <a:lnTo>
                      <a:pt x="74368" y="119961"/>
                    </a:lnTo>
                    <a:lnTo>
                      <a:pt x="74766" y="118012"/>
                    </a:lnTo>
                    <a:lnTo>
                      <a:pt x="74044" y="115678"/>
                    </a:lnTo>
                    <a:lnTo>
                      <a:pt x="74118" y="113751"/>
                    </a:lnTo>
                    <a:lnTo>
                      <a:pt x="74812" y="112746"/>
                    </a:lnTo>
                    <a:lnTo>
                      <a:pt x="75479" y="111199"/>
                    </a:lnTo>
                    <a:lnTo>
                      <a:pt x="76389" y="109787"/>
                    </a:lnTo>
                    <a:close/>
                    <a:moveTo>
                      <a:pt x="55876" y="95496"/>
                    </a:moveTo>
                    <a:lnTo>
                      <a:pt x="56570" y="99060"/>
                    </a:lnTo>
                    <a:lnTo>
                      <a:pt x="54610" y="103839"/>
                    </a:lnTo>
                    <a:lnTo>
                      <a:pt x="54307" y="102321"/>
                    </a:lnTo>
                    <a:lnTo>
                      <a:pt x="54120" y="98922"/>
                    </a:lnTo>
                    <a:lnTo>
                      <a:pt x="54430" y="96308"/>
                    </a:lnTo>
                    <a:close/>
                    <a:moveTo>
                      <a:pt x="38233" y="83677"/>
                    </a:moveTo>
                    <a:lnTo>
                      <a:pt x="42379" y="87009"/>
                    </a:lnTo>
                    <a:lnTo>
                      <a:pt x="41409" y="90331"/>
                    </a:lnTo>
                    <a:lnTo>
                      <a:pt x="37430" y="97263"/>
                    </a:lnTo>
                    <a:lnTo>
                      <a:pt x="36387" y="105477"/>
                    </a:lnTo>
                    <a:lnTo>
                      <a:pt x="34911" y="111460"/>
                    </a:lnTo>
                    <a:lnTo>
                      <a:pt x="34970" y="112964"/>
                    </a:lnTo>
                    <a:lnTo>
                      <a:pt x="34658" y="113993"/>
                    </a:lnTo>
                    <a:lnTo>
                      <a:pt x="32719" y="116053"/>
                    </a:lnTo>
                    <a:lnTo>
                      <a:pt x="30227" y="117683"/>
                    </a:lnTo>
                    <a:lnTo>
                      <a:pt x="28575" y="117517"/>
                    </a:lnTo>
                    <a:lnTo>
                      <a:pt x="27036" y="116650"/>
                    </a:lnTo>
                    <a:lnTo>
                      <a:pt x="24975" y="116148"/>
                    </a:lnTo>
                    <a:lnTo>
                      <a:pt x="1033" y="116418"/>
                    </a:lnTo>
                    <a:lnTo>
                      <a:pt x="0" y="115434"/>
                    </a:lnTo>
                    <a:lnTo>
                      <a:pt x="648" y="113408"/>
                    </a:lnTo>
                    <a:lnTo>
                      <a:pt x="2571" y="111477"/>
                    </a:lnTo>
                    <a:lnTo>
                      <a:pt x="5328" y="110905"/>
                    </a:lnTo>
                    <a:lnTo>
                      <a:pt x="4098" y="105497"/>
                    </a:lnTo>
                    <a:lnTo>
                      <a:pt x="5649" y="103849"/>
                    </a:lnTo>
                    <a:lnTo>
                      <a:pt x="8714" y="103755"/>
                    </a:lnTo>
                    <a:lnTo>
                      <a:pt x="12014" y="103003"/>
                    </a:lnTo>
                    <a:lnTo>
                      <a:pt x="22929" y="92237"/>
                    </a:lnTo>
                    <a:lnTo>
                      <a:pt x="28039" y="89986"/>
                    </a:lnTo>
                    <a:lnTo>
                      <a:pt x="33298" y="85913"/>
                    </a:lnTo>
                    <a:close/>
                    <a:moveTo>
                      <a:pt x="122200" y="0"/>
                    </a:moveTo>
                    <a:lnTo>
                      <a:pt x="123244" y="992"/>
                    </a:lnTo>
                    <a:lnTo>
                      <a:pt x="123280" y="3103"/>
                    </a:lnTo>
                    <a:lnTo>
                      <a:pt x="119014" y="7978"/>
                    </a:lnTo>
                    <a:lnTo>
                      <a:pt x="115845" y="9913"/>
                    </a:lnTo>
                    <a:lnTo>
                      <a:pt x="111897" y="11006"/>
                    </a:lnTo>
                    <a:lnTo>
                      <a:pt x="109552" y="9212"/>
                    </a:lnTo>
                    <a:lnTo>
                      <a:pt x="111396" y="5033"/>
                    </a:lnTo>
                    <a:lnTo>
                      <a:pt x="114772" y="2910"/>
                    </a:lnTo>
                    <a:lnTo>
                      <a:pt x="117213" y="2603"/>
                    </a:lnTo>
                    <a:lnTo>
                      <a:pt x="121177" y="204"/>
                    </a:lnTo>
                    <a:close/>
                  </a:path>
                </a:pathLst>
              </a:custGeom>
              <a:grpFill/>
              <a:ln w="3175" cap="rnd" cmpd="sng" algn="ctr">
                <a:solidFill>
                  <a:srgbClr val="FFFFFF">
                    <a:lumMod val="85000"/>
                  </a:srgbClr>
                </a:solidFill>
                <a:prstDash val="solid"/>
                <a:miter lim="800000"/>
              </a:ln>
              <a:effectLst/>
            </p:spPr>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p>
                <a:pPr algn="ctr" defTabSz="742950" fontAlgn="auto">
                  <a:spcBef>
                    <a:spcPts val="0"/>
                  </a:spcBef>
                  <a:spcAft>
                    <a:spcPts val="0"/>
                  </a:spcAft>
                  <a:defRPr/>
                </a:pPr>
                <a:endParaRPr lang="en-US" sz="1300" kern="0" dirty="0">
                  <a:solidFill>
                    <a:srgbClr val="000000"/>
                  </a:solidFill>
                  <a:latin typeface="Arial"/>
                  <a:ea typeface="+mn-ea"/>
                  <a:cs typeface="Arial" panose="020B0604020202020204" pitchFamily="34" charset="0"/>
                </a:endParaRPr>
              </a:p>
            </p:txBody>
          </p:sp>
        </p:grpSp>
      </p:grpSp>
      <p:pic>
        <p:nvPicPr>
          <p:cNvPr id="657" name="Picture 33">
            <a:extLst>
              <a:ext uri="{FF2B5EF4-FFF2-40B4-BE49-F238E27FC236}">
                <a16:creationId xmlns:a16="http://schemas.microsoft.com/office/drawing/2014/main" id="{3C2D6EE0-D3A7-D9A1-8A0A-B7420A01F364}"/>
              </a:ext>
            </a:extLst>
          </p:cNvPr>
          <p:cNvPicPr>
            <a:picLocks noChangeAspect="1"/>
          </p:cNvPicPr>
          <p:nvPr userDrawn="1"/>
        </p:nvPicPr>
        <p:blipFill>
          <a:blip r:embed="rId323"/>
          <a:stretch>
            <a:fillRect/>
          </a:stretch>
        </p:blipFill>
        <p:spPr>
          <a:xfrm>
            <a:off x="5792334" y="3889185"/>
            <a:ext cx="1057174" cy="1194416"/>
          </a:xfrm>
          <a:prstGeom prst="rect">
            <a:avLst/>
          </a:prstGeom>
        </p:spPr>
      </p:pic>
      <p:sp>
        <p:nvSpPr>
          <p:cNvPr id="658" name="Textfeld 657">
            <a:extLst>
              <a:ext uri="{FF2B5EF4-FFF2-40B4-BE49-F238E27FC236}">
                <a16:creationId xmlns:a16="http://schemas.microsoft.com/office/drawing/2014/main" id="{DD190B11-572E-3B2B-E300-0E827DE96C35}"/>
              </a:ext>
            </a:extLst>
          </p:cNvPr>
          <p:cNvSpPr txBox="1"/>
          <p:nvPr userDrawn="1"/>
        </p:nvSpPr>
        <p:spPr>
          <a:xfrm>
            <a:off x="2761643" y="5183240"/>
            <a:ext cx="914400" cy="307777"/>
          </a:xfrm>
          <a:prstGeom prst="rect">
            <a:avLst/>
          </a:prstGeom>
          <a:noFill/>
        </p:spPr>
        <p:txBody>
          <a:bodyPr wrap="square" rtlCol="0">
            <a:spAutoFit/>
          </a:bodyPr>
          <a:lstStyle/>
          <a:p>
            <a:pPr algn="l"/>
            <a:r>
              <a:rPr lang="en-US" sz="1400" dirty="0">
                <a:solidFill>
                  <a:schemeClr val="tx2"/>
                </a:solidFill>
                <a:latin typeface="Arial" panose="020B0604020202020204" pitchFamily="34" charset="0"/>
                <a:cs typeface="Arial" panose="020B0604020202020204" pitchFamily="34" charset="0"/>
              </a:rPr>
              <a:t>IGCC</a:t>
            </a:r>
          </a:p>
        </p:txBody>
      </p:sp>
      <p:sp>
        <p:nvSpPr>
          <p:cNvPr id="659" name="Textfeld 658">
            <a:extLst>
              <a:ext uri="{FF2B5EF4-FFF2-40B4-BE49-F238E27FC236}">
                <a16:creationId xmlns:a16="http://schemas.microsoft.com/office/drawing/2014/main" id="{40EFE53D-B81E-C703-1124-592542F1F59C}"/>
              </a:ext>
            </a:extLst>
          </p:cNvPr>
          <p:cNvSpPr txBox="1"/>
          <p:nvPr userDrawn="1"/>
        </p:nvSpPr>
        <p:spPr>
          <a:xfrm>
            <a:off x="4243516" y="5194917"/>
            <a:ext cx="914400" cy="307777"/>
          </a:xfrm>
          <a:prstGeom prst="rect">
            <a:avLst/>
          </a:prstGeom>
          <a:noFill/>
        </p:spPr>
        <p:txBody>
          <a:bodyPr wrap="square" rtlCol="0">
            <a:spAutoFit/>
          </a:bodyPr>
          <a:lstStyle/>
          <a:p>
            <a:pPr algn="l"/>
            <a:r>
              <a:rPr lang="en-US" sz="1400" dirty="0">
                <a:solidFill>
                  <a:schemeClr val="tx2"/>
                </a:solidFill>
                <a:latin typeface="Arial" panose="020B0604020202020204" pitchFamily="34" charset="0"/>
                <a:cs typeface="Arial" panose="020B0604020202020204" pitchFamily="34" charset="0"/>
              </a:rPr>
              <a:t>MARI</a:t>
            </a:r>
          </a:p>
        </p:txBody>
      </p:sp>
      <p:sp>
        <p:nvSpPr>
          <p:cNvPr id="660" name="Textfeld 659">
            <a:extLst>
              <a:ext uri="{FF2B5EF4-FFF2-40B4-BE49-F238E27FC236}">
                <a16:creationId xmlns:a16="http://schemas.microsoft.com/office/drawing/2014/main" id="{FF0C9D46-E7D8-37E2-F3E3-0C20FC4A7496}"/>
              </a:ext>
            </a:extLst>
          </p:cNvPr>
          <p:cNvSpPr txBox="1"/>
          <p:nvPr userDrawn="1"/>
        </p:nvSpPr>
        <p:spPr>
          <a:xfrm>
            <a:off x="5937237" y="5194916"/>
            <a:ext cx="1057174" cy="307777"/>
          </a:xfrm>
          <a:prstGeom prst="rect">
            <a:avLst/>
          </a:prstGeom>
          <a:noFill/>
        </p:spPr>
        <p:txBody>
          <a:bodyPr wrap="square" rtlCol="0">
            <a:spAutoFit/>
          </a:bodyPr>
          <a:lstStyle/>
          <a:p>
            <a:pPr algn="l"/>
            <a:r>
              <a:rPr lang="en-US" sz="1400" dirty="0">
                <a:solidFill>
                  <a:schemeClr val="tx2"/>
                </a:solidFill>
                <a:latin typeface="Arial" panose="020B0604020202020204" pitchFamily="34" charset="0"/>
                <a:cs typeface="Arial" panose="020B0604020202020204" pitchFamily="34" charset="0"/>
              </a:rPr>
              <a:t>PICASSO</a:t>
            </a:r>
          </a:p>
        </p:txBody>
      </p:sp>
      <p:sp>
        <p:nvSpPr>
          <p:cNvPr id="661" name="Textfeld 660">
            <a:extLst>
              <a:ext uri="{FF2B5EF4-FFF2-40B4-BE49-F238E27FC236}">
                <a16:creationId xmlns:a16="http://schemas.microsoft.com/office/drawing/2014/main" id="{BE857E98-4397-2E6C-B759-F5E19C8CA47C}"/>
              </a:ext>
            </a:extLst>
          </p:cNvPr>
          <p:cNvSpPr txBox="1"/>
          <p:nvPr userDrawn="1"/>
        </p:nvSpPr>
        <p:spPr>
          <a:xfrm>
            <a:off x="7469326" y="5194915"/>
            <a:ext cx="1057174" cy="307777"/>
          </a:xfrm>
          <a:prstGeom prst="rect">
            <a:avLst/>
          </a:prstGeom>
          <a:noFill/>
        </p:spPr>
        <p:txBody>
          <a:bodyPr wrap="square" rtlCol="0">
            <a:spAutoFit/>
          </a:bodyPr>
          <a:lstStyle/>
          <a:p>
            <a:pPr algn="l"/>
            <a:r>
              <a:rPr lang="en-US" sz="1400" dirty="0">
                <a:solidFill>
                  <a:schemeClr val="tx2"/>
                </a:solidFill>
                <a:latin typeface="Arial" panose="020B0604020202020204" pitchFamily="34" charset="0"/>
                <a:cs typeface="Arial" panose="020B0604020202020204" pitchFamily="34" charset="0"/>
              </a:rPr>
              <a:t>TERRE</a:t>
            </a:r>
          </a:p>
        </p:txBody>
      </p:sp>
    </p:spTree>
    <p:extLst>
      <p:ext uri="{BB962C8B-B14F-4D97-AF65-F5344CB8AC3E}">
        <p14:creationId xmlns:p14="http://schemas.microsoft.com/office/powerpoint/2010/main" val="29709703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dirty="0"/>
          </a:p>
        </p:txBody>
      </p:sp>
      <p:sp>
        <p:nvSpPr>
          <p:cNvPr id="22" name="Text Placeholder 15"/>
          <p:cNvSpPr>
            <a:spLocks noGrp="1"/>
          </p:cNvSpPr>
          <p:nvPr>
            <p:ph type="body" sz="quarter" idx="12" hasCustomPrompt="1"/>
          </p:nvPr>
        </p:nvSpPr>
        <p:spPr>
          <a:xfrm>
            <a:off x="1927517" y="1792800"/>
            <a:ext cx="7395317" cy="792162"/>
          </a:xfrm>
          <a:prstGeom prst="rect">
            <a:avLst/>
          </a:prstGeom>
        </p:spPr>
        <p:txBody>
          <a:bodyPr vert="horz" wrap="square" lIns="72000" tIns="36000" rIns="72000" bIns="36000" rtlCol="0" anchor="ctr" anchorCtr="0">
            <a:noAutofit/>
          </a:bodyPr>
          <a:lstStyle>
            <a:lvl1pPr>
              <a:defRPr lang="en-US" sz="3000" b="0" i="0" baseline="0" dirty="0">
                <a:solidFill>
                  <a:srgbClr val="AB5905"/>
                </a:solidFill>
              </a:defRPr>
            </a:lvl1pPr>
          </a:lstStyle>
          <a:p>
            <a:pPr lvl="0"/>
            <a:r>
              <a:rPr lang="en-US"/>
              <a:t>Appendix</a:t>
            </a:r>
          </a:p>
        </p:txBody>
      </p:sp>
      <p:pic>
        <p:nvPicPr>
          <p:cNvPr id="2" name="Picture 1">
            <a:extLst>
              <a:ext uri="{FF2B5EF4-FFF2-40B4-BE49-F238E27FC236}">
                <a16:creationId xmlns:a16="http://schemas.microsoft.com/office/drawing/2014/main" id="{CEF3EB35-9B7F-3275-A19C-9195E8FC6E90}"/>
              </a:ext>
            </a:extLst>
          </p:cNvPr>
          <p:cNvPicPr>
            <a:picLocks noChangeAspect="1"/>
          </p:cNvPicPr>
          <p:nvPr userDrawn="1"/>
        </p:nvPicPr>
        <p:blipFill>
          <a:blip r:embed="rId2"/>
          <a:stretch>
            <a:fillRect/>
          </a:stretch>
        </p:blipFill>
        <p:spPr>
          <a:xfrm>
            <a:off x="1076648" y="3319766"/>
            <a:ext cx="422354" cy="145421"/>
          </a:xfrm>
          <a:prstGeom prst="rect">
            <a:avLst/>
          </a:prstGeom>
        </p:spPr>
      </p:pic>
      <p:pic>
        <p:nvPicPr>
          <p:cNvPr id="3" name="Picture 2">
            <a:extLst>
              <a:ext uri="{FF2B5EF4-FFF2-40B4-BE49-F238E27FC236}">
                <a16:creationId xmlns:a16="http://schemas.microsoft.com/office/drawing/2014/main" id="{02568D6D-58ED-CC2C-1AB0-93DD9D0C36F7}"/>
              </a:ext>
            </a:extLst>
          </p:cNvPr>
          <p:cNvPicPr>
            <a:picLocks noChangeAspect="1"/>
          </p:cNvPicPr>
          <p:nvPr userDrawn="1"/>
        </p:nvPicPr>
        <p:blipFill>
          <a:blip r:embed="rId3"/>
          <a:stretch>
            <a:fillRect/>
          </a:stretch>
        </p:blipFill>
        <p:spPr>
          <a:xfrm>
            <a:off x="284717" y="2411655"/>
            <a:ext cx="532101" cy="332272"/>
          </a:xfrm>
          <a:prstGeom prst="rect">
            <a:avLst/>
          </a:prstGeom>
        </p:spPr>
      </p:pic>
      <p:pic>
        <p:nvPicPr>
          <p:cNvPr id="5" name="Picture 3">
            <a:extLst>
              <a:ext uri="{FF2B5EF4-FFF2-40B4-BE49-F238E27FC236}">
                <a16:creationId xmlns:a16="http://schemas.microsoft.com/office/drawing/2014/main" id="{301864AF-194A-7D9A-A084-137FACD0BD0B}"/>
              </a:ext>
            </a:extLst>
          </p:cNvPr>
          <p:cNvPicPr>
            <a:picLocks noChangeAspect="1"/>
          </p:cNvPicPr>
          <p:nvPr userDrawn="1"/>
        </p:nvPicPr>
        <p:blipFill>
          <a:blip r:embed="rId4"/>
          <a:stretch>
            <a:fillRect/>
          </a:stretch>
        </p:blipFill>
        <p:spPr>
          <a:xfrm>
            <a:off x="431726" y="3472967"/>
            <a:ext cx="288089" cy="429002"/>
          </a:xfrm>
          <a:prstGeom prst="rect">
            <a:avLst/>
          </a:prstGeom>
        </p:spPr>
      </p:pic>
      <p:pic>
        <p:nvPicPr>
          <p:cNvPr id="6" name="Picture 4">
            <a:extLst>
              <a:ext uri="{FF2B5EF4-FFF2-40B4-BE49-F238E27FC236}">
                <a16:creationId xmlns:a16="http://schemas.microsoft.com/office/drawing/2014/main" id="{0656321B-2BB6-995E-422C-09EE95D05DF3}"/>
              </a:ext>
            </a:extLst>
          </p:cNvPr>
          <p:cNvPicPr>
            <a:picLocks noChangeAspect="1"/>
          </p:cNvPicPr>
          <p:nvPr userDrawn="1"/>
        </p:nvPicPr>
        <p:blipFill>
          <a:blip r:embed="rId5"/>
          <a:srcRect/>
          <a:stretch/>
        </p:blipFill>
        <p:spPr>
          <a:xfrm>
            <a:off x="965144" y="3499382"/>
            <a:ext cx="573844" cy="276342"/>
          </a:xfrm>
          <a:prstGeom prst="rect">
            <a:avLst/>
          </a:prstGeom>
        </p:spPr>
      </p:pic>
      <p:pic>
        <p:nvPicPr>
          <p:cNvPr id="7" name="Picture 12">
            <a:extLst>
              <a:ext uri="{FF2B5EF4-FFF2-40B4-BE49-F238E27FC236}">
                <a16:creationId xmlns:a16="http://schemas.microsoft.com/office/drawing/2014/main" id="{9A342A5E-5C71-7118-995C-2F729F8E982C}"/>
              </a:ext>
            </a:extLst>
          </p:cNvPr>
          <p:cNvPicPr>
            <a:picLocks noChangeAspect="1" noChangeArrowheads="1"/>
          </p:cNvPicPr>
          <p:nvPr userDrawn="1"/>
        </p:nvPicPr>
        <p:blipFill>
          <a:blip r:embed="rId6"/>
          <a:srcRect/>
          <a:stretch/>
        </p:blipFill>
        <p:spPr bwMode="auto">
          <a:xfrm>
            <a:off x="269428" y="3972359"/>
            <a:ext cx="855487" cy="168958"/>
          </a:xfrm>
          <a:prstGeom prst="rect">
            <a:avLst/>
          </a:prstGeom>
          <a:noFill/>
          <a:extLst>
            <a:ext uri="{909E8E84-426E-40dd-AFC4-6F175D3DCCD1}">
              <a14:hiddenFill xmlns=""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D137FD6-F751-0B70-453A-CC06152AD8E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66927"/>
          <a:stretch/>
        </p:blipFill>
        <p:spPr>
          <a:xfrm>
            <a:off x="1059102" y="1773023"/>
            <a:ext cx="490160" cy="169107"/>
          </a:xfrm>
          <a:prstGeom prst="rect">
            <a:avLst/>
          </a:prstGeom>
        </p:spPr>
      </p:pic>
      <p:pic>
        <p:nvPicPr>
          <p:cNvPr id="9" name="Picture 7">
            <a:extLst>
              <a:ext uri="{FF2B5EF4-FFF2-40B4-BE49-F238E27FC236}">
                <a16:creationId xmlns:a16="http://schemas.microsoft.com/office/drawing/2014/main" id="{47CBB37A-35B9-1CE8-4C36-7095BF9FADA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77595" y="3227776"/>
            <a:ext cx="592836" cy="196596"/>
          </a:xfrm>
          <a:prstGeom prst="rect">
            <a:avLst/>
          </a:prstGeom>
        </p:spPr>
      </p:pic>
      <p:pic>
        <p:nvPicPr>
          <p:cNvPr id="10" name="Picture 8">
            <a:extLst>
              <a:ext uri="{FF2B5EF4-FFF2-40B4-BE49-F238E27FC236}">
                <a16:creationId xmlns:a16="http://schemas.microsoft.com/office/drawing/2014/main" id="{20D0F240-CCF0-D6D7-03A0-EF2D0F3604B3}"/>
              </a:ext>
            </a:extLst>
          </p:cNvPr>
          <p:cNvPicPr>
            <a:picLocks noChangeAspect="1"/>
          </p:cNvPicPr>
          <p:nvPr userDrawn="1"/>
        </p:nvPicPr>
        <p:blipFill>
          <a:blip r:embed="rId9"/>
          <a:stretch>
            <a:fillRect/>
          </a:stretch>
        </p:blipFill>
        <p:spPr>
          <a:xfrm>
            <a:off x="934648" y="2308102"/>
            <a:ext cx="614614" cy="384134"/>
          </a:xfrm>
          <a:prstGeom prst="rect">
            <a:avLst/>
          </a:prstGeom>
        </p:spPr>
      </p:pic>
      <p:pic>
        <p:nvPicPr>
          <p:cNvPr id="11" name="Picture 9">
            <a:extLst>
              <a:ext uri="{FF2B5EF4-FFF2-40B4-BE49-F238E27FC236}">
                <a16:creationId xmlns:a16="http://schemas.microsoft.com/office/drawing/2014/main" id="{0E67F0D6-F21B-A533-6C49-159742A793DD}"/>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1199538" y="3818518"/>
            <a:ext cx="327901" cy="303330"/>
          </a:xfrm>
          <a:prstGeom prst="rect">
            <a:avLst/>
          </a:prstGeom>
        </p:spPr>
      </p:pic>
      <p:pic>
        <p:nvPicPr>
          <p:cNvPr id="12" name="Picture 10">
            <a:extLst>
              <a:ext uri="{FF2B5EF4-FFF2-40B4-BE49-F238E27FC236}">
                <a16:creationId xmlns:a16="http://schemas.microsoft.com/office/drawing/2014/main" id="{3097DFE0-A15F-5D0E-BD65-9CD2385ADFB7}"/>
              </a:ext>
            </a:extLst>
          </p:cNvPr>
          <p:cNvPicPr>
            <a:picLocks noChangeAspect="1"/>
          </p:cNvPicPr>
          <p:nvPr userDrawn="1"/>
        </p:nvPicPr>
        <p:blipFill>
          <a:blip r:embed="rId11"/>
          <a:stretch>
            <a:fillRect/>
          </a:stretch>
        </p:blipFill>
        <p:spPr>
          <a:xfrm>
            <a:off x="1190625" y="4403223"/>
            <a:ext cx="448906" cy="215470"/>
          </a:xfrm>
          <a:prstGeom prst="rect">
            <a:avLst/>
          </a:prstGeom>
        </p:spPr>
      </p:pic>
      <p:pic>
        <p:nvPicPr>
          <p:cNvPr id="13" name="Picture 2">
            <a:extLst>
              <a:ext uri="{FF2B5EF4-FFF2-40B4-BE49-F238E27FC236}">
                <a16:creationId xmlns:a16="http://schemas.microsoft.com/office/drawing/2014/main" id="{2E8C6C73-8424-2D38-3D54-1DE537DC2FD0}"/>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164093" y="4198024"/>
            <a:ext cx="414645" cy="11460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2">
            <a:extLst>
              <a:ext uri="{FF2B5EF4-FFF2-40B4-BE49-F238E27FC236}">
                <a16:creationId xmlns:a16="http://schemas.microsoft.com/office/drawing/2014/main" id="{A6E712E2-B960-4F3C-79DA-D9CCA2F21EF8}"/>
              </a:ext>
            </a:extLst>
          </p:cNvPr>
          <p:cNvPicPr>
            <a:picLocks noChangeAspect="1"/>
          </p:cNvPicPr>
          <p:nvPr userDrawn="1"/>
        </p:nvPicPr>
        <p:blipFill>
          <a:blip r:embed="rId13"/>
          <a:stretch>
            <a:fillRect/>
          </a:stretch>
        </p:blipFill>
        <p:spPr>
          <a:xfrm>
            <a:off x="299064" y="4619850"/>
            <a:ext cx="435374" cy="227524"/>
          </a:xfrm>
          <a:prstGeom prst="rect">
            <a:avLst/>
          </a:prstGeom>
        </p:spPr>
      </p:pic>
      <p:pic>
        <p:nvPicPr>
          <p:cNvPr id="15" name="Graphic 13">
            <a:extLst>
              <a:ext uri="{FF2B5EF4-FFF2-40B4-BE49-F238E27FC236}">
                <a16:creationId xmlns:a16="http://schemas.microsoft.com/office/drawing/2014/main" id="{05FAC8F5-E531-B7F6-136B-19AE17F77319}"/>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281708" y="4187654"/>
            <a:ext cx="643805" cy="133861"/>
          </a:xfrm>
          <a:prstGeom prst="rect">
            <a:avLst/>
          </a:prstGeom>
        </p:spPr>
      </p:pic>
      <p:pic>
        <p:nvPicPr>
          <p:cNvPr id="16" name="Graphic 16">
            <a:extLst>
              <a:ext uri="{FF2B5EF4-FFF2-40B4-BE49-F238E27FC236}">
                <a16:creationId xmlns:a16="http://schemas.microsoft.com/office/drawing/2014/main" id="{2EB8DEA5-1E69-27F7-864C-CD323E58217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262079" y="4907492"/>
            <a:ext cx="577379" cy="170431"/>
          </a:xfrm>
          <a:prstGeom prst="rect">
            <a:avLst/>
          </a:prstGeom>
        </p:spPr>
      </p:pic>
      <p:pic>
        <p:nvPicPr>
          <p:cNvPr id="17" name="Graphic 17">
            <a:extLst>
              <a:ext uri="{FF2B5EF4-FFF2-40B4-BE49-F238E27FC236}">
                <a16:creationId xmlns:a16="http://schemas.microsoft.com/office/drawing/2014/main" id="{A4CD5DD6-163C-AA1A-3DFA-25C4B213BB50}"/>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30336" y="4693268"/>
            <a:ext cx="676854" cy="122778"/>
          </a:xfrm>
          <a:prstGeom prst="rect">
            <a:avLst/>
          </a:prstGeom>
        </p:spPr>
      </p:pic>
      <p:pic>
        <p:nvPicPr>
          <p:cNvPr id="18" name="Picture 18">
            <a:extLst>
              <a:ext uri="{FF2B5EF4-FFF2-40B4-BE49-F238E27FC236}">
                <a16:creationId xmlns:a16="http://schemas.microsoft.com/office/drawing/2014/main" id="{5045BE3B-8FB0-0A8A-AE71-9ABFFFA6DD32}"/>
              </a:ext>
            </a:extLst>
          </p:cNvPr>
          <p:cNvPicPr>
            <a:picLocks noChangeAspect="1"/>
          </p:cNvPicPr>
          <p:nvPr userDrawn="1"/>
        </p:nvPicPr>
        <p:blipFill rotWithShape="1">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92765" y="5166907"/>
            <a:ext cx="593685" cy="155426"/>
          </a:xfrm>
          <a:prstGeom prst="rect">
            <a:avLst/>
          </a:prstGeom>
        </p:spPr>
      </p:pic>
      <p:pic>
        <p:nvPicPr>
          <p:cNvPr id="19" name="Graphic 19">
            <a:extLst>
              <a:ext uri="{FF2B5EF4-FFF2-40B4-BE49-F238E27FC236}">
                <a16:creationId xmlns:a16="http://schemas.microsoft.com/office/drawing/2014/main" id="{3443FB9E-7FD8-8DBA-3174-026E92C1746A}"/>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268288" y="4462295"/>
            <a:ext cx="808142" cy="97326"/>
          </a:xfrm>
          <a:prstGeom prst="rect">
            <a:avLst/>
          </a:prstGeom>
        </p:spPr>
      </p:pic>
      <p:pic>
        <p:nvPicPr>
          <p:cNvPr id="20" name="Picture 20">
            <a:extLst>
              <a:ext uri="{FF2B5EF4-FFF2-40B4-BE49-F238E27FC236}">
                <a16:creationId xmlns:a16="http://schemas.microsoft.com/office/drawing/2014/main" id="{EE2DB717-4C9F-BA2A-F5A2-ABF7ACBE2B24}"/>
              </a:ext>
            </a:extLst>
          </p:cNvPr>
          <p:cNvPicPr>
            <a:picLocks noChangeAspect="1"/>
          </p:cNvPicPr>
          <p:nvPr userDrawn="1"/>
        </p:nvPicPr>
        <p:blipFill>
          <a:blip r:embed="rId23"/>
          <a:stretch>
            <a:fillRect/>
          </a:stretch>
        </p:blipFill>
        <p:spPr>
          <a:xfrm>
            <a:off x="1014829" y="5431225"/>
            <a:ext cx="568341" cy="207036"/>
          </a:xfrm>
          <a:prstGeom prst="rect">
            <a:avLst/>
          </a:prstGeom>
        </p:spPr>
      </p:pic>
      <p:pic>
        <p:nvPicPr>
          <p:cNvPr id="21" name="Picture 21">
            <a:extLst>
              <a:ext uri="{FF2B5EF4-FFF2-40B4-BE49-F238E27FC236}">
                <a16:creationId xmlns:a16="http://schemas.microsoft.com/office/drawing/2014/main" id="{63280C24-479B-A8B0-7966-BF4F4871AFB4}"/>
              </a:ext>
            </a:extLst>
          </p:cNvPr>
          <p:cNvPicPr>
            <a:picLocks noChangeAspect="1"/>
          </p:cNvPicPr>
          <p:nvPr userDrawn="1"/>
        </p:nvPicPr>
        <p:blipFill>
          <a:blip r:embed="rId24"/>
          <a:stretch>
            <a:fillRect/>
          </a:stretch>
        </p:blipFill>
        <p:spPr>
          <a:xfrm>
            <a:off x="1191141" y="5726561"/>
            <a:ext cx="392029" cy="205725"/>
          </a:xfrm>
          <a:prstGeom prst="rect">
            <a:avLst/>
          </a:prstGeom>
        </p:spPr>
      </p:pic>
      <p:pic>
        <p:nvPicPr>
          <p:cNvPr id="23" name="Picture 22">
            <a:extLst>
              <a:ext uri="{FF2B5EF4-FFF2-40B4-BE49-F238E27FC236}">
                <a16:creationId xmlns:a16="http://schemas.microsoft.com/office/drawing/2014/main" id="{2A1EEDC1-E361-7454-1406-4CE860015338}"/>
              </a:ext>
            </a:extLst>
          </p:cNvPr>
          <p:cNvPicPr>
            <a:picLocks noChangeAspect="1"/>
          </p:cNvPicPr>
          <p:nvPr userDrawn="1"/>
        </p:nvPicPr>
        <p:blipFill>
          <a:blip r:embed="rId25"/>
          <a:stretch>
            <a:fillRect/>
          </a:stretch>
        </p:blipFill>
        <p:spPr>
          <a:xfrm>
            <a:off x="311188" y="5446689"/>
            <a:ext cx="525653" cy="158223"/>
          </a:xfrm>
          <a:prstGeom prst="rect">
            <a:avLst/>
          </a:prstGeom>
        </p:spPr>
      </p:pic>
      <p:pic>
        <p:nvPicPr>
          <p:cNvPr id="24" name="Picture 23">
            <a:extLst>
              <a:ext uri="{FF2B5EF4-FFF2-40B4-BE49-F238E27FC236}">
                <a16:creationId xmlns:a16="http://schemas.microsoft.com/office/drawing/2014/main" id="{AB262DE6-1596-1CEB-D89C-C0714F09DA59}"/>
              </a:ext>
            </a:extLst>
          </p:cNvPr>
          <p:cNvPicPr>
            <a:picLocks noChangeAspect="1"/>
          </p:cNvPicPr>
          <p:nvPr userDrawn="1"/>
        </p:nvPicPr>
        <p:blipFill>
          <a:blip r:embed="rId26"/>
          <a:stretch>
            <a:fillRect/>
          </a:stretch>
        </p:blipFill>
        <p:spPr>
          <a:xfrm>
            <a:off x="280021" y="6014808"/>
            <a:ext cx="587985" cy="209655"/>
          </a:xfrm>
          <a:prstGeom prst="rect">
            <a:avLst/>
          </a:prstGeom>
        </p:spPr>
      </p:pic>
      <p:pic>
        <p:nvPicPr>
          <p:cNvPr id="25" name="Picture 24">
            <a:extLst>
              <a:ext uri="{FF2B5EF4-FFF2-40B4-BE49-F238E27FC236}">
                <a16:creationId xmlns:a16="http://schemas.microsoft.com/office/drawing/2014/main" id="{3C19B612-85DC-2217-C780-96B51B67AE6F}"/>
              </a:ext>
            </a:extLst>
          </p:cNvPr>
          <p:cNvPicPr>
            <a:picLocks noChangeAspect="1"/>
          </p:cNvPicPr>
          <p:nvPr userDrawn="1"/>
        </p:nvPicPr>
        <p:blipFill>
          <a:blip r:embed="rId27"/>
          <a:stretch>
            <a:fillRect/>
          </a:stretch>
        </p:blipFill>
        <p:spPr>
          <a:xfrm>
            <a:off x="293424" y="5201077"/>
            <a:ext cx="593685" cy="148421"/>
          </a:xfrm>
          <a:prstGeom prst="rect">
            <a:avLst/>
          </a:prstGeom>
        </p:spPr>
      </p:pic>
      <p:pic>
        <p:nvPicPr>
          <p:cNvPr id="26" name="Picture 26">
            <a:extLst>
              <a:ext uri="{FF2B5EF4-FFF2-40B4-BE49-F238E27FC236}">
                <a16:creationId xmlns:a16="http://schemas.microsoft.com/office/drawing/2014/main" id="{2FDF84A6-D612-59CA-00BD-8C698DBB01B8}"/>
              </a:ext>
            </a:extLst>
          </p:cNvPr>
          <p:cNvPicPr>
            <a:picLocks noChangeAspect="1"/>
          </p:cNvPicPr>
          <p:nvPr userDrawn="1"/>
        </p:nvPicPr>
        <p:blipFill>
          <a:blip r:embed="rId28"/>
          <a:stretch>
            <a:fillRect/>
          </a:stretch>
        </p:blipFill>
        <p:spPr>
          <a:xfrm>
            <a:off x="268288" y="5745692"/>
            <a:ext cx="657218" cy="182896"/>
          </a:xfrm>
          <a:prstGeom prst="rect">
            <a:avLst/>
          </a:prstGeom>
        </p:spPr>
      </p:pic>
      <p:pic>
        <p:nvPicPr>
          <p:cNvPr id="27" name="Picture 27">
            <a:extLst>
              <a:ext uri="{FF2B5EF4-FFF2-40B4-BE49-F238E27FC236}">
                <a16:creationId xmlns:a16="http://schemas.microsoft.com/office/drawing/2014/main" id="{59BE2204-0BD4-548F-C2B3-B0B56C372EFA}"/>
              </a:ext>
            </a:extLst>
          </p:cNvPr>
          <p:cNvPicPr>
            <a:picLocks noChangeAspect="1"/>
          </p:cNvPicPr>
          <p:nvPr userDrawn="1"/>
        </p:nvPicPr>
        <p:blipFill>
          <a:blip r:embed="rId29"/>
          <a:stretch>
            <a:fillRect/>
          </a:stretch>
        </p:blipFill>
        <p:spPr>
          <a:xfrm>
            <a:off x="219739" y="1684636"/>
            <a:ext cx="624539" cy="293807"/>
          </a:xfrm>
          <a:prstGeom prst="rect">
            <a:avLst/>
          </a:prstGeom>
        </p:spPr>
      </p:pic>
      <p:pic>
        <p:nvPicPr>
          <p:cNvPr id="28" name="Picture 28">
            <a:extLst>
              <a:ext uri="{FF2B5EF4-FFF2-40B4-BE49-F238E27FC236}">
                <a16:creationId xmlns:a16="http://schemas.microsoft.com/office/drawing/2014/main" id="{CAF7FC91-1884-F33F-FCA5-9B9226EE792B}"/>
              </a:ext>
            </a:extLst>
          </p:cNvPr>
          <p:cNvPicPr>
            <a:picLocks noChangeAspect="1"/>
          </p:cNvPicPr>
          <p:nvPr userDrawn="1"/>
        </p:nvPicPr>
        <p:blipFill>
          <a:blip r:embed="rId30"/>
          <a:stretch>
            <a:fillRect/>
          </a:stretch>
        </p:blipFill>
        <p:spPr>
          <a:xfrm>
            <a:off x="1000319" y="4888883"/>
            <a:ext cx="657890" cy="247061"/>
          </a:xfrm>
          <a:prstGeom prst="rect">
            <a:avLst/>
          </a:prstGeom>
        </p:spPr>
      </p:pic>
      <p:pic>
        <p:nvPicPr>
          <p:cNvPr id="29" name="Picture 29">
            <a:extLst>
              <a:ext uri="{FF2B5EF4-FFF2-40B4-BE49-F238E27FC236}">
                <a16:creationId xmlns:a16="http://schemas.microsoft.com/office/drawing/2014/main" id="{D3B40325-9309-41F9-79FE-2651DA42C5D6}"/>
              </a:ext>
            </a:extLst>
          </p:cNvPr>
          <p:cNvPicPr>
            <a:picLocks noChangeAspect="1"/>
          </p:cNvPicPr>
          <p:nvPr userDrawn="1"/>
        </p:nvPicPr>
        <p:blipFill>
          <a:blip r:embed="rId31"/>
          <a:stretch>
            <a:fillRect/>
          </a:stretch>
        </p:blipFill>
        <p:spPr>
          <a:xfrm>
            <a:off x="799933" y="1435623"/>
            <a:ext cx="673419" cy="247060"/>
          </a:xfrm>
          <a:prstGeom prst="rect">
            <a:avLst/>
          </a:prstGeom>
        </p:spPr>
      </p:pic>
      <p:pic>
        <p:nvPicPr>
          <p:cNvPr id="30" name="Picture 30">
            <a:extLst>
              <a:ext uri="{FF2B5EF4-FFF2-40B4-BE49-F238E27FC236}">
                <a16:creationId xmlns:a16="http://schemas.microsoft.com/office/drawing/2014/main" id="{0B472D17-9570-AB05-8274-264F5C3D46D8}"/>
              </a:ext>
            </a:extLst>
          </p:cNvPr>
          <p:cNvPicPr>
            <a:picLocks noChangeAspect="1"/>
          </p:cNvPicPr>
          <p:nvPr userDrawn="1"/>
        </p:nvPicPr>
        <p:blipFill>
          <a:blip r:embed="rId32"/>
          <a:stretch>
            <a:fillRect/>
          </a:stretch>
        </p:blipFill>
        <p:spPr>
          <a:xfrm>
            <a:off x="372587" y="2073954"/>
            <a:ext cx="471691" cy="236355"/>
          </a:xfrm>
          <a:prstGeom prst="rect">
            <a:avLst/>
          </a:prstGeom>
        </p:spPr>
      </p:pic>
      <p:pic>
        <p:nvPicPr>
          <p:cNvPr id="31" name="Graphic 31">
            <a:extLst>
              <a:ext uri="{FF2B5EF4-FFF2-40B4-BE49-F238E27FC236}">
                <a16:creationId xmlns:a16="http://schemas.microsoft.com/office/drawing/2014/main" id="{7ABECAA4-5A79-ECC5-435B-4B2FD9E37E25}"/>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995785" y="6020587"/>
            <a:ext cx="562406" cy="182896"/>
          </a:xfrm>
          <a:prstGeom prst="rect">
            <a:avLst/>
          </a:prstGeom>
        </p:spPr>
      </p:pic>
      <p:pic>
        <p:nvPicPr>
          <p:cNvPr id="32" name="Picture 32" descr="Logo&#10;&#10;Description automatically generated">
            <a:extLst>
              <a:ext uri="{FF2B5EF4-FFF2-40B4-BE49-F238E27FC236}">
                <a16:creationId xmlns:a16="http://schemas.microsoft.com/office/drawing/2014/main" id="{676C3862-DE40-D8D5-6C2D-BE0772157054}"/>
              </a:ext>
            </a:extLst>
          </p:cNvPr>
          <p:cNvPicPr>
            <a:picLocks noChangeAspect="1"/>
          </p:cNvPicPr>
          <p:nvPr userDrawn="1"/>
        </p:nvPicPr>
        <p:blipFill rotWithShape="1">
          <a:blip r:embed="rId35"/>
          <a:srcRect l="12229" t="22237" r="11435" b="22043"/>
          <a:stretch/>
        </p:blipFill>
        <p:spPr>
          <a:xfrm>
            <a:off x="985302" y="2046846"/>
            <a:ext cx="583371" cy="217125"/>
          </a:xfrm>
          <a:prstGeom prst="rect">
            <a:avLst/>
          </a:prstGeom>
        </p:spPr>
      </p:pic>
      <p:pic>
        <p:nvPicPr>
          <p:cNvPr id="33" name="Picture 33">
            <a:extLst>
              <a:ext uri="{FF2B5EF4-FFF2-40B4-BE49-F238E27FC236}">
                <a16:creationId xmlns:a16="http://schemas.microsoft.com/office/drawing/2014/main" id="{7DC8675E-FE6A-5B99-B2D6-38A0778127E9}"/>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293260" y="2830147"/>
            <a:ext cx="463016" cy="369792"/>
          </a:xfrm>
          <a:prstGeom prst="rect">
            <a:avLst/>
          </a:prstGeom>
        </p:spPr>
      </p:pic>
      <p:pic>
        <p:nvPicPr>
          <p:cNvPr id="34" name="Graphic 34">
            <a:extLst>
              <a:ext uri="{FF2B5EF4-FFF2-40B4-BE49-F238E27FC236}">
                <a16:creationId xmlns:a16="http://schemas.microsoft.com/office/drawing/2014/main" id="{BCE81DAC-6820-71E1-62B2-020F83009F6E}"/>
              </a:ext>
            </a:extLst>
          </p:cNvPr>
          <p:cNvPicPr>
            <a:picLocks noChangeAspect="1"/>
          </p:cNvPicPr>
          <p:nvPr userDrawn="1"/>
        </p:nvPicPr>
        <p:blipFill>
          <a:blip r:embed="rId37">
            <a:extLst>
              <a:ext uri="{96DAC541-7B7A-43D3-8B79-37D633B846F1}">
                <asvg:svgBlip xmlns:asvg="http://schemas.microsoft.com/office/drawing/2016/SVG/main" r:embed="rId38"/>
              </a:ext>
            </a:extLst>
          </a:blip>
          <a:stretch>
            <a:fillRect/>
          </a:stretch>
        </p:blipFill>
        <p:spPr>
          <a:xfrm>
            <a:off x="862733" y="3050411"/>
            <a:ext cx="695458" cy="132137"/>
          </a:xfrm>
          <a:prstGeom prst="rect">
            <a:avLst/>
          </a:prstGeom>
        </p:spPr>
      </p:pic>
      <p:pic>
        <p:nvPicPr>
          <p:cNvPr id="35" name="Graphic 35">
            <a:extLst>
              <a:ext uri="{FF2B5EF4-FFF2-40B4-BE49-F238E27FC236}">
                <a16:creationId xmlns:a16="http://schemas.microsoft.com/office/drawing/2014/main" id="{24ACFAAD-2E70-736F-1E76-F3A94E305F1F}"/>
              </a:ext>
            </a:extLst>
          </p:cNvPr>
          <p:cNvPicPr>
            <a:picLocks noChangeAspect="1"/>
          </p:cNvPicPr>
          <p:nvPr userDrawn="1"/>
        </p:nvPicPr>
        <p:blipFill>
          <a:blip r:embed="rId39">
            <a:extLst>
              <a:ext uri="{96DAC541-7B7A-43D3-8B79-37D633B846F1}">
                <asvg:svgBlip xmlns:asvg="http://schemas.microsoft.com/office/drawing/2016/SVG/main" r:embed="rId40"/>
              </a:ext>
            </a:extLst>
          </a:blip>
          <a:stretch>
            <a:fillRect/>
          </a:stretch>
        </p:blipFill>
        <p:spPr>
          <a:xfrm>
            <a:off x="351332" y="1451315"/>
            <a:ext cx="423831" cy="163012"/>
          </a:xfrm>
          <a:prstGeom prst="rect">
            <a:avLst/>
          </a:prstGeom>
        </p:spPr>
      </p:pic>
      <p:pic>
        <p:nvPicPr>
          <p:cNvPr id="36" name="Graphic 36">
            <a:extLst>
              <a:ext uri="{FF2B5EF4-FFF2-40B4-BE49-F238E27FC236}">
                <a16:creationId xmlns:a16="http://schemas.microsoft.com/office/drawing/2014/main" id="{959D4A1F-A22E-657D-1C11-13981AC61EEE}"/>
              </a:ext>
            </a:extLst>
          </p:cNvPr>
          <p:cNvPicPr>
            <a:picLocks noChangeAspect="1"/>
          </p:cNvPicPr>
          <p:nvPr userDrawn="1"/>
        </p:nvPicPr>
        <p:blipFill>
          <a:blip r:embed="rId41">
            <a:extLst>
              <a:ext uri="{96DAC541-7B7A-43D3-8B79-37D633B846F1}">
                <asvg:svgBlip xmlns:asvg="http://schemas.microsoft.com/office/drawing/2016/SVG/main" r:embed="rId42"/>
              </a:ext>
            </a:extLst>
          </a:blip>
          <a:stretch>
            <a:fillRect/>
          </a:stretch>
        </p:blipFill>
        <p:spPr>
          <a:xfrm>
            <a:off x="836496" y="2774232"/>
            <a:ext cx="684000" cy="85365"/>
          </a:xfrm>
          <a:prstGeom prst="rect">
            <a:avLst/>
          </a:prstGeom>
        </p:spPr>
      </p:pic>
    </p:spTree>
    <p:extLst>
      <p:ext uri="{BB962C8B-B14F-4D97-AF65-F5344CB8AC3E}">
        <p14:creationId xmlns:p14="http://schemas.microsoft.com/office/powerpoint/2010/main" val="41418465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slide - two header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34C407-60D9-53C9-D316-70630442EA8D}"/>
              </a:ext>
            </a:extLst>
          </p:cNvPr>
          <p:cNvSpPr>
            <a:spLocks noGrp="1"/>
          </p:cNvSpPr>
          <p:nvPr>
            <p:ph type="title"/>
          </p:nvPr>
        </p:nvSpPr>
        <p:spPr>
          <a:xfrm>
            <a:off x="539999" y="55894"/>
            <a:ext cx="7932633" cy="371475"/>
          </a:xfrm>
          <a:prstGeom prst="rect">
            <a:avLst/>
          </a:prstGeom>
        </p:spPr>
        <p:txBody>
          <a:bodyPr/>
          <a:lstStyle/>
          <a:p>
            <a:r>
              <a:rPr lang="en-GB" noProof="0"/>
              <a:t>Mastertitelformat bearbeiten</a:t>
            </a:r>
          </a:p>
        </p:txBody>
      </p:sp>
      <p:sp>
        <p:nvSpPr>
          <p:cNvPr id="3" name="Inhaltsplatzhalter 2">
            <a:extLst>
              <a:ext uri="{FF2B5EF4-FFF2-40B4-BE49-F238E27FC236}">
                <a16:creationId xmlns:a16="http://schemas.microsoft.com/office/drawing/2014/main" id="{71E2D80D-4F5A-5A4B-A853-B190CB172C7F}"/>
              </a:ext>
            </a:extLst>
          </p:cNvPr>
          <p:cNvSpPr>
            <a:spLocks noGrp="1"/>
          </p:cNvSpPr>
          <p:nvPr>
            <p:ph idx="1"/>
          </p:nvPr>
        </p:nvSpPr>
        <p:spPr/>
        <p:txBody>
          <a:body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
        <p:nvSpPr>
          <p:cNvPr id="4" name="Foliennummernplatzhalter 5">
            <a:extLst>
              <a:ext uri="{FF2B5EF4-FFF2-40B4-BE49-F238E27FC236}">
                <a16:creationId xmlns:a16="http://schemas.microsoft.com/office/drawing/2014/main" id="{07A5BD7F-9935-5545-AA13-A9D4CCF638BA}"/>
              </a:ext>
            </a:extLst>
          </p:cNvPr>
          <p:cNvSpPr>
            <a:spLocks noGrp="1"/>
          </p:cNvSpPr>
          <p:nvPr>
            <p:ph type="sldNum" sz="quarter" idx="4"/>
          </p:nvPr>
        </p:nvSpPr>
        <p:spPr>
          <a:xfrm>
            <a:off x="9185561" y="6449526"/>
            <a:ext cx="624557" cy="415215"/>
          </a:xfrm>
          <a:prstGeom prst="rect">
            <a:avLst/>
          </a:prstGeom>
        </p:spPr>
        <p:txBody>
          <a:bodyPr vert="horz" lIns="91440" tIns="45720" rIns="91440" bIns="45720" rtlCol="0" anchor="ctr"/>
          <a:lstStyle>
            <a:lvl1pPr algn="r">
              <a:defRPr sz="975">
                <a:solidFill>
                  <a:schemeClr val="tx1"/>
                </a:solidFill>
                <a:latin typeface="Arial" panose="020B0604020202020204" pitchFamily="34" charset="0"/>
                <a:cs typeface="Arial" panose="020B0604020202020204" pitchFamily="34" charset="0"/>
              </a:defRPr>
            </a:lvl1pPr>
          </a:lstStyle>
          <a:p>
            <a:fld id="{552108FB-23E0-4454-978B-54EB3005B0BA}" type="slidenum">
              <a:rPr lang="en-US" smtClean="0"/>
              <a:pPr/>
              <a:t>‹#›</a:t>
            </a:fld>
            <a:endParaRPr lang="en-US" dirty="0"/>
          </a:p>
        </p:txBody>
      </p:sp>
      <p:sp>
        <p:nvSpPr>
          <p:cNvPr id="5" name="Text Placeholder 12">
            <a:extLst>
              <a:ext uri="{FF2B5EF4-FFF2-40B4-BE49-F238E27FC236}">
                <a16:creationId xmlns:a16="http://schemas.microsoft.com/office/drawing/2014/main" id="{946A92ED-DF70-3045-DACB-46A649814B34}"/>
              </a:ext>
            </a:extLst>
          </p:cNvPr>
          <p:cNvSpPr>
            <a:spLocks noGrp="1"/>
          </p:cNvSpPr>
          <p:nvPr>
            <p:ph type="body" sz="quarter" idx="16" hasCustomPrompt="1"/>
          </p:nvPr>
        </p:nvSpPr>
        <p:spPr>
          <a:xfrm>
            <a:off x="540001" y="423550"/>
            <a:ext cx="7932632" cy="371474"/>
          </a:xfrm>
          <a:prstGeom prst="rect">
            <a:avLst/>
          </a:prstGeom>
        </p:spPr>
        <p:txBody>
          <a:bodyPr vert="horz" lIns="72000" tIns="36000" rIns="72000" bIns="36000" rtlCol="0" anchor="t">
            <a:noAutofit/>
          </a:bodyPr>
          <a:lstStyle>
            <a:lvl1pPr marL="0" indent="0">
              <a:buNone/>
              <a:defRPr lang="nl-NL" sz="1300" b="0" i="0" dirty="0">
                <a:solidFill>
                  <a:schemeClr val="tx1"/>
                </a:solidFill>
                <a:latin typeface="Arial" panose="020B0604020202020204" pitchFamily="34" charset="0"/>
                <a:cs typeface="Arial" panose="020B0604020202020204" pitchFamily="34" charset="0"/>
              </a:defRPr>
            </a:lvl1pPr>
          </a:lstStyle>
          <a:p>
            <a:pPr lvl="0">
              <a:spcBef>
                <a:spcPct val="0"/>
              </a:spcBef>
            </a:pPr>
            <a:r>
              <a:rPr lang="en-GB" noProof="0" dirty="0"/>
              <a:t>Click to edit Description</a:t>
            </a:r>
          </a:p>
          <a:p>
            <a:pPr lvl="0">
              <a:spcBef>
                <a:spcPct val="0"/>
              </a:spcBef>
            </a:pPr>
            <a:endParaRPr lang="en-GB" noProof="0" dirty="0"/>
          </a:p>
        </p:txBody>
      </p:sp>
    </p:spTree>
    <p:extLst>
      <p:ext uri="{BB962C8B-B14F-4D97-AF65-F5344CB8AC3E}">
        <p14:creationId xmlns:p14="http://schemas.microsoft.com/office/powerpoint/2010/main" val="11238578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_Main01">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6DEDD501-6905-1F74-EB9A-8427EFDA4BB9}"/>
              </a:ext>
            </a:extLst>
          </p:cNvPr>
          <p:cNvSpPr>
            <a:spLocks noGrp="1"/>
          </p:cNvSpPr>
          <p:nvPr>
            <p:ph type="body" sz="quarter" idx="11"/>
          </p:nvPr>
        </p:nvSpPr>
        <p:spPr>
          <a:xfrm>
            <a:off x="540000" y="1080000"/>
            <a:ext cx="8753884" cy="5316350"/>
          </a:xfrm>
        </p:spPr>
        <p:txBody>
          <a:bodyPr/>
          <a:lstStyle>
            <a:lvl1pPr marL="234000" indent="-234000">
              <a:buClr>
                <a:srgbClr val="AB5905"/>
              </a:buClr>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1pPr>
            <a:lvl2pPr marL="468000" indent="-234000">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2pPr>
            <a:lvl3pPr marL="731250" indent="-234000">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3pPr>
            <a:lvl4pPr marL="731250" indent="-234000">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4pPr>
            <a:lvl5pPr marL="1111278" indent="-292108">
              <a:buFont typeface="Arial" panose="020B0604020202020204" pitchFamily="34" charset="0"/>
              <a:buChar char="•"/>
              <a:defRPr/>
            </a:lvl5pPr>
          </a:lstStyle>
          <a:p>
            <a:pPr marL="234000" marR="0" lvl="1" indent="-234000" algn="l" defTabSz="914423"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pPr>
            <a:r>
              <a:rPr lang="de-DE" dirty="0"/>
              <a:t>Mastertextformat bearbeiten</a:t>
            </a:r>
          </a:p>
          <a:p>
            <a:pPr marL="468000" lvl="2" indent="-234000" algn="l" rtl="0" eaLnBrk="1" fontAlgn="base" hangingPunct="1">
              <a:spcBef>
                <a:spcPts val="400"/>
              </a:spcBef>
              <a:spcAft>
                <a:spcPct val="0"/>
              </a:spcAft>
              <a:buClrTx/>
              <a:buSzPct val="65000"/>
              <a:buFont typeface="Wingdings" panose="05000000000000000000" pitchFamily="2" charset="2"/>
              <a:buChar char="¡"/>
            </a:pPr>
            <a:r>
              <a:rPr lang="de-DE" dirty="0"/>
              <a:t>Zweite Ebene</a:t>
            </a:r>
          </a:p>
          <a:p>
            <a:pPr marL="731250" lvl="3" indent="-234000" algn="l" rtl="0" eaLnBrk="1" fontAlgn="base" hangingPunct="1">
              <a:spcBef>
                <a:spcPts val="400"/>
              </a:spcBef>
              <a:spcAft>
                <a:spcPct val="0"/>
              </a:spcAft>
              <a:buClrTx/>
              <a:buFont typeface="Wingdings" pitchFamily="2" charset="2"/>
              <a:buChar char="§"/>
            </a:pPr>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8DF3E0F2-945E-4E56-7AA1-6F5E1D76C953}"/>
              </a:ext>
            </a:extLst>
          </p:cNvPr>
          <p:cNvSpPr>
            <a:spLocks noGrp="1"/>
          </p:cNvSpPr>
          <p:nvPr>
            <p:ph type="sldNum" sz="quarter" idx="10"/>
          </p:nvPr>
        </p:nvSpPr>
        <p:spPr/>
        <p:txBody>
          <a:bodyPr/>
          <a:lstStyle/>
          <a:p>
            <a:fld id="{F551322C-20B2-48C3-B63D-68158FEBF630}" type="slidenum">
              <a:rPr lang="en-US" smtClean="0"/>
              <a:pPr/>
              <a:t>‹#›</a:t>
            </a:fld>
            <a:endParaRPr lang="en-US" dirty="0"/>
          </a:p>
        </p:txBody>
      </p:sp>
      <p:sp>
        <p:nvSpPr>
          <p:cNvPr id="7" name="Titel 6">
            <a:extLst>
              <a:ext uri="{FF2B5EF4-FFF2-40B4-BE49-F238E27FC236}">
                <a16:creationId xmlns:a16="http://schemas.microsoft.com/office/drawing/2014/main" id="{0670C210-1953-0A1B-E769-12EDA0248E66}"/>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1862195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Layout_Main01">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6DEDD501-6905-1F74-EB9A-8427EFDA4BB9}"/>
              </a:ext>
            </a:extLst>
          </p:cNvPr>
          <p:cNvSpPr>
            <a:spLocks noGrp="1"/>
          </p:cNvSpPr>
          <p:nvPr>
            <p:ph type="body" sz="quarter" idx="11"/>
          </p:nvPr>
        </p:nvSpPr>
        <p:spPr>
          <a:xfrm>
            <a:off x="540000" y="1080000"/>
            <a:ext cx="8753884" cy="5316350"/>
          </a:xfrm>
        </p:spPr>
        <p:txBody>
          <a:bodyPr/>
          <a:lstStyle>
            <a:lvl1pPr marL="234000" indent="-234000">
              <a:buClr>
                <a:srgbClr val="AB5905"/>
              </a:buClr>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1pPr>
            <a:lvl2pPr marL="468000" indent="-234000">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2pPr>
            <a:lvl3pPr marL="731250" indent="-234000">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3pPr>
            <a:lvl4pPr marL="731250" indent="-234000">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4pPr>
            <a:lvl5pPr marL="1111278" indent="-292108">
              <a:buFont typeface="Arial" panose="020B0604020202020204" pitchFamily="34" charset="0"/>
              <a:buChar char="•"/>
              <a:defRPr/>
            </a:lvl5pPr>
          </a:lstStyle>
          <a:p>
            <a:pPr marL="234000" marR="0" lvl="1" indent="-234000" algn="l" defTabSz="914423"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pPr>
            <a:r>
              <a:rPr lang="de-DE" dirty="0"/>
              <a:t>Mastertextformat bearbeiten</a:t>
            </a:r>
          </a:p>
          <a:p>
            <a:pPr marL="468000" lvl="2" indent="-234000" algn="l" rtl="0" eaLnBrk="1" fontAlgn="base" hangingPunct="1">
              <a:spcBef>
                <a:spcPts val="400"/>
              </a:spcBef>
              <a:spcAft>
                <a:spcPct val="0"/>
              </a:spcAft>
              <a:buClrTx/>
              <a:buSzPct val="65000"/>
              <a:buFont typeface="Wingdings" panose="05000000000000000000" pitchFamily="2" charset="2"/>
              <a:buChar char="¡"/>
            </a:pPr>
            <a:r>
              <a:rPr lang="de-DE" dirty="0"/>
              <a:t>Zweite Ebene</a:t>
            </a:r>
          </a:p>
          <a:p>
            <a:pPr marL="731250" lvl="3" indent="-234000" algn="l" rtl="0" eaLnBrk="1" fontAlgn="base" hangingPunct="1">
              <a:spcBef>
                <a:spcPts val="400"/>
              </a:spcBef>
              <a:spcAft>
                <a:spcPct val="0"/>
              </a:spcAft>
              <a:buClrTx/>
              <a:buFont typeface="Wingdings" pitchFamily="2" charset="2"/>
              <a:buChar char="§"/>
            </a:pPr>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8DF3E0F2-945E-4E56-7AA1-6F5E1D76C953}"/>
              </a:ext>
            </a:extLst>
          </p:cNvPr>
          <p:cNvSpPr>
            <a:spLocks noGrp="1"/>
          </p:cNvSpPr>
          <p:nvPr>
            <p:ph type="sldNum" sz="quarter" idx="10"/>
          </p:nvPr>
        </p:nvSpPr>
        <p:spPr/>
        <p:txBody>
          <a:bodyPr/>
          <a:lstStyle/>
          <a:p>
            <a:fld id="{F551322C-20B2-48C3-B63D-68158FEBF630}" type="slidenum">
              <a:rPr lang="en-US" smtClean="0"/>
              <a:pPr/>
              <a:t>‹#›</a:t>
            </a:fld>
            <a:endParaRPr lang="en-US" dirty="0"/>
          </a:p>
        </p:txBody>
      </p:sp>
      <p:sp>
        <p:nvSpPr>
          <p:cNvPr id="4" name="Titel 3">
            <a:extLst>
              <a:ext uri="{FF2B5EF4-FFF2-40B4-BE49-F238E27FC236}">
                <a16:creationId xmlns:a16="http://schemas.microsoft.com/office/drawing/2014/main" id="{A6FEF769-C20D-75AB-A744-5F83253FC15E}"/>
              </a:ext>
            </a:extLst>
          </p:cNvPr>
          <p:cNvSpPr>
            <a:spLocks noGrp="1"/>
          </p:cNvSpPr>
          <p:nvPr>
            <p:ph type="title"/>
          </p:nvPr>
        </p:nvSpPr>
        <p:spPr/>
        <p:txBody>
          <a:bodyPr/>
          <a:lstStyle/>
          <a:p>
            <a:r>
              <a:rPr lang="de-DE"/>
              <a:t>Mastertitelformat bearbeiten</a:t>
            </a:r>
          </a:p>
        </p:txBody>
      </p:sp>
      <p:sp>
        <p:nvSpPr>
          <p:cNvPr id="5" name="Text Placeholder 12">
            <a:extLst>
              <a:ext uri="{FF2B5EF4-FFF2-40B4-BE49-F238E27FC236}">
                <a16:creationId xmlns:a16="http://schemas.microsoft.com/office/drawing/2014/main" id="{D1D52720-2D2F-181B-5115-DA0DC0A7E07B}"/>
              </a:ext>
            </a:extLst>
          </p:cNvPr>
          <p:cNvSpPr>
            <a:spLocks noGrp="1"/>
          </p:cNvSpPr>
          <p:nvPr>
            <p:ph type="body" sz="quarter" idx="16" hasCustomPrompt="1"/>
          </p:nvPr>
        </p:nvSpPr>
        <p:spPr>
          <a:xfrm>
            <a:off x="540000" y="461650"/>
            <a:ext cx="7800665" cy="363850"/>
          </a:xfrm>
          <a:prstGeom prst="rect">
            <a:avLst/>
          </a:prstGeom>
        </p:spPr>
        <p:txBody>
          <a:bodyPr vert="horz" lIns="72000" tIns="36000" rIns="72000" bIns="36000" rtlCol="0" anchor="t">
            <a:noAutofit/>
          </a:bodyPr>
          <a:lstStyle>
            <a:lvl1pPr>
              <a:defRPr lang="nl-NL" sz="1300" b="0" i="0" dirty="0">
                <a:solidFill>
                  <a:schemeClr val="tx1"/>
                </a:solidFill>
                <a:latin typeface="+mj-lt"/>
              </a:defRPr>
            </a:lvl1pPr>
          </a:lstStyle>
          <a:p>
            <a:pPr lvl="0">
              <a:spcBef>
                <a:spcPct val="0"/>
              </a:spcBef>
            </a:pPr>
            <a:r>
              <a:rPr lang="en-GB" noProof="0" dirty="0"/>
              <a:t>Click to edit Description</a:t>
            </a:r>
          </a:p>
        </p:txBody>
      </p:sp>
    </p:spTree>
    <p:extLst>
      <p:ext uri="{BB962C8B-B14F-4D97-AF65-F5344CB8AC3E}">
        <p14:creationId xmlns:p14="http://schemas.microsoft.com/office/powerpoint/2010/main" val="23247457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0000" y="108000"/>
            <a:ext cx="7800665" cy="336550"/>
          </a:xfrm>
        </p:spPr>
        <p:txBody>
          <a:bodyPr vert="horz" lIns="72000" tIns="36000" rIns="72000" bIns="36000" rtlCol="0" anchor="t">
            <a:noAutofit/>
          </a:bodyPr>
          <a:lstStyle>
            <a:lvl1pPr>
              <a:defRPr lang="nl-NL" sz="1463" b="0" i="0" dirty="0">
                <a:solidFill>
                  <a:schemeClr val="tx1"/>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GB" noProof="0" dirty="0"/>
              <a:t>Click to edit Master title style</a:t>
            </a:r>
          </a:p>
        </p:txBody>
      </p:sp>
      <p:sp>
        <p:nvSpPr>
          <p:cNvPr id="13" name="Text Placeholder 12"/>
          <p:cNvSpPr>
            <a:spLocks noGrp="1"/>
          </p:cNvSpPr>
          <p:nvPr>
            <p:ph type="body" sz="quarter" idx="16" hasCustomPrompt="1"/>
          </p:nvPr>
        </p:nvSpPr>
        <p:spPr>
          <a:xfrm>
            <a:off x="540000" y="461650"/>
            <a:ext cx="7800665" cy="363850"/>
          </a:xfrm>
          <a:prstGeom prst="rect">
            <a:avLst/>
          </a:prstGeom>
        </p:spPr>
        <p:txBody>
          <a:bodyPr vert="horz" lIns="72000" tIns="36000" rIns="72000" bIns="36000" rtlCol="0" anchor="t">
            <a:noAutofit/>
          </a:bodyPr>
          <a:lstStyle>
            <a:lvl1pPr>
              <a:defRPr lang="nl-NL" sz="1300" b="0" i="0" dirty="0">
                <a:solidFill>
                  <a:schemeClr val="tx1"/>
                </a:solidFill>
                <a:latin typeface="+mj-lt"/>
              </a:defRPr>
            </a:lvl1pPr>
          </a:lstStyle>
          <a:p>
            <a:pPr lvl="0">
              <a:spcBef>
                <a:spcPct val="0"/>
              </a:spcBef>
            </a:pPr>
            <a:r>
              <a:rPr lang="en-GB" noProof="0"/>
              <a:t>Click to edit Description</a:t>
            </a:r>
          </a:p>
        </p:txBody>
      </p:sp>
      <p:sp>
        <p:nvSpPr>
          <p:cNvPr id="4" name="Content Placeholder 3"/>
          <p:cNvSpPr>
            <a:spLocks noGrp="1"/>
          </p:cNvSpPr>
          <p:nvPr>
            <p:ph sz="quarter" idx="17" hasCustomPrompt="1"/>
          </p:nvPr>
        </p:nvSpPr>
        <p:spPr>
          <a:xfrm>
            <a:off x="540000" y="1080000"/>
            <a:ext cx="8753884" cy="5316350"/>
          </a:xfrm>
          <a:prstGeom prst="rect">
            <a:avLst/>
          </a:prstGeom>
        </p:spPr>
        <p:txBody>
          <a:bodyPr/>
          <a:lstStyle>
            <a:lvl1pPr>
              <a:defRPr b="0" i="0">
                <a:solidFill>
                  <a:srgbClr val="AB5905"/>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1"/>
            <a:r>
              <a:rPr lang="en-GB" noProof="0"/>
              <a:t>[Add text]</a:t>
            </a:r>
          </a:p>
          <a:p>
            <a:pPr lvl="2"/>
            <a:r>
              <a:rPr lang="en-GB" noProof="0"/>
              <a:t>[Add text]</a:t>
            </a:r>
          </a:p>
          <a:p>
            <a:pPr lvl="3"/>
            <a:r>
              <a:rPr lang="en-GB" noProof="0"/>
              <a:t>[Add text]</a:t>
            </a:r>
          </a:p>
          <a:p>
            <a:pPr lvl="3"/>
            <a:endParaRPr lang="en-GB" noProof="0"/>
          </a:p>
          <a:p>
            <a:pPr lvl="3"/>
            <a:endParaRPr lang="en-GB" noProof="0"/>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70" y="6553202"/>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Tree>
    <p:extLst>
      <p:ext uri="{BB962C8B-B14F-4D97-AF65-F5344CB8AC3E}">
        <p14:creationId xmlns:p14="http://schemas.microsoft.com/office/powerpoint/2010/main" val="2944432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0000" y="108000"/>
            <a:ext cx="7779639" cy="336550"/>
          </a:xfrm>
        </p:spPr>
        <p:txBody>
          <a:bodyPr vert="horz" lIns="72000" tIns="36000" rIns="72000" bIns="36000" rtlCol="0" anchor="t">
            <a:noAutofit/>
          </a:bodyPr>
          <a:lstStyle>
            <a:lvl1pPr>
              <a:defRPr lang="nl-NL" sz="1463" b="0" i="0" dirty="0">
                <a:solidFill>
                  <a:schemeClr val="tx1"/>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GB" noProof="0"/>
              <a:t>Click to edit Master title style</a:t>
            </a:r>
          </a:p>
        </p:txBody>
      </p:sp>
      <p:sp>
        <p:nvSpPr>
          <p:cNvPr id="13" name="Text Placeholder 12"/>
          <p:cNvSpPr>
            <a:spLocks noGrp="1"/>
          </p:cNvSpPr>
          <p:nvPr>
            <p:ph type="body" sz="quarter" idx="16" hasCustomPrompt="1"/>
          </p:nvPr>
        </p:nvSpPr>
        <p:spPr>
          <a:xfrm>
            <a:off x="540001" y="461650"/>
            <a:ext cx="7779638" cy="363850"/>
          </a:xfrm>
          <a:prstGeom prst="rect">
            <a:avLst/>
          </a:prstGeom>
        </p:spPr>
        <p:txBody>
          <a:bodyPr vert="horz" lIns="72000" tIns="36000" rIns="72000" bIns="36000" rtlCol="0" anchor="t">
            <a:noAutofit/>
          </a:bodyPr>
          <a:lstStyle>
            <a:lvl1pPr>
              <a:defRPr lang="nl-NL" sz="1300" b="0" i="0" dirty="0">
                <a:solidFill>
                  <a:schemeClr val="tx1"/>
                </a:solidFill>
                <a:latin typeface="+mj-lt"/>
              </a:defRPr>
            </a:lvl1pPr>
          </a:lstStyle>
          <a:p>
            <a:pPr lvl="0">
              <a:spcBef>
                <a:spcPct val="0"/>
              </a:spcBef>
            </a:pPr>
            <a:r>
              <a:rPr lang="en-GB" noProof="0"/>
              <a:t>Click to edit Description</a:t>
            </a:r>
          </a:p>
          <a:p>
            <a:pPr lvl="0">
              <a:spcBef>
                <a:spcPct val="0"/>
              </a:spcBef>
            </a:pPr>
            <a:endParaRPr lang="en-GB" noProof="0"/>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70" y="6553202"/>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Tree>
    <p:extLst>
      <p:ext uri="{BB962C8B-B14F-4D97-AF65-F5344CB8AC3E}">
        <p14:creationId xmlns:p14="http://schemas.microsoft.com/office/powerpoint/2010/main" val="148990019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46.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oleObject" Target="../embeddings/oleObject1.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ags" Target="../tags/tag279.xml"/><Relationship Id="rId5" Type="http://schemas.openxmlformats.org/officeDocument/2006/relationships/slideLayout" Target="../slideLayouts/slideLayout10.xml"/><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4582A9D9-5E54-4A35-8253-E752DE894F9F}"/>
              </a:ext>
            </a:extLst>
          </p:cNvPr>
          <p:cNvPicPr>
            <a:picLocks noChangeAspect="1"/>
          </p:cNvPicPr>
          <p:nvPr userDrawn="1"/>
        </p:nvPicPr>
        <p:blipFill>
          <a:blip r:embed="rId7"/>
          <a:stretch>
            <a:fillRect/>
          </a:stretch>
        </p:blipFill>
        <p:spPr>
          <a:xfrm>
            <a:off x="0" y="0"/>
            <a:ext cx="9906000" cy="835819"/>
          </a:xfrm>
          <a:prstGeom prst="rect">
            <a:avLst/>
          </a:prstGeom>
        </p:spPr>
      </p:pic>
      <p:sp>
        <p:nvSpPr>
          <p:cNvPr id="2" name="Espace réservé du numéro de diapositive 1"/>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Title Placeholder 4"/>
          <p:cNvSpPr>
            <a:spLocks noGrp="1"/>
          </p:cNvSpPr>
          <p:nvPr>
            <p:ph type="title"/>
          </p:nvPr>
        </p:nvSpPr>
        <p:spPr>
          <a:xfrm>
            <a:off x="540000" y="108000"/>
            <a:ext cx="8543925" cy="336550"/>
          </a:xfrm>
          <a:prstGeom prst="rect">
            <a:avLst/>
          </a:prstGeom>
        </p:spPr>
        <p:txBody>
          <a:bodyPr vert="horz" lIns="72000" tIns="36000" rIns="72000" bIns="36000" rtlCol="0" anchor="t">
            <a:noAutofit/>
          </a:bodyPr>
          <a:lstStyle/>
          <a:p>
            <a:pPr lvl="0"/>
            <a:r>
              <a:rPr lang="en-US"/>
              <a:t>Click to edit Master title style</a:t>
            </a:r>
            <a:endParaRPr lang="nl-NL"/>
          </a:p>
        </p:txBody>
      </p:sp>
      <p:sp>
        <p:nvSpPr>
          <p:cNvPr id="3" name="Text Placeholder 2"/>
          <p:cNvSpPr>
            <a:spLocks noGrp="1"/>
          </p:cNvSpPr>
          <p:nvPr>
            <p:ph type="body" idx="1"/>
          </p:nvPr>
        </p:nvSpPr>
        <p:spPr>
          <a:xfrm>
            <a:off x="539999" y="1080000"/>
            <a:ext cx="9000000" cy="4351338"/>
          </a:xfrm>
          <a:prstGeom prst="rect">
            <a:avLst/>
          </a:prstGeom>
        </p:spPr>
        <p:txBody>
          <a:bodyPr vert="horz" lIns="91440" tIns="45720" rIns="91440" bIns="45720" rtlCol="0">
            <a:noAutofit/>
          </a:bodyPr>
          <a:lstStyle/>
          <a:p>
            <a:pPr lvl="0"/>
            <a:r>
              <a:rPr lang="en-US"/>
              <a:t>Edit Master text styles</a:t>
            </a:r>
          </a:p>
          <a:p>
            <a:pPr lvl="1"/>
            <a:r>
              <a:rPr lang="en-US"/>
              <a:t>[Add text]</a:t>
            </a:r>
          </a:p>
          <a:p>
            <a:pPr lvl="2"/>
            <a:r>
              <a:rPr lang="en-US"/>
              <a:t>[Add text]</a:t>
            </a:r>
          </a:p>
          <a:p>
            <a:pPr lvl="3"/>
            <a:r>
              <a:rPr lang="en-US"/>
              <a:t>[Add text]</a:t>
            </a:r>
          </a:p>
        </p:txBody>
      </p:sp>
      <p:sp>
        <p:nvSpPr>
          <p:cNvPr id="6" name="Tekstfelt 5">
            <a:extLst>
              <a:ext uri="{FF2B5EF4-FFF2-40B4-BE49-F238E27FC236}">
                <a16:creationId xmlns:a16="http://schemas.microsoft.com/office/drawing/2014/main" id="{E72668DC-8896-50FF-2DF5-15F2D11CB40B}"/>
              </a:ext>
            </a:extLst>
          </p:cNvPr>
          <p:cNvSpPr txBox="1"/>
          <p:nvPr userDrawn="1">
            <p:extLst>
              <p:ext uri="{1162E1C5-73C7-4A58-AE30-91384D911F3F}">
                <p184:classification xmlns:p184="http://schemas.microsoft.com/office/powerpoint/2018/4/main" val="ftr"/>
              </p:ext>
            </p:extLst>
          </p:nvPr>
        </p:nvSpPr>
        <p:spPr>
          <a:xfrm>
            <a:off x="8920163" y="6687820"/>
            <a:ext cx="942975" cy="106680"/>
          </a:xfrm>
          <a:prstGeom prst="rect">
            <a:avLst/>
          </a:prstGeom>
        </p:spPr>
        <p:txBody>
          <a:bodyPr horzOverflow="overflow" lIns="0" tIns="0" rIns="0" bIns="0">
            <a:spAutoFit/>
          </a:bodyPr>
          <a:lstStyle/>
          <a:p>
            <a:pPr algn="l"/>
            <a:r>
              <a:rPr lang="da-DK" sz="700">
                <a:solidFill>
                  <a:srgbClr val="AAC3C4">
                    <a:alpha val="50000"/>
                  </a:srgbClr>
                </a:solidFill>
                <a:latin typeface="Calibri light" panose="020F0302020204030204" pitchFamily="34" charset="0"/>
                <a:ea typeface="Calibri light" panose="020F0302020204030204" pitchFamily="34" charset="0"/>
                <a:cs typeface="Calibri light" panose="020F0302020204030204" pitchFamily="34" charset="0"/>
              </a:rPr>
              <a:t>Til arbejdsbrug/Restricted</a:t>
            </a:r>
          </a:p>
        </p:txBody>
      </p:sp>
    </p:spTree>
    <p:extLst>
      <p:ext uri="{BB962C8B-B14F-4D97-AF65-F5344CB8AC3E}">
        <p14:creationId xmlns:p14="http://schemas.microsoft.com/office/powerpoint/2010/main" val="335994827"/>
      </p:ext>
    </p:extLst>
  </p:cSld>
  <p:clrMap bg1="lt1" tx1="dk1" bg2="lt2" tx2="dk2" accent1="accent1" accent2="accent2" accent3="accent3" accent4="accent4" accent5="accent5" accent6="accent6" hlink="hlink" folHlink="folHlink"/>
  <p:sldLayoutIdLst>
    <p:sldLayoutId id="2147488782" r:id="rId1"/>
    <p:sldLayoutId id="2147488783" r:id="rId2"/>
    <p:sldLayoutId id="2147488786" r:id="rId3"/>
    <p:sldLayoutId id="2147488785" r:id="rId4"/>
    <p:sldLayoutId id="2147488798" r:id="rId5"/>
  </p:sldLayoutIdLst>
  <p:hf hdr="0" ftr="0" dt="0"/>
  <p:txStyles>
    <p:titleStyle>
      <a:lvl1pPr marL="0" indent="0" algn="l" rtl="0" eaLnBrk="1" fontAlgn="base" hangingPunct="1">
        <a:spcBef>
          <a:spcPct val="0"/>
        </a:spcBef>
        <a:spcAft>
          <a:spcPct val="0"/>
        </a:spcAft>
        <a:defRPr sz="1600" b="0" i="0">
          <a:solidFill>
            <a:srgbClr val="AB5905"/>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7C72B4-E5E9-6BC6-3CD3-1F5C500BF43D}"/>
              </a:ext>
            </a:extLst>
          </p:cNvPr>
          <p:cNvGraphicFramePr>
            <a:graphicFrameLocks noChangeAspect="1"/>
          </p:cNvGraphicFramePr>
          <p:nvPr userDrawn="1">
            <p:custDataLst>
              <p:tags r:id="rId11"/>
            </p:custDataLst>
            <p:extLst>
              <p:ext uri="{D42A27DB-BD31-4B8C-83A1-F6EECF244321}">
                <p14:modId xmlns:p14="http://schemas.microsoft.com/office/powerpoint/2010/main" val="194951035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Folie" r:id="rId12" imgW="501" imgH="501" progId="TCLayout.ActiveDocument.1">
                  <p:embed/>
                </p:oleObj>
              </mc:Choice>
              <mc:Fallback>
                <p:oleObj name="think-cell Folie" r:id="rId12" imgW="501" imgH="501" progId="TCLayout.ActiveDocument.1">
                  <p:embed/>
                  <p:pic>
                    <p:nvPicPr>
                      <p:cNvPr id="6" name="Object 5" hidden="1">
                        <a:extLst>
                          <a:ext uri="{FF2B5EF4-FFF2-40B4-BE49-F238E27FC236}">
                            <a16:creationId xmlns:a16="http://schemas.microsoft.com/office/drawing/2014/main" id="{0C7C72B4-E5E9-6BC6-3CD3-1F5C500BF43D}"/>
                          </a:ext>
                        </a:extLst>
                      </p:cNvPr>
                      <p:cNvPicPr/>
                      <p:nvPr/>
                    </p:nvPicPr>
                    <p:blipFill>
                      <a:blip r:embed="rId13"/>
                      <a:stretch>
                        <a:fillRect/>
                      </a:stretch>
                    </p:blipFill>
                    <p:spPr>
                      <a:xfrm>
                        <a:off x="1290" y="1588"/>
                        <a:ext cx="1290" cy="1588"/>
                      </a:xfrm>
                      <a:prstGeom prst="rect">
                        <a:avLst/>
                      </a:prstGeom>
                    </p:spPr>
                  </p:pic>
                </p:oleObj>
              </mc:Fallback>
            </mc:AlternateContent>
          </a:graphicData>
        </a:graphic>
      </p:graphicFrame>
      <p:pic>
        <p:nvPicPr>
          <p:cNvPr id="45" name="Picture 44">
            <a:extLst>
              <a:ext uri="{FF2B5EF4-FFF2-40B4-BE49-F238E27FC236}">
                <a16:creationId xmlns:a16="http://schemas.microsoft.com/office/drawing/2014/main" id="{4582A9D9-5E54-4A35-8253-E752DE894F9F}"/>
              </a:ext>
            </a:extLst>
          </p:cNvPr>
          <p:cNvPicPr>
            <a:picLocks noChangeAspect="1"/>
          </p:cNvPicPr>
          <p:nvPr userDrawn="1"/>
        </p:nvPicPr>
        <p:blipFill>
          <a:blip r:embed="rId14"/>
          <a:stretch>
            <a:fillRect/>
          </a:stretch>
        </p:blipFill>
        <p:spPr>
          <a:xfrm>
            <a:off x="0" y="2"/>
            <a:ext cx="9906000" cy="835819"/>
          </a:xfrm>
          <a:prstGeom prst="rect">
            <a:avLst/>
          </a:prstGeom>
        </p:spPr>
      </p:pic>
      <p:sp>
        <p:nvSpPr>
          <p:cNvPr id="2" name="Espace réservé du numéro de diapositive 1"/>
          <p:cNvSpPr>
            <a:spLocks noGrp="1"/>
          </p:cNvSpPr>
          <p:nvPr>
            <p:ph type="sldNum" sz="quarter" idx="4"/>
          </p:nvPr>
        </p:nvSpPr>
        <p:spPr>
          <a:xfrm>
            <a:off x="9148970" y="6553202"/>
            <a:ext cx="665523" cy="273089"/>
          </a:xfrm>
          <a:prstGeom prst="rect">
            <a:avLst/>
          </a:prstGeom>
        </p:spPr>
        <p:txBody>
          <a:bodyPr vert="horz" lIns="91440" tIns="45720" rIns="91440" bIns="45720" rtlCol="0" anchor="ctr"/>
          <a:lstStyle>
            <a:lvl1pPr algn="r">
              <a:defRPr sz="900" b="0" i="0">
                <a:solidFill>
                  <a:schemeClr val="tx1"/>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Title Placeholder 4"/>
          <p:cNvSpPr>
            <a:spLocks noGrp="1"/>
          </p:cNvSpPr>
          <p:nvPr>
            <p:ph type="title"/>
          </p:nvPr>
        </p:nvSpPr>
        <p:spPr>
          <a:xfrm>
            <a:off x="540001" y="108000"/>
            <a:ext cx="7779638" cy="336550"/>
          </a:xfrm>
          <a:prstGeom prst="rect">
            <a:avLst/>
          </a:prstGeom>
        </p:spPr>
        <p:txBody>
          <a:bodyPr vert="horz" lIns="72000" tIns="36000" rIns="72000" bIns="36000" rtlCol="0" anchor="t">
            <a:noAutofit/>
          </a:bodyPr>
          <a:lstStyle/>
          <a:p>
            <a:pPr lvl="0"/>
            <a:r>
              <a:rPr lang="en-GB" noProof="0" dirty="0"/>
              <a:t>Click to edit Master title style</a:t>
            </a:r>
          </a:p>
        </p:txBody>
      </p:sp>
      <p:sp>
        <p:nvSpPr>
          <p:cNvPr id="4" name="Textplatzhalter 3">
            <a:extLst>
              <a:ext uri="{FF2B5EF4-FFF2-40B4-BE49-F238E27FC236}">
                <a16:creationId xmlns:a16="http://schemas.microsoft.com/office/drawing/2014/main" id="{1675BB10-AA0D-AADE-C5DB-6B15565B67AD}"/>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kstfelt 6">
            <a:extLst>
              <a:ext uri="{FF2B5EF4-FFF2-40B4-BE49-F238E27FC236}">
                <a16:creationId xmlns:a16="http://schemas.microsoft.com/office/drawing/2014/main" id="{A813C50A-65D2-5C0A-4B17-B974DA652A92}"/>
              </a:ext>
            </a:extLst>
          </p:cNvPr>
          <p:cNvSpPr txBox="1"/>
          <p:nvPr>
            <p:extLst>
              <p:ext uri="{1162E1C5-73C7-4A58-AE30-91384D911F3F}">
                <p184:classification xmlns:p184="http://schemas.microsoft.com/office/powerpoint/2018/4/main" val="ftr"/>
              </p:ext>
            </p:extLst>
          </p:nvPr>
        </p:nvSpPr>
        <p:spPr>
          <a:xfrm>
            <a:off x="8920163" y="6687820"/>
            <a:ext cx="942975" cy="106680"/>
          </a:xfrm>
          <a:prstGeom prst="rect">
            <a:avLst/>
          </a:prstGeom>
        </p:spPr>
        <p:txBody>
          <a:bodyPr horzOverflow="overflow" lIns="0" tIns="0" rIns="0" bIns="0">
            <a:spAutoFit/>
          </a:bodyPr>
          <a:lstStyle/>
          <a:p>
            <a:pPr algn="l"/>
            <a:r>
              <a:rPr lang="da-DK" sz="700">
                <a:solidFill>
                  <a:srgbClr val="AAC3C4">
                    <a:alpha val="50000"/>
                  </a:srgbClr>
                </a:solidFill>
                <a:latin typeface="Calibri light" panose="020F0302020204030204" pitchFamily="34" charset="0"/>
                <a:ea typeface="Calibri light" panose="020F0302020204030204" pitchFamily="34" charset="0"/>
                <a:cs typeface="Calibri light" panose="020F0302020204030204" pitchFamily="34" charset="0"/>
              </a:rPr>
              <a:t>Til arbejdsbrug/Restricted</a:t>
            </a:r>
          </a:p>
        </p:txBody>
      </p:sp>
    </p:spTree>
    <p:extLst>
      <p:ext uri="{BB962C8B-B14F-4D97-AF65-F5344CB8AC3E}">
        <p14:creationId xmlns:p14="http://schemas.microsoft.com/office/powerpoint/2010/main" val="138609892"/>
      </p:ext>
    </p:extLst>
  </p:cSld>
  <p:clrMap bg1="lt1" tx1="dk1" bg2="lt2" tx2="dk2" accent1="accent1" accent2="accent2" accent3="accent3" accent4="accent4" accent5="accent5" accent6="accent6" hlink="hlink" folHlink="folHlink"/>
  <p:sldLayoutIdLst>
    <p:sldLayoutId id="2147488789" r:id="rId1"/>
    <p:sldLayoutId id="2147488790" r:id="rId2"/>
    <p:sldLayoutId id="2147488791" r:id="rId3"/>
    <p:sldLayoutId id="2147488792" r:id="rId4"/>
    <p:sldLayoutId id="2147488793" r:id="rId5"/>
    <p:sldLayoutId id="2147488794" r:id="rId6"/>
    <p:sldLayoutId id="2147488795" r:id="rId7"/>
    <p:sldLayoutId id="2147488796" r:id="rId8"/>
    <p:sldLayoutId id="2147488797" r:id="rId9"/>
  </p:sldLayoutIdLst>
  <p:hf hdr="0" ftr="0" dt="0"/>
  <p:txStyles>
    <p:titleStyle>
      <a:lvl1pPr marL="0" indent="0" algn="l" rtl="0" eaLnBrk="1" fontAlgn="base" hangingPunct="1">
        <a:spcBef>
          <a:spcPct val="0"/>
        </a:spcBef>
        <a:spcAft>
          <a:spcPct val="0"/>
        </a:spcAft>
        <a:defRPr sz="1463" b="0" i="0">
          <a:solidFill>
            <a:schemeClr val="tx1"/>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95" algn="l" rtl="0" eaLnBrk="1" fontAlgn="base" hangingPunct="1">
        <a:spcBef>
          <a:spcPct val="0"/>
        </a:spcBef>
        <a:spcAft>
          <a:spcPct val="0"/>
        </a:spcAft>
        <a:defRPr sz="1600">
          <a:solidFill>
            <a:schemeClr val="bg2"/>
          </a:solidFill>
          <a:latin typeface="+mj-lt"/>
        </a:defRPr>
      </a:lvl6pPr>
      <a:lvl7pPr marL="880589" algn="ctr" rtl="0" eaLnBrk="1" fontAlgn="base" hangingPunct="1">
        <a:spcBef>
          <a:spcPct val="0"/>
        </a:spcBef>
        <a:spcAft>
          <a:spcPct val="0"/>
        </a:spcAft>
        <a:defRPr sz="1600">
          <a:solidFill>
            <a:schemeClr val="bg2"/>
          </a:solidFill>
          <a:latin typeface="+mj-lt"/>
        </a:defRPr>
      </a:lvl7pPr>
      <a:lvl8pPr marL="1320884" algn="ctr" rtl="0" eaLnBrk="1" fontAlgn="base" hangingPunct="1">
        <a:spcBef>
          <a:spcPct val="0"/>
        </a:spcBef>
        <a:spcAft>
          <a:spcPct val="0"/>
        </a:spcAft>
        <a:defRPr sz="1600">
          <a:solidFill>
            <a:schemeClr val="bg2"/>
          </a:solidFill>
          <a:latin typeface="+mj-lt"/>
        </a:defRPr>
      </a:lvl8pPr>
      <a:lvl9pPr marL="1761178"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chemeClr val="tx1"/>
          </a:solidFill>
          <a:latin typeface="+mn-lt"/>
          <a:ea typeface="Arial Unicode MS" panose="020B0604020202020204" pitchFamily="34" charset="-128"/>
          <a:cs typeface="Arial" panose="020B0604020202020204" pitchFamily="34" charset="0"/>
        </a:defRPr>
      </a:lvl1pPr>
      <a:lvl2pPr marL="234000" marR="0" indent="-234000" algn="l" defTabSz="914423"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300" b="0" i="0">
          <a:solidFill>
            <a:schemeClr val="tx1"/>
          </a:solidFill>
          <a:latin typeface="+mn-lt"/>
          <a:ea typeface="Arial Unicode MS" panose="020B0604020202020204" pitchFamily="34" charset="-128"/>
          <a:cs typeface="Arial" panose="020B0604020202020204" pitchFamily="34" charset="0"/>
        </a:defRPr>
      </a:lvl2pPr>
      <a:lvl3pPr marL="468000" indent="-234000" algn="l" rtl="0" eaLnBrk="1" fontAlgn="base" hangingPunct="1">
        <a:spcBef>
          <a:spcPts val="400"/>
        </a:spcBef>
        <a:spcAft>
          <a:spcPct val="0"/>
        </a:spcAft>
        <a:buClrTx/>
        <a:buSzPct val="65000"/>
        <a:buFont typeface="Wingdings" panose="05000000000000000000" pitchFamily="2" charset="2"/>
        <a:buChar char="¡"/>
        <a:defRPr sz="1300" b="0" i="0">
          <a:solidFill>
            <a:schemeClr val="tx1"/>
          </a:solidFill>
          <a:latin typeface="+mn-lt"/>
          <a:ea typeface="Arial Unicode MS" panose="020B0604020202020204" pitchFamily="34" charset="-128"/>
          <a:cs typeface="Arial" panose="020B0604020202020204" pitchFamily="34" charset="0"/>
        </a:defRPr>
      </a:lvl3pPr>
      <a:lvl4pPr marL="731250" indent="-234000" algn="l" rtl="0" eaLnBrk="1" fontAlgn="base" hangingPunct="1">
        <a:spcBef>
          <a:spcPts val="400"/>
        </a:spcBef>
        <a:spcAft>
          <a:spcPct val="0"/>
        </a:spcAft>
        <a:buClrTx/>
        <a:buFont typeface="Wingdings" pitchFamily="2" charset="2"/>
        <a:buChar char="§"/>
        <a:defRPr sz="1300" b="0" i="0">
          <a:solidFill>
            <a:schemeClr val="tx1"/>
          </a:solidFill>
          <a:latin typeface="+mn-lt"/>
          <a:ea typeface="Arial Unicode MS" panose="020B0604020202020204" pitchFamily="34" charset="-128"/>
          <a:cs typeface="Arial" panose="020B0604020202020204" pitchFamily="34" charset="0"/>
        </a:defRPr>
      </a:lvl4pPr>
      <a:lvl5pPr marL="1111278" indent="-292108" algn="l" rtl="0" eaLnBrk="1" fontAlgn="base" hangingPunct="1">
        <a:spcBef>
          <a:spcPts val="400"/>
        </a:spcBef>
        <a:spcAft>
          <a:spcPct val="0"/>
        </a:spcAft>
        <a:buClrTx/>
        <a:buFont typeface="Arial" panose="020B0604020202020204" pitchFamily="34" charset="0"/>
        <a:buChar char="‒"/>
        <a:defRPr sz="1200">
          <a:solidFill>
            <a:schemeClr val="tx1"/>
          </a:solidFill>
          <a:latin typeface="+mn-lt"/>
          <a:ea typeface="Arial Unicode MS" panose="020B0604020202020204" pitchFamily="34" charset="-128"/>
          <a:cs typeface="Arial Unicode MS" panose="020B0604020202020204" pitchFamily="34" charset="-128"/>
        </a:defRPr>
      </a:lvl5pPr>
      <a:lvl6pPr marL="1435136" indent="-311157"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914" indent="-220148"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210" indent="-220148"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504" indent="-220148"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95" rtl="0" eaLnBrk="1" latinLnBrk="0" hangingPunct="1">
        <a:defRPr sz="1733" kern="1200">
          <a:solidFill>
            <a:schemeClr val="tx1"/>
          </a:solidFill>
          <a:latin typeface="+mn-lt"/>
          <a:ea typeface="+mn-ea"/>
          <a:cs typeface="+mn-cs"/>
        </a:defRPr>
      </a:lvl1pPr>
      <a:lvl2pPr marL="440295" algn="l" defTabSz="440295" rtl="0" eaLnBrk="1" latinLnBrk="0" hangingPunct="1">
        <a:defRPr sz="1733" kern="1200">
          <a:solidFill>
            <a:schemeClr val="tx1"/>
          </a:solidFill>
          <a:latin typeface="+mn-lt"/>
          <a:ea typeface="+mn-ea"/>
          <a:cs typeface="+mn-cs"/>
        </a:defRPr>
      </a:lvl2pPr>
      <a:lvl3pPr marL="880589" algn="l" defTabSz="440295" rtl="0" eaLnBrk="1" latinLnBrk="0" hangingPunct="1">
        <a:defRPr sz="1733" kern="1200">
          <a:solidFill>
            <a:schemeClr val="tx1"/>
          </a:solidFill>
          <a:latin typeface="+mn-lt"/>
          <a:ea typeface="+mn-ea"/>
          <a:cs typeface="+mn-cs"/>
        </a:defRPr>
      </a:lvl3pPr>
      <a:lvl4pPr marL="1320884" algn="l" defTabSz="440295" rtl="0" eaLnBrk="1" latinLnBrk="0" hangingPunct="1">
        <a:defRPr sz="1733" kern="1200">
          <a:solidFill>
            <a:schemeClr val="tx1"/>
          </a:solidFill>
          <a:latin typeface="+mn-lt"/>
          <a:ea typeface="+mn-ea"/>
          <a:cs typeface="+mn-cs"/>
        </a:defRPr>
      </a:lvl4pPr>
      <a:lvl5pPr marL="1761178" algn="l" defTabSz="440295" rtl="0" eaLnBrk="1" latinLnBrk="0" hangingPunct="1">
        <a:defRPr sz="1733" kern="1200">
          <a:solidFill>
            <a:schemeClr val="tx1"/>
          </a:solidFill>
          <a:latin typeface="+mn-lt"/>
          <a:ea typeface="+mn-ea"/>
          <a:cs typeface="+mn-cs"/>
        </a:defRPr>
      </a:lvl5pPr>
      <a:lvl6pPr marL="2201473" algn="l" defTabSz="440295" rtl="0" eaLnBrk="1" latinLnBrk="0" hangingPunct="1">
        <a:defRPr sz="1733" kern="1200">
          <a:solidFill>
            <a:schemeClr val="tx1"/>
          </a:solidFill>
          <a:latin typeface="+mn-lt"/>
          <a:ea typeface="+mn-ea"/>
          <a:cs typeface="+mn-cs"/>
        </a:defRPr>
      </a:lvl6pPr>
      <a:lvl7pPr marL="2641768" algn="l" defTabSz="440295" rtl="0" eaLnBrk="1" latinLnBrk="0" hangingPunct="1">
        <a:defRPr sz="1733" kern="1200">
          <a:solidFill>
            <a:schemeClr val="tx1"/>
          </a:solidFill>
          <a:latin typeface="+mn-lt"/>
          <a:ea typeface="+mn-ea"/>
          <a:cs typeface="+mn-cs"/>
        </a:defRPr>
      </a:lvl7pPr>
      <a:lvl8pPr marL="3082062" algn="l" defTabSz="440295" rtl="0" eaLnBrk="1" latinLnBrk="0" hangingPunct="1">
        <a:defRPr sz="1733" kern="1200">
          <a:solidFill>
            <a:schemeClr val="tx1"/>
          </a:solidFill>
          <a:latin typeface="+mn-lt"/>
          <a:ea typeface="+mn-ea"/>
          <a:cs typeface="+mn-cs"/>
        </a:defRPr>
      </a:lvl8pPr>
      <a:lvl9pPr marL="3522357" algn="l" defTabSz="440295"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5.xml"/><Relationship Id="rId5" Type="http://schemas.openxmlformats.org/officeDocument/2006/relationships/image" Target="../media/image43.png"/><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8" Type="http://schemas.openxmlformats.org/officeDocument/2006/relationships/hyperlink" Target="https://eepublicdownloads.blob.core.windows.net/public-cdn-container/clean-documents/Network%20codes%20documents/Implementation/picasso/PICASSO_press_release_platform_accession_Fingrid.pdf" TargetMode="External"/><Relationship Id="rId13" Type="http://schemas.openxmlformats.org/officeDocument/2006/relationships/hyperlink" Target="https://eepublicdownloads.blob.core.windows.net/public-cdn-container/clean-documents/Network%20codes%20documents/Implementation/picasso/PICASSO_press_release_platform_accession_PSE.pdf" TargetMode="External"/><Relationship Id="rId18" Type="http://schemas.openxmlformats.org/officeDocument/2006/relationships/hyperlink" Target="https://www.entsoe.eu/network_codes/eb/mari/" TargetMode="External"/><Relationship Id="rId3" Type="http://schemas.openxmlformats.org/officeDocument/2006/relationships/hyperlink" Target="https://www.entsoe.eu/documents/nc/NC%20EB/2025/250523_Communication_note_ELIA_go-live.pdf" TargetMode="External"/><Relationship Id="rId7" Type="http://schemas.openxmlformats.org/officeDocument/2006/relationships/hyperlink" Target="https://eepublicdownloads.blob.core.windows.net/public-cdn-container/clean-documents/Network%20codes%20documents/Implementation/picasso/PICASSO_press_release_platform_accession_IPTO-ADMIE.pdf" TargetMode="External"/><Relationship Id="rId12" Type="http://schemas.openxmlformats.org/officeDocument/2006/relationships/hyperlink" Target="https://eepublicdownloads.blob.core.windows.net/public-cdn-container/clean-documents/Network%20codes%20documents/Implementation/picasso/PICASSO_press_release_platform_accession_RE.pdf" TargetMode="External"/><Relationship Id="rId17" Type="http://schemas.openxmlformats.org/officeDocument/2006/relationships/hyperlink" Target="https://www.entsoe.eu/events/2025/11/04/balancing-platforms-stakeholders-workshop/" TargetMode="External"/><Relationship Id="rId2" Type="http://schemas.openxmlformats.org/officeDocument/2006/relationships/notesSlide" Target="../notesSlides/notesSlide2.xml"/><Relationship Id="rId16" Type="http://schemas.openxmlformats.org/officeDocument/2006/relationships/image" Target="../media/image52.png"/><Relationship Id="rId1" Type="http://schemas.openxmlformats.org/officeDocument/2006/relationships/slideLayout" Target="../slideLayouts/slideLayout1.xml"/><Relationship Id="rId6" Type="http://schemas.openxmlformats.org/officeDocument/2006/relationships/hyperlink" Target="https://eepublicdownloads.blob.core.windows.net/public-cdn-container/clean-documents/Network%20codes%20documents/Implementation/picasso/PICASSO_press_release_platform_accession_Litgrid.pdf" TargetMode="External"/><Relationship Id="rId11" Type="http://schemas.openxmlformats.org/officeDocument/2006/relationships/hyperlink" Target="https://eepublicdownloads.blob.core.windows.net/public-cdn-container/clean-documents/Network%20codes%20documents/Implementation/picasso/PICASSO_press_release_platform_accession_Elering.pdf" TargetMode="External"/><Relationship Id="rId5" Type="http://schemas.openxmlformats.org/officeDocument/2006/relationships/hyperlink" Target="https://eepublicdownloads.blob.core.windows.net/public-cdn-container/clean-documents/uploads/PICASSO_press_release_platform_accession_ESO.pdf" TargetMode="External"/><Relationship Id="rId15" Type="http://schemas.openxmlformats.org/officeDocument/2006/relationships/image" Target="../media/image51.png"/><Relationship Id="rId10" Type="http://schemas.openxmlformats.org/officeDocument/2006/relationships/hyperlink" Target="https://eepublicdownloads.blob.core.windows.net/public-cdn-container/clean-documents/Network%20codes%20documents/Implementation/picasso/PICASSO_press_release_platform_accession_AST.pdf" TargetMode="External"/><Relationship Id="rId19" Type="http://schemas.openxmlformats.org/officeDocument/2006/relationships/hyperlink" Target="https://www.entsoe.eu/network_codes/eb/picasso/" TargetMode="External"/><Relationship Id="rId4" Type="http://schemas.openxmlformats.org/officeDocument/2006/relationships/image" Target="../media/image49.png"/><Relationship Id="rId9" Type="http://schemas.openxmlformats.org/officeDocument/2006/relationships/hyperlink" Target="https://eepublicdownloads.blob.core.windows.net/public-cdn-container/clean-documents/Network%20codes%20documents/Implementation/picasso/PICASSO_press_release-platform_accession_RTE.pdf" TargetMode="External"/><Relationship Id="rId14" Type="http://schemas.openxmlformats.org/officeDocument/2006/relationships/image" Target="../media/image50.png"/></Relationships>
</file>

<file path=ppt/slides/_rels/slide4.xml.rels><?xml version="1.0" encoding="UTF-8" standalone="yes"?>
<Relationships xmlns="http://schemas.openxmlformats.org/package/2006/relationships"><Relationship Id="rId3" Type="http://schemas.openxmlformats.org/officeDocument/2006/relationships/hyperlink" Target="https://eepublicdownloads.blob.core.windows.net/public-cdn-container/clean-documents/Network%20codes%20documents/NC%20EB/2025/MARI_Accession_Roadmap_OCT_2025.pdf"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3.png"/></Relationships>
</file>

<file path=ppt/slides/_rels/slide5.xml.rels><?xml version="1.0" encoding="UTF-8" standalone="yes"?>
<Relationships xmlns="http://schemas.openxmlformats.org/package/2006/relationships"><Relationship Id="rId3" Type="http://schemas.openxmlformats.org/officeDocument/2006/relationships/hyperlink" Target="https://eepublicdownloads.blob.core.windows.net/public-cdn-container/clean-documents/Network%20codes%20documents/NC%20EB/2025/MARI_Accession_Roadmap_OCT_2025.pdf" TargetMode="External"/><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54.png"/></Relationships>
</file>

<file path=ppt/slides/_rels/slide6.xml.rels><?xml version="1.0" encoding="UTF-8" standalone="yes"?>
<Relationships xmlns="http://schemas.openxmlformats.org/package/2006/relationships"><Relationship Id="rId3" Type="http://schemas.openxmlformats.org/officeDocument/2006/relationships/hyperlink" Target="https://eepublicdownloads.blob.core.windows.net/public-cdn-container/clean-documents/Network%20codes%20documents/NC%20EB/2025/MARI_Accession_Roadmap_OCT_2025.pdf" TargetMode="External"/><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55.png"/></Relationships>
</file>

<file path=ppt/slides/_rels/slide7.xml.rels><?xml version="1.0" encoding="UTF-8" standalone="yes"?>
<Relationships xmlns="http://schemas.openxmlformats.org/package/2006/relationships"><Relationship Id="rId3" Type="http://schemas.openxmlformats.org/officeDocument/2006/relationships/hyperlink" Target="https://eepublicdownloads.blob.core.windows.net/public-cdn-container/clean-documents/Network%20codes%20documents/NC%20EB/2025/MARI_Accession_Roadmap_OCT_2025.pdf" TargetMode="External"/><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5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vert="horz" lIns="91440" tIns="45720" rIns="91440" bIns="45720" rtlCol="0" anchor="t">
            <a:noAutofit/>
          </a:bodyPr>
          <a:lstStyle/>
          <a:p>
            <a:r>
              <a:rPr lang="lv-LV" noProof="0" dirty="0">
                <a:solidFill>
                  <a:schemeClr val="tx1"/>
                </a:solidFill>
              </a:rPr>
              <a:t>December 3rd</a:t>
            </a:r>
            <a:r>
              <a:rPr lang="en-GB" noProof="0" dirty="0">
                <a:solidFill>
                  <a:schemeClr val="tx1"/>
                </a:solidFill>
              </a:rPr>
              <a:t>, 2025</a:t>
            </a:r>
          </a:p>
          <a:p>
            <a:r>
              <a:rPr lang="en-GB" noProof="0" dirty="0">
                <a:solidFill>
                  <a:schemeClr val="tx1"/>
                </a:solidFill>
              </a:rPr>
              <a:t>MESC</a:t>
            </a:r>
          </a:p>
        </p:txBody>
      </p:sp>
      <p:sp>
        <p:nvSpPr>
          <p:cNvPr id="4" name="Text Placeholder 3"/>
          <p:cNvSpPr>
            <a:spLocks noGrp="1"/>
          </p:cNvSpPr>
          <p:nvPr>
            <p:ph type="body" sz="quarter" idx="12"/>
          </p:nvPr>
        </p:nvSpPr>
        <p:spPr/>
        <p:txBody>
          <a:bodyPr/>
          <a:lstStyle/>
          <a:p>
            <a:r>
              <a:rPr lang="en-GB" noProof="0" dirty="0">
                <a:solidFill>
                  <a:schemeClr val="tx1"/>
                </a:solidFill>
              </a:rPr>
              <a:t>Update on Balancing Platforms</a:t>
            </a:r>
          </a:p>
        </p:txBody>
      </p:sp>
    </p:spTree>
    <p:extLst>
      <p:ext uri="{BB962C8B-B14F-4D97-AF65-F5344CB8AC3E}">
        <p14:creationId xmlns:p14="http://schemas.microsoft.com/office/powerpoint/2010/main" val="15484088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59A034-54CE-5A08-CDE5-1BD0B1CA298E}"/>
              </a:ext>
            </a:extLst>
          </p:cNvPr>
          <p:cNvSpPr>
            <a:spLocks noGrp="1"/>
          </p:cNvSpPr>
          <p:nvPr>
            <p:ph type="title"/>
          </p:nvPr>
        </p:nvSpPr>
        <p:spPr/>
        <p:txBody>
          <a:bodyPr/>
          <a:lstStyle/>
          <a:p>
            <a:r>
              <a:rPr lang="en-GB" dirty="0"/>
              <a:t>Introduction</a:t>
            </a:r>
          </a:p>
        </p:txBody>
      </p:sp>
      <p:sp>
        <p:nvSpPr>
          <p:cNvPr id="4" name="Foliennummernplatzhalter 3">
            <a:extLst>
              <a:ext uri="{FF2B5EF4-FFF2-40B4-BE49-F238E27FC236}">
                <a16:creationId xmlns:a16="http://schemas.microsoft.com/office/drawing/2014/main" id="{8C097BA5-3B55-DBDD-634F-2B623F99D4ED}"/>
              </a:ext>
            </a:extLst>
          </p:cNvPr>
          <p:cNvSpPr>
            <a:spLocks noGrp="1"/>
          </p:cNvSpPr>
          <p:nvPr>
            <p:ph type="sldNum" sz="quarter" idx="4"/>
          </p:nvPr>
        </p:nvSpPr>
        <p:spPr/>
        <p:txBody>
          <a:bodyPr/>
          <a:lstStyle/>
          <a:p>
            <a:fld id="{552108FB-23E0-4454-978B-54EB3005B0BA}" type="slidenum">
              <a:rPr lang="en-GB" smtClean="0"/>
              <a:pPr/>
              <a:t>1</a:t>
            </a:fld>
            <a:endParaRPr lang="en-GB" dirty="0"/>
          </a:p>
        </p:txBody>
      </p:sp>
      <p:sp>
        <p:nvSpPr>
          <p:cNvPr id="5" name="Textplatzhalter 4">
            <a:extLst>
              <a:ext uri="{FF2B5EF4-FFF2-40B4-BE49-F238E27FC236}">
                <a16:creationId xmlns:a16="http://schemas.microsoft.com/office/drawing/2014/main" id="{3AD96BEF-5434-9860-3A93-4B640FE20C77}"/>
              </a:ext>
            </a:extLst>
          </p:cNvPr>
          <p:cNvSpPr>
            <a:spLocks noGrp="1"/>
          </p:cNvSpPr>
          <p:nvPr>
            <p:ph type="body" sz="quarter" idx="16"/>
          </p:nvPr>
        </p:nvSpPr>
        <p:spPr/>
        <p:txBody>
          <a:bodyPr/>
          <a:lstStyle/>
          <a:p>
            <a:r>
              <a:rPr lang="en-GB" dirty="0"/>
              <a:t>Overview on current status of European Balancing Platforms</a:t>
            </a:r>
          </a:p>
          <a:p>
            <a:endParaRPr lang="en-GB" dirty="0"/>
          </a:p>
        </p:txBody>
      </p:sp>
      <p:sp>
        <p:nvSpPr>
          <p:cNvPr id="6" name="Content Placeholder 6">
            <a:extLst>
              <a:ext uri="{FF2B5EF4-FFF2-40B4-BE49-F238E27FC236}">
                <a16:creationId xmlns:a16="http://schemas.microsoft.com/office/drawing/2014/main" id="{C8851CD5-222F-4DDB-8597-7C962AF9E866}"/>
              </a:ext>
            </a:extLst>
          </p:cNvPr>
          <p:cNvSpPr txBox="1">
            <a:spLocks/>
          </p:cNvSpPr>
          <p:nvPr/>
        </p:nvSpPr>
        <p:spPr>
          <a:xfrm>
            <a:off x="848968" y="5847409"/>
            <a:ext cx="7823977" cy="612058"/>
          </a:xfrm>
          <a:prstGeom prst="rect">
            <a:avLst/>
          </a:prstGeom>
          <a:noFill/>
          <a:ln>
            <a:noFill/>
          </a:ln>
        </p:spPr>
        <p:txBody>
          <a:bodyPr vert="horz" lIns="74295" tIns="37148" rIns="74295" bIns="37148" rtlCol="0" anchor="t">
            <a:noAutofit/>
          </a:bodyPr>
          <a:lstStyle>
            <a:defPPr>
              <a:defRPr lang="fr-FR"/>
            </a:defPPr>
            <a:lvl1pPr marL="228600" indent="-228600" defTabSz="914400" eaLnBrk="1" latinLnBrk="0" hangingPunct="1">
              <a:lnSpc>
                <a:spcPct val="90000"/>
              </a:lnSpc>
              <a:spcBef>
                <a:spcPts val="1000"/>
              </a:spcBef>
              <a:buFont typeface="Arial" panose="020B0604020202020204" pitchFamily="34" charset="0"/>
              <a:buChar char="•"/>
              <a:defRPr sz="1600">
                <a:latin typeface="Arial" panose="020B0604020202020204" pitchFamily="34" charset="0"/>
                <a:ea typeface="+mn-ea"/>
                <a:cs typeface="Arial" panose="020B0604020202020204" pitchFamily="34" charset="0"/>
              </a:defRPr>
            </a:lvl1pPr>
            <a:lvl2pPr marL="504000" lvl="1" indent="-228600" defTabSz="914400" eaLnBrk="1" latinLnBrk="0" hangingPunct="1">
              <a:lnSpc>
                <a:spcPct val="90000"/>
              </a:lnSpc>
              <a:spcBef>
                <a:spcPts val="500"/>
              </a:spcBef>
              <a:buSzPct val="100000"/>
              <a:buFont typeface="Wingdings" panose="05000000000000000000" pitchFamily="2" charset="2"/>
              <a:buChar char="Ø"/>
              <a:defRPr sz="1138">
                <a:latin typeface="Arial" panose="020B0604020202020204" pitchFamily="34" charset="0"/>
                <a:ea typeface="+mn-ea"/>
                <a:cs typeface="Arial" panose="020B0604020202020204" pitchFamily="34" charset="0"/>
              </a:defRPr>
            </a:lvl2pPr>
            <a:lvl3pPr marL="900000" indent="-228600" defTabSz="914400" eaLnBrk="1" latinLnBrk="0" hangingPunct="1">
              <a:lnSpc>
                <a:spcPct val="90000"/>
              </a:lnSpc>
              <a:spcBef>
                <a:spcPts val="500"/>
              </a:spcBef>
              <a:buFont typeface="Arial" panose="020B0604020202020204" pitchFamily="34" charset="0"/>
              <a:buChar char="•"/>
              <a:defRPr sz="1600">
                <a:latin typeface="Arial" panose="020B0604020202020204" pitchFamily="34" charset="0"/>
                <a:ea typeface="+mn-ea"/>
                <a:cs typeface="Arial" panose="020B0604020202020204" pitchFamily="34" charset="0"/>
              </a:defRPr>
            </a:lvl3pPr>
            <a:lvl4pPr marL="1260000" indent="-228600" defTabSz="914400" eaLnBrk="1" latinLnBrk="0" hangingPunct="1">
              <a:lnSpc>
                <a:spcPct val="90000"/>
              </a:lnSpc>
              <a:spcBef>
                <a:spcPts val="500"/>
              </a:spcBef>
              <a:buFont typeface="Symbol" panose="05050102010706020507" pitchFamily="18" charset="2"/>
              <a:buChar char="-"/>
              <a:defRPr sz="1600">
                <a:latin typeface="Arial" panose="020B0604020202020204" pitchFamily="34" charset="0"/>
                <a:ea typeface="+mn-ea"/>
                <a:cs typeface="Arial" panose="020B0604020202020204" pitchFamily="34" charset="0"/>
              </a:defRPr>
            </a:lvl4pPr>
            <a:lvl5pPr marL="1620000" indent="-228600" defTabSz="914400" eaLnBrk="1" latinLnBrk="0" hangingPunct="1">
              <a:lnSpc>
                <a:spcPct val="90000"/>
              </a:lnSpc>
              <a:spcBef>
                <a:spcPts val="500"/>
              </a:spcBef>
              <a:buFont typeface="Arial" panose="020B0604020202020204" pitchFamily="34" charset="0"/>
              <a:buChar char="•"/>
              <a:defRPr sz="1600">
                <a:latin typeface="Arial" panose="020B0604020202020204" pitchFamily="34" charset="0"/>
                <a:ea typeface="+mn-ea"/>
                <a:cs typeface="Arial" panose="020B0604020202020204" pitchFamily="34" charset="0"/>
              </a:defRPr>
            </a:lvl5pPr>
            <a:lvl6pPr marL="2514600" indent="-228600" defTabSz="914400">
              <a:lnSpc>
                <a:spcPct val="90000"/>
              </a:lnSpc>
              <a:spcBef>
                <a:spcPts val="500"/>
              </a:spcBef>
              <a:buFont typeface="Arial" panose="020B0604020202020204" pitchFamily="34" charset="0"/>
              <a:buChar char="•"/>
              <a:defRPr sz="1800">
                <a:latin typeface="+mn-lt"/>
                <a:ea typeface="+mn-ea"/>
                <a:cs typeface="+mn-cs"/>
              </a:defRPr>
            </a:lvl6pPr>
            <a:lvl7pPr marL="2971800" indent="-228600" defTabSz="914400">
              <a:lnSpc>
                <a:spcPct val="90000"/>
              </a:lnSpc>
              <a:spcBef>
                <a:spcPts val="500"/>
              </a:spcBef>
              <a:buFont typeface="Arial" panose="020B0604020202020204" pitchFamily="34" charset="0"/>
              <a:buChar char="•"/>
              <a:defRPr sz="1800">
                <a:latin typeface="+mn-lt"/>
                <a:ea typeface="+mn-ea"/>
                <a:cs typeface="+mn-cs"/>
              </a:defRPr>
            </a:lvl7pPr>
            <a:lvl8pPr marL="3429000" indent="-228600" defTabSz="914400">
              <a:lnSpc>
                <a:spcPct val="90000"/>
              </a:lnSpc>
              <a:spcBef>
                <a:spcPts val="500"/>
              </a:spcBef>
              <a:buFont typeface="Arial" panose="020B0604020202020204" pitchFamily="34" charset="0"/>
              <a:buChar char="•"/>
              <a:defRPr sz="1800">
                <a:latin typeface="+mn-lt"/>
                <a:ea typeface="+mn-ea"/>
                <a:cs typeface="+mn-cs"/>
              </a:defRPr>
            </a:lvl8pPr>
            <a:lvl9pPr marL="3886200" indent="-228600" defTabSz="914400">
              <a:lnSpc>
                <a:spcPct val="90000"/>
              </a:lnSpc>
              <a:spcBef>
                <a:spcPts val="500"/>
              </a:spcBef>
              <a:buFont typeface="Arial" panose="020B0604020202020204" pitchFamily="34" charset="0"/>
              <a:buChar char="•"/>
              <a:defRPr sz="1800">
                <a:latin typeface="+mn-lt"/>
                <a:ea typeface="+mn-ea"/>
                <a:cs typeface="+mn-cs"/>
              </a:defRPr>
            </a:lvl9pPr>
          </a:lstStyle>
          <a:p>
            <a:pPr lvl="1"/>
            <a:r>
              <a:rPr lang="en-GB" sz="1400" dirty="0"/>
              <a:t>European market design has significantly changed the local procurement rules.</a:t>
            </a:r>
          </a:p>
          <a:p>
            <a:pPr lvl="1"/>
            <a:r>
              <a:rPr lang="en-GB" sz="1400" dirty="0"/>
              <a:t>In 2024 all platforms together achieved an economic surplus of more than 1,450 Mio. €</a:t>
            </a:r>
          </a:p>
        </p:txBody>
      </p:sp>
      <p:graphicFrame>
        <p:nvGraphicFramePr>
          <p:cNvPr id="1849" name="Tabelle 4">
            <a:extLst>
              <a:ext uri="{FF2B5EF4-FFF2-40B4-BE49-F238E27FC236}">
                <a16:creationId xmlns:a16="http://schemas.microsoft.com/office/drawing/2014/main" id="{FD077C38-9B43-BED9-793D-C48B7390C90C}"/>
              </a:ext>
            </a:extLst>
          </p:cNvPr>
          <p:cNvGraphicFramePr>
            <a:graphicFrameLocks noGrp="1"/>
          </p:cNvGraphicFramePr>
          <p:nvPr>
            <p:extLst>
              <p:ext uri="{D42A27DB-BD31-4B8C-83A1-F6EECF244321}">
                <p14:modId xmlns:p14="http://schemas.microsoft.com/office/powerpoint/2010/main" val="2054316855"/>
              </p:ext>
            </p:extLst>
          </p:nvPr>
        </p:nvGraphicFramePr>
        <p:xfrm>
          <a:off x="444108" y="1288524"/>
          <a:ext cx="9184500" cy="4280951"/>
        </p:xfrm>
        <a:graphic>
          <a:graphicData uri="http://schemas.openxmlformats.org/drawingml/2006/table">
            <a:tbl>
              <a:tblPr firstRow="1" bandRow="1">
                <a:tableStyleId>{5940675A-B579-460E-94D1-54222C63F5DA}</a:tableStyleId>
              </a:tblPr>
              <a:tblGrid>
                <a:gridCol w="1203158">
                  <a:extLst>
                    <a:ext uri="{9D8B030D-6E8A-4147-A177-3AD203B41FA5}">
                      <a16:colId xmlns:a16="http://schemas.microsoft.com/office/drawing/2014/main" val="2479466062"/>
                    </a:ext>
                  </a:extLst>
                </a:gridCol>
                <a:gridCol w="1838842">
                  <a:extLst>
                    <a:ext uri="{9D8B030D-6E8A-4147-A177-3AD203B41FA5}">
                      <a16:colId xmlns:a16="http://schemas.microsoft.com/office/drawing/2014/main" val="1939237048"/>
                    </a:ext>
                  </a:extLst>
                </a:gridCol>
                <a:gridCol w="2047500">
                  <a:extLst>
                    <a:ext uri="{9D8B030D-6E8A-4147-A177-3AD203B41FA5}">
                      <a16:colId xmlns:a16="http://schemas.microsoft.com/office/drawing/2014/main" val="1255074970"/>
                    </a:ext>
                  </a:extLst>
                </a:gridCol>
                <a:gridCol w="2047500">
                  <a:extLst>
                    <a:ext uri="{9D8B030D-6E8A-4147-A177-3AD203B41FA5}">
                      <a16:colId xmlns:a16="http://schemas.microsoft.com/office/drawing/2014/main" val="1762177968"/>
                    </a:ext>
                  </a:extLst>
                </a:gridCol>
                <a:gridCol w="2047500">
                  <a:extLst>
                    <a:ext uri="{9D8B030D-6E8A-4147-A177-3AD203B41FA5}">
                      <a16:colId xmlns:a16="http://schemas.microsoft.com/office/drawing/2014/main" val="1825307574"/>
                    </a:ext>
                  </a:extLst>
                </a:gridCol>
              </a:tblGrid>
              <a:tr h="229076">
                <a:tc>
                  <a:txBody>
                    <a:bodyPr/>
                    <a:lstStyle/>
                    <a:p>
                      <a:pPr>
                        <a:buNone/>
                      </a:pPr>
                      <a:endParaRPr lang="en-GB" sz="1200" b="1" noProof="0" dirty="0">
                        <a:solidFill>
                          <a:schemeClr val="tx1"/>
                        </a:solidFill>
                        <a:latin typeface="Calibri" panose="020F0502020204030204" pitchFamily="34" charset="0"/>
                        <a:cs typeface="Calibri" panose="020F0502020204030204" pitchFamily="34" charset="0"/>
                      </a:endParaRPr>
                    </a:p>
                  </a:txBody>
                  <a:tcPr marL="74295" marR="74295" marT="37148" marB="37148" anchor="ctr">
                    <a:solidFill>
                      <a:schemeClr val="bg2">
                        <a:lumMod val="60000"/>
                        <a:lumOff val="40000"/>
                      </a:schemeClr>
                    </a:solidFill>
                  </a:tcPr>
                </a:tc>
                <a:tc>
                  <a:txBody>
                    <a:bodyPr/>
                    <a:lstStyle/>
                    <a:p>
                      <a:pPr algn="ctr"/>
                      <a:r>
                        <a:rPr lang="en-GB" sz="1200" b="1" noProof="0" dirty="0">
                          <a:solidFill>
                            <a:schemeClr val="tx1"/>
                          </a:solidFill>
                          <a:latin typeface="Calibri" panose="020F0502020204030204" pitchFamily="34" charset="0"/>
                          <a:cs typeface="Calibri" panose="020F0502020204030204" pitchFamily="34" charset="0"/>
                        </a:rPr>
                        <a:t>IGCC</a:t>
                      </a:r>
                    </a:p>
                  </a:txBody>
                  <a:tcPr marL="74295" marR="74295" marT="37148" marB="37148" anchor="ctr">
                    <a:solidFill>
                      <a:schemeClr val="bg2">
                        <a:lumMod val="60000"/>
                        <a:lumOff val="40000"/>
                      </a:schemeClr>
                    </a:solidFill>
                  </a:tcPr>
                </a:tc>
                <a:tc>
                  <a:txBody>
                    <a:bodyPr/>
                    <a:lstStyle/>
                    <a:p>
                      <a:pPr algn="ctr"/>
                      <a:r>
                        <a:rPr lang="en-GB" sz="1200" b="1" noProof="0" dirty="0">
                          <a:solidFill>
                            <a:schemeClr val="tx1"/>
                          </a:solidFill>
                          <a:latin typeface="Calibri" panose="020F0502020204030204" pitchFamily="34" charset="0"/>
                          <a:cs typeface="Calibri" panose="020F0502020204030204" pitchFamily="34" charset="0"/>
                        </a:rPr>
                        <a:t>PICASSO</a:t>
                      </a:r>
                    </a:p>
                  </a:txBody>
                  <a:tcPr marL="74295" marR="74295" marT="37148" marB="37148" anchor="ctr">
                    <a:solidFill>
                      <a:schemeClr val="bg2">
                        <a:lumMod val="60000"/>
                        <a:lumOff val="40000"/>
                      </a:schemeClr>
                    </a:solidFill>
                  </a:tcPr>
                </a:tc>
                <a:tc>
                  <a:txBody>
                    <a:bodyPr/>
                    <a:lstStyle/>
                    <a:p>
                      <a:pPr algn="ctr"/>
                      <a:r>
                        <a:rPr lang="en-GB" sz="1200" b="1" noProof="0" dirty="0">
                          <a:solidFill>
                            <a:schemeClr val="tx1"/>
                          </a:solidFill>
                          <a:latin typeface="Calibri" panose="020F0502020204030204" pitchFamily="34" charset="0"/>
                          <a:cs typeface="Calibri" panose="020F0502020204030204" pitchFamily="34" charset="0"/>
                        </a:rPr>
                        <a:t>MARI</a:t>
                      </a:r>
                    </a:p>
                  </a:txBody>
                  <a:tcPr marL="74295" marR="74295" marT="37148" marB="37148" anchor="ctr">
                    <a:solidFill>
                      <a:schemeClr val="bg2">
                        <a:lumMod val="60000"/>
                        <a:lumOff val="40000"/>
                      </a:schemeClr>
                    </a:solidFill>
                  </a:tcPr>
                </a:tc>
                <a:tc>
                  <a:txBody>
                    <a:bodyPr/>
                    <a:lstStyle/>
                    <a:p>
                      <a:pPr algn="ctr"/>
                      <a:r>
                        <a:rPr lang="en-GB" sz="1200" b="1" noProof="0" dirty="0">
                          <a:solidFill>
                            <a:schemeClr val="tx1"/>
                          </a:solidFill>
                          <a:latin typeface="Calibri" panose="020F0502020204030204" pitchFamily="34" charset="0"/>
                          <a:cs typeface="Calibri" panose="020F0502020204030204" pitchFamily="34" charset="0"/>
                        </a:rPr>
                        <a:t>TERRE</a:t>
                      </a:r>
                    </a:p>
                  </a:txBody>
                  <a:tcPr marL="74295" marR="74295" marT="37148" marB="37148" anchor="ctr">
                    <a:solidFill>
                      <a:schemeClr val="bg2">
                        <a:lumMod val="60000"/>
                        <a:lumOff val="40000"/>
                      </a:schemeClr>
                    </a:solidFill>
                  </a:tcPr>
                </a:tc>
                <a:extLst>
                  <a:ext uri="{0D108BD9-81ED-4DB2-BD59-A6C34878D82A}">
                    <a16:rowId xmlns:a16="http://schemas.microsoft.com/office/drawing/2014/main" val="4197677258"/>
                  </a:ext>
                </a:extLst>
              </a:tr>
              <a:tr h="301275">
                <a:tc>
                  <a:txBody>
                    <a:bodyPr/>
                    <a:lstStyle/>
                    <a:p>
                      <a:r>
                        <a:rPr lang="en-GB" sz="1200" noProof="0" dirty="0">
                          <a:solidFill>
                            <a:schemeClr val="tx1"/>
                          </a:solidFill>
                          <a:latin typeface="Calibri" panose="020F0502020204030204" pitchFamily="34" charset="0"/>
                          <a:cs typeface="Calibri" panose="020F0502020204030204" pitchFamily="34" charset="0"/>
                        </a:rPr>
                        <a:t>Balancing Service</a:t>
                      </a:r>
                    </a:p>
                  </a:txBody>
                  <a:tcPr marL="74295" marR="74295" marT="37148" marB="37148" anchor="ctr"/>
                </a:tc>
                <a:tc>
                  <a:txBody>
                    <a:bodyPr/>
                    <a:lstStyle/>
                    <a:p>
                      <a:pPr algn="ctr"/>
                      <a:r>
                        <a:rPr lang="en-GB" sz="1200" noProof="0" dirty="0">
                          <a:solidFill>
                            <a:schemeClr val="tx1"/>
                          </a:solidFill>
                          <a:latin typeface="Calibri" panose="020F0502020204030204" pitchFamily="34" charset="0"/>
                          <a:cs typeface="Calibri" panose="020F0502020204030204" pitchFamily="34" charset="0"/>
                        </a:rPr>
                        <a:t>Imbalance Netting</a:t>
                      </a:r>
                    </a:p>
                  </a:txBody>
                  <a:tcPr marL="74295" marR="74295" marT="37148" marB="37148" anchor="ctr"/>
                </a:tc>
                <a:tc>
                  <a:txBody>
                    <a:bodyPr/>
                    <a:lstStyle/>
                    <a:p>
                      <a:pPr algn="ctr"/>
                      <a:r>
                        <a:rPr lang="en-GB" sz="1200" noProof="0" dirty="0">
                          <a:solidFill>
                            <a:schemeClr val="tx1"/>
                          </a:solidFill>
                          <a:latin typeface="Calibri" panose="020F0502020204030204" pitchFamily="34" charset="0"/>
                          <a:cs typeface="Calibri" panose="020F0502020204030204" pitchFamily="34" charset="0"/>
                        </a:rPr>
                        <a:t>aFRR</a:t>
                      </a:r>
                    </a:p>
                  </a:txBody>
                  <a:tcPr marL="74295" marR="74295" marT="37148" marB="37148" anchor="ctr"/>
                </a:tc>
                <a:tc>
                  <a:txBody>
                    <a:bodyPr/>
                    <a:lstStyle/>
                    <a:p>
                      <a:pPr algn="ctr"/>
                      <a:r>
                        <a:rPr lang="en-GB" sz="1200" noProof="0" dirty="0">
                          <a:solidFill>
                            <a:schemeClr val="tx1"/>
                          </a:solidFill>
                          <a:latin typeface="Calibri" panose="020F0502020204030204" pitchFamily="34" charset="0"/>
                          <a:cs typeface="Calibri" panose="020F0502020204030204" pitchFamily="34" charset="0"/>
                        </a:rPr>
                        <a:t>mFRR</a:t>
                      </a:r>
                    </a:p>
                  </a:txBody>
                  <a:tcPr marL="74295" marR="74295" marT="37148" marB="37148" anchor="ctr"/>
                </a:tc>
                <a:tc>
                  <a:txBody>
                    <a:bodyPr/>
                    <a:lstStyle/>
                    <a:p>
                      <a:pPr algn="ctr"/>
                      <a:r>
                        <a:rPr lang="en-GB" sz="1200" noProof="0" dirty="0">
                          <a:solidFill>
                            <a:schemeClr val="tx1"/>
                          </a:solidFill>
                          <a:latin typeface="Calibri" panose="020F0502020204030204" pitchFamily="34" charset="0"/>
                          <a:cs typeface="Calibri" panose="020F0502020204030204" pitchFamily="34" charset="0"/>
                        </a:rPr>
                        <a:t>RR</a:t>
                      </a:r>
                    </a:p>
                  </a:txBody>
                  <a:tcPr marL="74295" marR="74295" marT="37148" marB="37148" anchor="ctr"/>
                </a:tc>
                <a:extLst>
                  <a:ext uri="{0D108BD9-81ED-4DB2-BD59-A6C34878D82A}">
                    <a16:rowId xmlns:a16="http://schemas.microsoft.com/office/drawing/2014/main" val="2407050293"/>
                  </a:ext>
                </a:extLst>
              </a:tr>
              <a:tr h="1316250">
                <a:tc>
                  <a:txBody>
                    <a:bodyPr/>
                    <a:lstStyle/>
                    <a:p>
                      <a:r>
                        <a:rPr lang="en-GB" sz="1200" noProof="0" dirty="0">
                          <a:solidFill>
                            <a:schemeClr val="tx1"/>
                          </a:solidFill>
                          <a:latin typeface="Calibri" panose="020F0502020204030204" pitchFamily="34" charset="0"/>
                          <a:cs typeface="Calibri" panose="020F0502020204030204" pitchFamily="34" charset="0"/>
                        </a:rPr>
                        <a:t>Participants</a:t>
                      </a:r>
                    </a:p>
                  </a:txBody>
                  <a:tcPr marL="74295" marR="74295" marT="37148" marB="37148" anchor="ctr"/>
                </a:tc>
                <a:tc>
                  <a:txBody>
                    <a:bodyPr/>
                    <a:lstStyle/>
                    <a:p>
                      <a:pPr algn="ctr"/>
                      <a:endParaRPr lang="en-GB" sz="1200" noProof="0" dirty="0">
                        <a:solidFill>
                          <a:schemeClr val="tx1"/>
                        </a:solidFill>
                        <a:latin typeface="Calibri" panose="020F0502020204030204" pitchFamily="34" charset="0"/>
                        <a:cs typeface="Calibri" panose="020F0502020204030204" pitchFamily="34" charset="0"/>
                      </a:endParaRPr>
                    </a:p>
                  </a:txBody>
                  <a:tcPr marL="74295" marR="74295" marT="37148" marB="37148" anchor="ctr"/>
                </a:tc>
                <a:tc>
                  <a:txBody>
                    <a:bodyPr/>
                    <a:lstStyle/>
                    <a:p>
                      <a:pPr algn="ctr"/>
                      <a:endParaRPr lang="en-GB" sz="1200" noProof="0" dirty="0">
                        <a:solidFill>
                          <a:schemeClr val="tx1"/>
                        </a:solidFill>
                        <a:latin typeface="Calibri" panose="020F0502020204030204" pitchFamily="34" charset="0"/>
                        <a:cs typeface="Calibri" panose="020F0502020204030204" pitchFamily="34" charset="0"/>
                      </a:endParaRPr>
                    </a:p>
                  </a:txBody>
                  <a:tcPr marL="74295" marR="74295" marT="37148" marB="37148" anchor="ctr"/>
                </a:tc>
                <a:tc>
                  <a:txBody>
                    <a:bodyPr/>
                    <a:lstStyle/>
                    <a:p>
                      <a:pPr algn="ctr"/>
                      <a:endParaRPr lang="en-GB" sz="1200" noProof="0" dirty="0">
                        <a:solidFill>
                          <a:schemeClr val="tx1"/>
                        </a:solidFill>
                        <a:latin typeface="Calibri" panose="020F0502020204030204" pitchFamily="34" charset="0"/>
                        <a:cs typeface="Calibri" panose="020F0502020204030204" pitchFamily="34" charset="0"/>
                      </a:endParaRPr>
                    </a:p>
                  </a:txBody>
                  <a:tcPr marL="74295" marR="74295" marT="37148" marB="37148" anchor="ctr"/>
                </a:tc>
                <a:tc>
                  <a:txBody>
                    <a:bodyPr/>
                    <a:lstStyle/>
                    <a:p>
                      <a:pPr algn="ctr"/>
                      <a:endParaRPr lang="en-GB" sz="1200" noProof="0" dirty="0">
                        <a:solidFill>
                          <a:schemeClr val="tx1"/>
                        </a:solidFill>
                        <a:latin typeface="Calibri" panose="020F0502020204030204" pitchFamily="34" charset="0"/>
                        <a:cs typeface="Calibri" panose="020F0502020204030204" pitchFamily="34" charset="0"/>
                      </a:endParaRPr>
                    </a:p>
                  </a:txBody>
                  <a:tcPr marL="74295" marR="74295" marT="37148" marB="37148" anchor="ctr"/>
                </a:tc>
                <a:extLst>
                  <a:ext uri="{0D108BD9-81ED-4DB2-BD59-A6C34878D82A}">
                    <a16:rowId xmlns:a16="http://schemas.microsoft.com/office/drawing/2014/main" val="1499386999"/>
                  </a:ext>
                </a:extLst>
              </a:tr>
              <a:tr h="268877">
                <a:tc>
                  <a:txBody>
                    <a:bodyPr/>
                    <a:lstStyle/>
                    <a:p>
                      <a:r>
                        <a:rPr lang="en-GB" sz="1200" noProof="0" dirty="0">
                          <a:solidFill>
                            <a:schemeClr val="tx1"/>
                          </a:solidFill>
                          <a:latin typeface="Calibri" panose="020F0502020204030204" pitchFamily="34" charset="0"/>
                          <a:cs typeface="Calibri" panose="020F0502020204030204" pitchFamily="34" charset="0"/>
                        </a:rPr>
                        <a:t>Target area</a:t>
                      </a:r>
                    </a:p>
                  </a:txBody>
                  <a:tcPr marL="74295" marR="74295" marT="37148" marB="37148" anchor="ctr"/>
                </a:tc>
                <a:tc>
                  <a:txBody>
                    <a:bodyPr/>
                    <a:lstStyle/>
                    <a:p>
                      <a:pPr marL="0" marR="0" lvl="0" indent="0" algn="ctr" defTabSz="514487" rtl="0" eaLnBrk="1" fontAlgn="auto" latinLnBrk="0" hangingPunct="1">
                        <a:lnSpc>
                          <a:spcPct val="100000"/>
                        </a:lnSpc>
                        <a:spcBef>
                          <a:spcPts val="0"/>
                        </a:spcBef>
                        <a:spcAft>
                          <a:spcPts val="0"/>
                        </a:spcAft>
                        <a:buClrTx/>
                        <a:buSzTx/>
                        <a:buFontTx/>
                        <a:buNone/>
                        <a:tabLst/>
                        <a:defRPr/>
                      </a:pPr>
                      <a:r>
                        <a:rPr lang="en-GB" sz="1200" noProof="0" dirty="0">
                          <a:solidFill>
                            <a:schemeClr val="tx1"/>
                          </a:solidFill>
                          <a:latin typeface="Calibri" panose="020F0502020204030204" pitchFamily="34" charset="0"/>
                          <a:cs typeface="Calibri" panose="020F0502020204030204" pitchFamily="34" charset="0"/>
                        </a:rPr>
                        <a:t>Continental Europe</a:t>
                      </a:r>
                    </a:p>
                  </a:txBody>
                  <a:tcPr marL="74295" marR="74295" marT="37148" marB="37148" anchor="ctr"/>
                </a:tc>
                <a:tc>
                  <a:txBody>
                    <a:bodyPr/>
                    <a:lstStyle/>
                    <a:p>
                      <a:pPr marL="0" marR="0" lvl="0" indent="0" algn="ctr" defTabSz="514487" rtl="0" eaLnBrk="1" fontAlgn="auto" latinLnBrk="0" hangingPunct="1">
                        <a:lnSpc>
                          <a:spcPct val="100000"/>
                        </a:lnSpc>
                        <a:spcBef>
                          <a:spcPts val="0"/>
                        </a:spcBef>
                        <a:spcAft>
                          <a:spcPts val="0"/>
                        </a:spcAft>
                        <a:buClrTx/>
                        <a:buSzTx/>
                        <a:buFontTx/>
                        <a:buNone/>
                        <a:tabLst/>
                        <a:defRPr/>
                      </a:pPr>
                      <a:r>
                        <a:rPr lang="en-GB" sz="1200" noProof="0" dirty="0">
                          <a:solidFill>
                            <a:schemeClr val="tx1"/>
                          </a:solidFill>
                          <a:latin typeface="Calibri" panose="020F0502020204030204" pitchFamily="34" charset="0"/>
                          <a:cs typeface="Calibri" panose="020F0502020204030204" pitchFamily="34" charset="0"/>
                        </a:rPr>
                        <a:t>≥ Continental Europe</a:t>
                      </a:r>
                    </a:p>
                  </a:txBody>
                  <a:tcPr marL="74295" marR="74295" marT="37148" marB="37148" anchor="ctr"/>
                </a:tc>
                <a:tc>
                  <a:txBody>
                    <a:bodyPr/>
                    <a:lstStyle/>
                    <a:p>
                      <a:pPr algn="ctr"/>
                      <a:r>
                        <a:rPr lang="en-GB" sz="1200" noProof="0" dirty="0">
                          <a:solidFill>
                            <a:schemeClr val="tx1"/>
                          </a:solidFill>
                          <a:latin typeface="Calibri" panose="020F0502020204030204" pitchFamily="34" charset="0"/>
                          <a:cs typeface="Calibri" panose="020F0502020204030204" pitchFamily="34" charset="0"/>
                        </a:rPr>
                        <a:t>≥ Continental Europe</a:t>
                      </a:r>
                    </a:p>
                  </a:txBody>
                  <a:tcPr marL="74295" marR="74295" marT="37148" marB="37148" anchor="ctr"/>
                </a:tc>
                <a:tc>
                  <a:txBody>
                    <a:bodyPr/>
                    <a:lstStyle/>
                    <a:p>
                      <a:pPr algn="ctr"/>
                      <a:r>
                        <a:rPr lang="en-GB" sz="1200" noProof="0" dirty="0">
                          <a:solidFill>
                            <a:schemeClr val="tx1"/>
                          </a:solidFill>
                          <a:latin typeface="Calibri" panose="020F0502020204030204" pitchFamily="34" charset="0"/>
                          <a:cs typeface="Calibri" panose="020F0502020204030204" pitchFamily="34" charset="0"/>
                        </a:rPr>
                        <a:t>≥ RR TSOs</a:t>
                      </a:r>
                    </a:p>
                  </a:txBody>
                  <a:tcPr marL="74295" marR="74295" marT="37148" marB="37148" anchor="ctr"/>
                </a:tc>
                <a:extLst>
                  <a:ext uri="{0D108BD9-81ED-4DB2-BD59-A6C34878D82A}">
                    <a16:rowId xmlns:a16="http://schemas.microsoft.com/office/drawing/2014/main" val="4240111433"/>
                  </a:ext>
                </a:extLst>
              </a:tr>
              <a:tr h="383858">
                <a:tc>
                  <a:txBody>
                    <a:bodyPr/>
                    <a:lstStyle/>
                    <a:p>
                      <a:r>
                        <a:rPr lang="en-GB" sz="1200" noProof="0" dirty="0">
                          <a:solidFill>
                            <a:schemeClr val="tx1"/>
                          </a:solidFill>
                          <a:latin typeface="Calibri" panose="020F0502020204030204" pitchFamily="34" charset="0"/>
                          <a:cs typeface="Calibri" panose="020F0502020204030204" pitchFamily="34" charset="0"/>
                        </a:rPr>
                        <a:t>Business go-live</a:t>
                      </a:r>
                    </a:p>
                  </a:txBody>
                  <a:tcPr marL="74295" marR="74295" marT="37148" marB="37148" anchor="ctr"/>
                </a:tc>
                <a:tc>
                  <a:txBody>
                    <a:bodyPr/>
                    <a:lstStyle/>
                    <a:p>
                      <a:pPr marL="0" marR="0" lvl="0" indent="0" algn="ctr" defTabSz="514487" rtl="0" eaLnBrk="1" fontAlgn="auto" latinLnBrk="0" hangingPunct="1">
                        <a:lnSpc>
                          <a:spcPct val="100000"/>
                        </a:lnSpc>
                        <a:spcBef>
                          <a:spcPts val="0"/>
                        </a:spcBef>
                        <a:spcAft>
                          <a:spcPts val="0"/>
                        </a:spcAft>
                        <a:buClrTx/>
                        <a:buSzTx/>
                        <a:buFontTx/>
                        <a:buNone/>
                        <a:tabLst/>
                        <a:defRPr/>
                      </a:pPr>
                      <a:r>
                        <a:rPr lang="en-GB" sz="1200" noProof="0" dirty="0">
                          <a:solidFill>
                            <a:schemeClr val="tx1"/>
                          </a:solidFill>
                          <a:latin typeface="Calibri" panose="020F0502020204030204" pitchFamily="34" charset="0"/>
                          <a:cs typeface="Calibri" panose="020F0502020204030204" pitchFamily="34" charset="0"/>
                        </a:rPr>
                        <a:t>2021/06/24 (operational since 2011/10/01)</a:t>
                      </a:r>
                    </a:p>
                  </a:txBody>
                  <a:tcPr marL="74295" marR="74295" marT="37148" marB="37148" anchor="ctr"/>
                </a:tc>
                <a:tc>
                  <a:txBody>
                    <a:bodyPr/>
                    <a:lstStyle/>
                    <a:p>
                      <a:pPr algn="ctr"/>
                      <a:r>
                        <a:rPr lang="en-GB" sz="1200" noProof="0" dirty="0">
                          <a:solidFill>
                            <a:schemeClr val="tx1"/>
                          </a:solidFill>
                          <a:latin typeface="Calibri" panose="020F0502020204030204" pitchFamily="34" charset="0"/>
                          <a:cs typeface="Calibri" panose="020F0502020204030204" pitchFamily="34" charset="0"/>
                        </a:rPr>
                        <a:t>2022/06/22*</a:t>
                      </a:r>
                    </a:p>
                  </a:txBody>
                  <a:tcPr marL="74295" marR="74295" marT="37148" marB="3714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tx1"/>
                          </a:solidFill>
                          <a:latin typeface="Calibri" panose="020F0502020204030204" pitchFamily="34" charset="0"/>
                          <a:cs typeface="Calibri" panose="020F0502020204030204" pitchFamily="34" charset="0"/>
                        </a:rPr>
                        <a:t>2022/10/05*</a:t>
                      </a:r>
                    </a:p>
                  </a:txBody>
                  <a:tcPr marL="74295" marR="74295" marT="37148" marB="37148" anchor="ctr"/>
                </a:tc>
                <a:tc>
                  <a:txBody>
                    <a:bodyPr/>
                    <a:lstStyle/>
                    <a:p>
                      <a:pPr algn="ctr"/>
                      <a:r>
                        <a:rPr lang="en-GB" sz="1200" noProof="0" dirty="0">
                          <a:solidFill>
                            <a:schemeClr val="tx1"/>
                          </a:solidFill>
                          <a:latin typeface="Calibri" panose="020F0502020204030204" pitchFamily="34" charset="0"/>
                          <a:cs typeface="Calibri" panose="020F0502020204030204" pitchFamily="34" charset="0"/>
                        </a:rPr>
                        <a:t>2020/09/29*</a:t>
                      </a:r>
                    </a:p>
                  </a:txBody>
                  <a:tcPr marL="74295" marR="74295" marT="37148" marB="37148" anchor="ctr"/>
                </a:tc>
                <a:extLst>
                  <a:ext uri="{0D108BD9-81ED-4DB2-BD59-A6C34878D82A}">
                    <a16:rowId xmlns:a16="http://schemas.microsoft.com/office/drawing/2014/main" val="2211295156"/>
                  </a:ext>
                </a:extLst>
              </a:tr>
              <a:tr h="386960">
                <a:tc>
                  <a:txBody>
                    <a:bodyPr/>
                    <a:lstStyle/>
                    <a:p>
                      <a:r>
                        <a:rPr lang="en-GB" sz="1200" noProof="0" dirty="0">
                          <a:solidFill>
                            <a:schemeClr val="tx1"/>
                          </a:solidFill>
                          <a:latin typeface="Calibri" panose="020F0502020204030204" pitchFamily="34" charset="0"/>
                          <a:cs typeface="Calibri" panose="020F0502020204030204" pitchFamily="34" charset="0"/>
                        </a:rPr>
                        <a:t>Status</a:t>
                      </a:r>
                    </a:p>
                  </a:txBody>
                  <a:tcPr marL="74295" marR="74295" marT="37148" marB="37148" anchor="ctr"/>
                </a:tc>
                <a:tc>
                  <a:txBody>
                    <a:bodyPr/>
                    <a:lstStyle/>
                    <a:p>
                      <a:pPr algn="ctr"/>
                      <a:endParaRPr lang="en-GB" sz="1200" noProof="0" dirty="0">
                        <a:solidFill>
                          <a:schemeClr val="tx1"/>
                        </a:solidFill>
                        <a:latin typeface="Calibri" panose="020F0502020204030204" pitchFamily="34" charset="0"/>
                        <a:cs typeface="Calibri" panose="020F0502020204030204" pitchFamily="34" charset="0"/>
                      </a:endParaRPr>
                    </a:p>
                  </a:txBody>
                  <a:tcPr marL="74295" marR="74295" marT="37148" marB="37148" anchor="ctr"/>
                </a:tc>
                <a:tc>
                  <a:txBody>
                    <a:bodyPr/>
                    <a:lstStyle/>
                    <a:p>
                      <a:pPr algn="ctr"/>
                      <a:r>
                        <a:rPr lang="en-GB" sz="1200" noProof="0" dirty="0">
                          <a:solidFill>
                            <a:schemeClr val="tx1"/>
                          </a:solidFill>
                          <a:latin typeface="Calibri" panose="020F0502020204030204" pitchFamily="34" charset="0"/>
                          <a:cs typeface="Calibri" panose="020F0502020204030204" pitchFamily="34" charset="0"/>
                        </a:rPr>
                        <a:t> </a:t>
                      </a:r>
                    </a:p>
                  </a:txBody>
                  <a:tcPr marL="74295" marR="74295" marT="37148" marB="37148" anchor="ctr"/>
                </a:tc>
                <a:tc>
                  <a:txBody>
                    <a:bodyPr/>
                    <a:lstStyle/>
                    <a:p>
                      <a:pPr algn="ctr"/>
                      <a:endParaRPr lang="en-GB" sz="1200" noProof="0" dirty="0">
                        <a:solidFill>
                          <a:schemeClr val="tx1"/>
                        </a:solidFill>
                        <a:latin typeface="Calibri" panose="020F0502020204030204" pitchFamily="34" charset="0"/>
                        <a:cs typeface="Calibri" panose="020F0502020204030204" pitchFamily="34" charset="0"/>
                      </a:endParaRPr>
                    </a:p>
                  </a:txBody>
                  <a:tcPr marL="74295" marR="74295" marT="37148" marB="37148" anchor="ctr"/>
                </a:tc>
                <a:tc>
                  <a:txBody>
                    <a:bodyPr/>
                    <a:lstStyle/>
                    <a:p>
                      <a:pPr algn="ctr"/>
                      <a:endParaRPr lang="en-GB" sz="1200" noProof="0" dirty="0">
                        <a:solidFill>
                          <a:schemeClr val="tx1"/>
                        </a:solidFill>
                        <a:latin typeface="Calibri" panose="020F0502020204030204" pitchFamily="34" charset="0"/>
                        <a:cs typeface="Calibri" panose="020F0502020204030204" pitchFamily="34" charset="0"/>
                      </a:endParaRPr>
                    </a:p>
                  </a:txBody>
                  <a:tcPr marL="74295" marR="74295" marT="37148" marB="37148" anchor="ctr"/>
                </a:tc>
                <a:extLst>
                  <a:ext uri="{0D108BD9-81ED-4DB2-BD59-A6C34878D82A}">
                    <a16:rowId xmlns:a16="http://schemas.microsoft.com/office/drawing/2014/main" val="1135881819"/>
                  </a:ext>
                </a:extLst>
              </a:tr>
              <a:tr h="693420">
                <a:tc>
                  <a:txBody>
                    <a:bodyPr/>
                    <a:lstStyle/>
                    <a:p>
                      <a:r>
                        <a:rPr lang="en-GB" sz="1200" noProof="0" dirty="0">
                          <a:solidFill>
                            <a:schemeClr val="tx1"/>
                          </a:solidFill>
                          <a:latin typeface="Calibri" panose="020F0502020204030204" pitchFamily="34" charset="0"/>
                          <a:cs typeface="Calibri" panose="020F0502020204030204" pitchFamily="34" charset="0"/>
                        </a:rPr>
                        <a:t>Highlights</a:t>
                      </a:r>
                    </a:p>
                  </a:txBody>
                  <a:tcPr marL="74295" marR="74295" marT="37148" marB="37148" anchor="ctr"/>
                </a:tc>
                <a:tc>
                  <a:txBody>
                    <a:bodyPr/>
                    <a:lstStyle/>
                    <a:p>
                      <a:pPr algn="l"/>
                      <a:r>
                        <a:rPr lang="en-GB" sz="1200" kern="1200" noProof="0" dirty="0">
                          <a:solidFill>
                            <a:schemeClr val="tx1"/>
                          </a:solidFill>
                          <a:latin typeface="Calibri" panose="020F0502020204030204" pitchFamily="34" charset="0"/>
                          <a:ea typeface="+mn-ea"/>
                          <a:cs typeface="Calibri" panose="020F0502020204030204" pitchFamily="34" charset="0"/>
                        </a:rPr>
                        <a:t>Economic surplus of around </a:t>
                      </a:r>
                      <a:br>
                        <a:rPr lang="en-GB" sz="1200" kern="1200" noProof="0" dirty="0">
                          <a:solidFill>
                            <a:schemeClr val="tx1"/>
                          </a:solidFill>
                          <a:latin typeface="Calibri" panose="020F0502020204030204" pitchFamily="34" charset="0"/>
                          <a:ea typeface="+mn-ea"/>
                          <a:cs typeface="Calibri" panose="020F0502020204030204" pitchFamily="34" charset="0"/>
                        </a:rPr>
                      </a:br>
                      <a:r>
                        <a:rPr lang="en-GB" sz="1200" kern="1200" noProof="0" dirty="0">
                          <a:solidFill>
                            <a:schemeClr val="tx1"/>
                          </a:solidFill>
                          <a:latin typeface="Calibri" panose="020F0502020204030204" pitchFamily="34" charset="0"/>
                          <a:ea typeface="+mn-ea"/>
                          <a:cs typeface="Calibri" panose="020F0502020204030204" pitchFamily="34" charset="0"/>
                        </a:rPr>
                        <a:t>313 Mio. € in Q1/Q2 2025</a:t>
                      </a:r>
                    </a:p>
                  </a:txBody>
                  <a:tcPr marL="74295" marR="74295" marT="37148" marB="3714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tx1"/>
                          </a:solidFill>
                          <a:latin typeface="Calibri" panose="020F0502020204030204" pitchFamily="34" charset="0"/>
                          <a:ea typeface="+mn-ea"/>
                          <a:cs typeface="Calibri" panose="020F0502020204030204" pitchFamily="34" charset="0"/>
                        </a:rPr>
                        <a:t>Economic surplus of more than 351 Mio € in 2025 until end of July. </a:t>
                      </a:r>
                      <a:endParaRPr lang="en-GB" sz="1200" kern="1200" noProof="0" dirty="0">
                        <a:solidFill>
                          <a:schemeClr val="tx1"/>
                        </a:solidFill>
                        <a:latin typeface="Calibri" panose="020F0502020204030204" pitchFamily="34" charset="0"/>
                        <a:ea typeface="+mn-ea"/>
                        <a:cs typeface="Calibri" panose="020F0502020204030204" pitchFamily="34" charset="0"/>
                      </a:endParaRPr>
                    </a:p>
                  </a:txBody>
                  <a:tcPr marL="74295" marR="74295" marT="37148" marB="3714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tx1"/>
                          </a:solidFill>
                          <a:latin typeface="Calibri"/>
                          <a:ea typeface="+mn-ea"/>
                          <a:cs typeface="Calibri"/>
                        </a:rPr>
                        <a:t>Economic surplus of ~82 Mio. € </a:t>
                      </a:r>
                      <a:br>
                        <a:rPr lang="en-GB" sz="1200" kern="1200" noProof="0">
                          <a:solidFill>
                            <a:schemeClr val="tx1"/>
                          </a:solidFill>
                          <a:latin typeface="Calibri"/>
                          <a:ea typeface="+mn-ea"/>
                          <a:cs typeface="Calibri"/>
                        </a:rPr>
                      </a:br>
                      <a:r>
                        <a:rPr lang="en-GB" sz="1200" kern="1200" noProof="0">
                          <a:solidFill>
                            <a:schemeClr val="tx1"/>
                          </a:solidFill>
                          <a:latin typeface="Calibri"/>
                          <a:ea typeface="+mn-ea"/>
                          <a:cs typeface="Calibri"/>
                        </a:rPr>
                        <a:t>in 2025 until end of September.</a:t>
                      </a:r>
                      <a:endParaRPr lang="en-GB" sz="1200" kern="1200" noProof="0" dirty="0">
                        <a:solidFill>
                          <a:schemeClr val="tx1"/>
                        </a:solidFill>
                        <a:latin typeface="Calibri"/>
                        <a:ea typeface="+mn-ea"/>
                        <a:cs typeface="Calibri"/>
                      </a:endParaRPr>
                    </a:p>
                  </a:txBody>
                  <a:tcPr marL="74295" marR="74295" marT="37148" marB="37148" anchor="ctr"/>
                </a:tc>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en-GB" sz="1200" kern="1200" noProof="0" dirty="0">
                          <a:solidFill>
                            <a:schemeClr val="tx1"/>
                          </a:solidFill>
                          <a:latin typeface="Calibri" panose="020F0502020204030204" pitchFamily="34" charset="0"/>
                          <a:ea typeface="+mn-ea"/>
                          <a:cs typeface="Calibri" panose="020F0502020204030204" pitchFamily="34" charset="0"/>
                        </a:rPr>
                        <a:t>Economic surplus of 284 Mio. € in 2025 until end of September.</a:t>
                      </a:r>
                    </a:p>
                    <a:p>
                      <a:pPr marL="0" marR="0" lvl="0" indent="0" algn="l" defTabSz="440284"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latin typeface="Calibri" panose="020F0502020204030204" pitchFamily="34" charset="0"/>
                          <a:ea typeface="+mn-ea"/>
                          <a:cs typeface="Calibri" panose="020F0502020204030204" pitchFamily="34" charset="0"/>
                        </a:rPr>
                        <a:t>TERRE will be concluding its operations by the end of 2025. </a:t>
                      </a:r>
                      <a:endParaRPr lang="en-GB" sz="1200" kern="1200" noProof="0" dirty="0">
                        <a:solidFill>
                          <a:schemeClr val="tx1"/>
                        </a:solidFill>
                        <a:highlight>
                          <a:srgbClr val="FFFF00"/>
                        </a:highlight>
                        <a:latin typeface="Calibri" panose="020F0502020204030204" pitchFamily="34" charset="0"/>
                        <a:ea typeface="+mn-ea"/>
                        <a:cs typeface="Calibri" panose="020F0502020204030204" pitchFamily="34" charset="0"/>
                      </a:endParaRPr>
                    </a:p>
                  </a:txBody>
                  <a:tcPr marL="74295" marR="74295" marT="37148" marB="37148" anchor="ctr"/>
                </a:tc>
                <a:extLst>
                  <a:ext uri="{0D108BD9-81ED-4DB2-BD59-A6C34878D82A}">
                    <a16:rowId xmlns:a16="http://schemas.microsoft.com/office/drawing/2014/main" val="1587076398"/>
                  </a:ext>
                </a:extLst>
              </a:tr>
            </a:tbl>
          </a:graphicData>
        </a:graphic>
      </p:graphicFrame>
      <p:grpSp>
        <p:nvGrpSpPr>
          <p:cNvPr id="1850" name="Gruppieren 5">
            <a:extLst>
              <a:ext uri="{FF2B5EF4-FFF2-40B4-BE49-F238E27FC236}">
                <a16:creationId xmlns:a16="http://schemas.microsoft.com/office/drawing/2014/main" id="{1B1D1019-8B71-417A-262E-65D3A73645C2}"/>
              </a:ext>
            </a:extLst>
          </p:cNvPr>
          <p:cNvGrpSpPr/>
          <p:nvPr/>
        </p:nvGrpSpPr>
        <p:grpSpPr>
          <a:xfrm>
            <a:off x="2371317" y="4023303"/>
            <a:ext cx="219375" cy="292500"/>
            <a:chOff x="-717331" y="4028090"/>
            <a:chExt cx="270000" cy="540000"/>
          </a:xfrm>
        </p:grpSpPr>
        <p:sp>
          <p:nvSpPr>
            <p:cNvPr id="1851" name="Rechteck 6">
              <a:extLst>
                <a:ext uri="{FF2B5EF4-FFF2-40B4-BE49-F238E27FC236}">
                  <a16:creationId xmlns:a16="http://schemas.microsoft.com/office/drawing/2014/main" id="{F2D846E2-DDE3-98C7-C4E2-5B5F12DCDB1C}"/>
                </a:ext>
              </a:extLst>
            </p:cNvPr>
            <p:cNvSpPr/>
            <p:nvPr/>
          </p:nvSpPr>
          <p:spPr bwMode="auto">
            <a:xfrm>
              <a:off x="-717331" y="4028090"/>
              <a:ext cx="270000" cy="540000"/>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grpSp>
          <p:nvGrpSpPr>
            <p:cNvPr id="1852" name="Gruppieren 7">
              <a:extLst>
                <a:ext uri="{FF2B5EF4-FFF2-40B4-BE49-F238E27FC236}">
                  <a16:creationId xmlns:a16="http://schemas.microsoft.com/office/drawing/2014/main" id="{C8405FDB-B3D9-011A-C0B0-B3F57DA58A89}"/>
                </a:ext>
              </a:extLst>
            </p:cNvPr>
            <p:cNvGrpSpPr/>
            <p:nvPr/>
          </p:nvGrpSpPr>
          <p:grpSpPr>
            <a:xfrm>
              <a:off x="-654331" y="4082090"/>
              <a:ext cx="144000" cy="432000"/>
              <a:chOff x="-1008993" y="2120462"/>
              <a:chExt cx="144000" cy="432000"/>
            </a:xfrm>
          </p:grpSpPr>
          <p:sp>
            <p:nvSpPr>
              <p:cNvPr id="1853" name="Ellipse 8">
                <a:extLst>
                  <a:ext uri="{FF2B5EF4-FFF2-40B4-BE49-F238E27FC236}">
                    <a16:creationId xmlns:a16="http://schemas.microsoft.com/office/drawing/2014/main" id="{CBB71CAB-A952-8AA4-2D01-26B5FB4AF755}"/>
                  </a:ext>
                </a:extLst>
              </p:cNvPr>
              <p:cNvSpPr/>
              <p:nvPr/>
            </p:nvSpPr>
            <p:spPr bwMode="auto">
              <a:xfrm>
                <a:off x="-1008993" y="2120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sp>
            <p:nvSpPr>
              <p:cNvPr id="1854" name="Ellipse 9">
                <a:extLst>
                  <a:ext uri="{FF2B5EF4-FFF2-40B4-BE49-F238E27FC236}">
                    <a16:creationId xmlns:a16="http://schemas.microsoft.com/office/drawing/2014/main" id="{0EE7F54C-86B9-FE32-D25A-4615755F11F1}"/>
                  </a:ext>
                </a:extLst>
              </p:cNvPr>
              <p:cNvSpPr/>
              <p:nvPr/>
            </p:nvSpPr>
            <p:spPr bwMode="auto">
              <a:xfrm>
                <a:off x="-1008993" y="2264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sp>
            <p:nvSpPr>
              <p:cNvPr id="1855" name="Ellipse 10">
                <a:extLst>
                  <a:ext uri="{FF2B5EF4-FFF2-40B4-BE49-F238E27FC236}">
                    <a16:creationId xmlns:a16="http://schemas.microsoft.com/office/drawing/2014/main" id="{2F73E14D-CD81-BB27-05CC-D671DFEABE2D}"/>
                  </a:ext>
                </a:extLst>
              </p:cNvPr>
              <p:cNvSpPr/>
              <p:nvPr/>
            </p:nvSpPr>
            <p:spPr bwMode="auto">
              <a:xfrm>
                <a:off x="-1008993" y="2408462"/>
                <a:ext cx="144000" cy="144000"/>
              </a:xfrm>
              <a:prstGeom prst="ellipse">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grpSp>
      </p:grpSp>
      <p:grpSp>
        <p:nvGrpSpPr>
          <p:cNvPr id="1536" name="Gruppieren 11">
            <a:extLst>
              <a:ext uri="{FF2B5EF4-FFF2-40B4-BE49-F238E27FC236}">
                <a16:creationId xmlns:a16="http://schemas.microsoft.com/office/drawing/2014/main" id="{34E777BB-D9EB-BB8B-C4DA-033ACB3A2C23}"/>
              </a:ext>
            </a:extLst>
          </p:cNvPr>
          <p:cNvGrpSpPr/>
          <p:nvPr/>
        </p:nvGrpSpPr>
        <p:grpSpPr>
          <a:xfrm>
            <a:off x="4488882" y="4023303"/>
            <a:ext cx="219375" cy="292500"/>
            <a:chOff x="-717331" y="4028090"/>
            <a:chExt cx="270000" cy="540000"/>
          </a:xfrm>
        </p:grpSpPr>
        <p:sp>
          <p:nvSpPr>
            <p:cNvPr id="1537" name="Rechteck 12">
              <a:extLst>
                <a:ext uri="{FF2B5EF4-FFF2-40B4-BE49-F238E27FC236}">
                  <a16:creationId xmlns:a16="http://schemas.microsoft.com/office/drawing/2014/main" id="{63DFE7E2-90C6-BCD5-34A5-F70B176B61DD}"/>
                </a:ext>
              </a:extLst>
            </p:cNvPr>
            <p:cNvSpPr/>
            <p:nvPr/>
          </p:nvSpPr>
          <p:spPr bwMode="auto">
            <a:xfrm>
              <a:off x="-717331" y="4028090"/>
              <a:ext cx="270000" cy="540000"/>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grpSp>
          <p:nvGrpSpPr>
            <p:cNvPr id="1538" name="Gruppieren 13">
              <a:extLst>
                <a:ext uri="{FF2B5EF4-FFF2-40B4-BE49-F238E27FC236}">
                  <a16:creationId xmlns:a16="http://schemas.microsoft.com/office/drawing/2014/main" id="{981208C8-3A9D-D175-1AAF-FAFC86CCC926}"/>
                </a:ext>
              </a:extLst>
            </p:cNvPr>
            <p:cNvGrpSpPr/>
            <p:nvPr/>
          </p:nvGrpSpPr>
          <p:grpSpPr>
            <a:xfrm>
              <a:off x="-654331" y="4082090"/>
              <a:ext cx="144000" cy="432000"/>
              <a:chOff x="-1008993" y="2120462"/>
              <a:chExt cx="144000" cy="432000"/>
            </a:xfrm>
          </p:grpSpPr>
          <p:sp>
            <p:nvSpPr>
              <p:cNvPr id="1539" name="Ellipse 14">
                <a:extLst>
                  <a:ext uri="{FF2B5EF4-FFF2-40B4-BE49-F238E27FC236}">
                    <a16:creationId xmlns:a16="http://schemas.microsoft.com/office/drawing/2014/main" id="{4997AC79-4D00-4B0C-EE94-513A79A63338}"/>
                  </a:ext>
                </a:extLst>
              </p:cNvPr>
              <p:cNvSpPr/>
              <p:nvPr/>
            </p:nvSpPr>
            <p:spPr bwMode="auto">
              <a:xfrm>
                <a:off x="-1008993" y="2120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sp>
            <p:nvSpPr>
              <p:cNvPr id="1540" name="Ellipse 15">
                <a:extLst>
                  <a:ext uri="{FF2B5EF4-FFF2-40B4-BE49-F238E27FC236}">
                    <a16:creationId xmlns:a16="http://schemas.microsoft.com/office/drawing/2014/main" id="{C51D53F0-6C70-4DE1-5BE9-C038158378C8}"/>
                  </a:ext>
                </a:extLst>
              </p:cNvPr>
              <p:cNvSpPr/>
              <p:nvPr/>
            </p:nvSpPr>
            <p:spPr bwMode="auto">
              <a:xfrm>
                <a:off x="-1008993" y="2264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sp>
            <p:nvSpPr>
              <p:cNvPr id="1541" name="Ellipse 16">
                <a:extLst>
                  <a:ext uri="{FF2B5EF4-FFF2-40B4-BE49-F238E27FC236}">
                    <a16:creationId xmlns:a16="http://schemas.microsoft.com/office/drawing/2014/main" id="{DD63FE78-1E1E-D540-6D25-B297DC0B6483}"/>
                  </a:ext>
                </a:extLst>
              </p:cNvPr>
              <p:cNvSpPr/>
              <p:nvPr/>
            </p:nvSpPr>
            <p:spPr bwMode="auto">
              <a:xfrm>
                <a:off x="-1008993" y="2408462"/>
                <a:ext cx="144000" cy="144000"/>
              </a:xfrm>
              <a:prstGeom prst="ellipse">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grpSp>
      </p:grpSp>
      <p:grpSp>
        <p:nvGrpSpPr>
          <p:cNvPr id="1542" name="Gruppieren 17">
            <a:extLst>
              <a:ext uri="{FF2B5EF4-FFF2-40B4-BE49-F238E27FC236}">
                <a16:creationId xmlns:a16="http://schemas.microsoft.com/office/drawing/2014/main" id="{04D868E1-FD2B-FEFE-CF33-F1B27FFBAA68}"/>
              </a:ext>
            </a:extLst>
          </p:cNvPr>
          <p:cNvGrpSpPr/>
          <p:nvPr/>
        </p:nvGrpSpPr>
        <p:grpSpPr>
          <a:xfrm>
            <a:off x="6496759" y="4023303"/>
            <a:ext cx="219375" cy="292500"/>
            <a:chOff x="-717331" y="4028090"/>
            <a:chExt cx="270000" cy="540000"/>
          </a:xfrm>
        </p:grpSpPr>
        <p:sp>
          <p:nvSpPr>
            <p:cNvPr id="1543" name="Rechteck 18">
              <a:extLst>
                <a:ext uri="{FF2B5EF4-FFF2-40B4-BE49-F238E27FC236}">
                  <a16:creationId xmlns:a16="http://schemas.microsoft.com/office/drawing/2014/main" id="{DD07C877-E07F-397F-1DB3-34A598146E97}"/>
                </a:ext>
              </a:extLst>
            </p:cNvPr>
            <p:cNvSpPr/>
            <p:nvPr/>
          </p:nvSpPr>
          <p:spPr bwMode="auto">
            <a:xfrm>
              <a:off x="-717331" y="4028090"/>
              <a:ext cx="270000" cy="540000"/>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grpSp>
          <p:nvGrpSpPr>
            <p:cNvPr id="1544" name="Gruppieren 19">
              <a:extLst>
                <a:ext uri="{FF2B5EF4-FFF2-40B4-BE49-F238E27FC236}">
                  <a16:creationId xmlns:a16="http://schemas.microsoft.com/office/drawing/2014/main" id="{B539D85F-A804-91E9-A211-788359C16D63}"/>
                </a:ext>
              </a:extLst>
            </p:cNvPr>
            <p:cNvGrpSpPr/>
            <p:nvPr/>
          </p:nvGrpSpPr>
          <p:grpSpPr>
            <a:xfrm>
              <a:off x="-654331" y="4082090"/>
              <a:ext cx="144000" cy="432000"/>
              <a:chOff x="-1008993" y="2120462"/>
              <a:chExt cx="144000" cy="432000"/>
            </a:xfrm>
          </p:grpSpPr>
          <p:sp>
            <p:nvSpPr>
              <p:cNvPr id="1545" name="Ellipse 20">
                <a:extLst>
                  <a:ext uri="{FF2B5EF4-FFF2-40B4-BE49-F238E27FC236}">
                    <a16:creationId xmlns:a16="http://schemas.microsoft.com/office/drawing/2014/main" id="{191569AA-6456-AA6D-9DA7-391374D08980}"/>
                  </a:ext>
                </a:extLst>
              </p:cNvPr>
              <p:cNvSpPr/>
              <p:nvPr/>
            </p:nvSpPr>
            <p:spPr bwMode="auto">
              <a:xfrm>
                <a:off x="-1008993" y="2120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sp>
            <p:nvSpPr>
              <p:cNvPr id="1546" name="Ellipse 21">
                <a:extLst>
                  <a:ext uri="{FF2B5EF4-FFF2-40B4-BE49-F238E27FC236}">
                    <a16:creationId xmlns:a16="http://schemas.microsoft.com/office/drawing/2014/main" id="{4733FF70-5270-EEA8-C56A-585F0A046041}"/>
                  </a:ext>
                </a:extLst>
              </p:cNvPr>
              <p:cNvSpPr/>
              <p:nvPr/>
            </p:nvSpPr>
            <p:spPr bwMode="auto">
              <a:xfrm>
                <a:off x="-1008993" y="2264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sp>
            <p:nvSpPr>
              <p:cNvPr id="1547" name="Ellipse 22">
                <a:extLst>
                  <a:ext uri="{FF2B5EF4-FFF2-40B4-BE49-F238E27FC236}">
                    <a16:creationId xmlns:a16="http://schemas.microsoft.com/office/drawing/2014/main" id="{4DF350FC-0FB2-7D36-09FF-556418E379D0}"/>
                  </a:ext>
                </a:extLst>
              </p:cNvPr>
              <p:cNvSpPr/>
              <p:nvPr/>
            </p:nvSpPr>
            <p:spPr bwMode="auto">
              <a:xfrm>
                <a:off x="-1008993" y="2408462"/>
                <a:ext cx="144000" cy="144000"/>
              </a:xfrm>
              <a:prstGeom prst="ellipse">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grpSp>
      </p:grpSp>
      <p:grpSp>
        <p:nvGrpSpPr>
          <p:cNvPr id="1548" name="Gruppieren 23">
            <a:extLst>
              <a:ext uri="{FF2B5EF4-FFF2-40B4-BE49-F238E27FC236}">
                <a16:creationId xmlns:a16="http://schemas.microsoft.com/office/drawing/2014/main" id="{EF62304E-A11B-1C03-0C8E-110A1A6210A6}"/>
              </a:ext>
            </a:extLst>
          </p:cNvPr>
          <p:cNvGrpSpPr/>
          <p:nvPr/>
        </p:nvGrpSpPr>
        <p:grpSpPr>
          <a:xfrm>
            <a:off x="8568789" y="4023303"/>
            <a:ext cx="219375" cy="292500"/>
            <a:chOff x="-717331" y="4028090"/>
            <a:chExt cx="270000" cy="540000"/>
          </a:xfrm>
        </p:grpSpPr>
        <p:sp>
          <p:nvSpPr>
            <p:cNvPr id="1549" name="Rechteck 24">
              <a:extLst>
                <a:ext uri="{FF2B5EF4-FFF2-40B4-BE49-F238E27FC236}">
                  <a16:creationId xmlns:a16="http://schemas.microsoft.com/office/drawing/2014/main" id="{4B373E30-E14D-6F8B-8543-64587A9C388D}"/>
                </a:ext>
              </a:extLst>
            </p:cNvPr>
            <p:cNvSpPr/>
            <p:nvPr/>
          </p:nvSpPr>
          <p:spPr bwMode="auto">
            <a:xfrm>
              <a:off x="-717331" y="4028090"/>
              <a:ext cx="270000" cy="540000"/>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grpSp>
          <p:nvGrpSpPr>
            <p:cNvPr id="1550" name="Gruppieren 25">
              <a:extLst>
                <a:ext uri="{FF2B5EF4-FFF2-40B4-BE49-F238E27FC236}">
                  <a16:creationId xmlns:a16="http://schemas.microsoft.com/office/drawing/2014/main" id="{F227DAE9-544C-739B-4CF7-ABB477DFC5B1}"/>
                </a:ext>
              </a:extLst>
            </p:cNvPr>
            <p:cNvGrpSpPr/>
            <p:nvPr/>
          </p:nvGrpSpPr>
          <p:grpSpPr>
            <a:xfrm>
              <a:off x="-654331" y="4082090"/>
              <a:ext cx="144000" cy="432000"/>
              <a:chOff x="-1008993" y="2120462"/>
              <a:chExt cx="144000" cy="432000"/>
            </a:xfrm>
          </p:grpSpPr>
          <p:sp>
            <p:nvSpPr>
              <p:cNvPr id="1551" name="Ellipse 26">
                <a:extLst>
                  <a:ext uri="{FF2B5EF4-FFF2-40B4-BE49-F238E27FC236}">
                    <a16:creationId xmlns:a16="http://schemas.microsoft.com/office/drawing/2014/main" id="{5DDF6C7C-EAE3-5493-25D2-E73D7A1CB9DE}"/>
                  </a:ext>
                </a:extLst>
              </p:cNvPr>
              <p:cNvSpPr/>
              <p:nvPr/>
            </p:nvSpPr>
            <p:spPr bwMode="auto">
              <a:xfrm>
                <a:off x="-1008993" y="2120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sp>
            <p:nvSpPr>
              <p:cNvPr id="1552" name="Ellipse 27">
                <a:extLst>
                  <a:ext uri="{FF2B5EF4-FFF2-40B4-BE49-F238E27FC236}">
                    <a16:creationId xmlns:a16="http://schemas.microsoft.com/office/drawing/2014/main" id="{FCCD4C0B-5266-4327-14B1-D66D89DD9579}"/>
                  </a:ext>
                </a:extLst>
              </p:cNvPr>
              <p:cNvSpPr/>
              <p:nvPr/>
            </p:nvSpPr>
            <p:spPr bwMode="auto">
              <a:xfrm>
                <a:off x="-1008993" y="2264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sp>
            <p:nvSpPr>
              <p:cNvPr id="1553" name="Ellipse 28">
                <a:extLst>
                  <a:ext uri="{FF2B5EF4-FFF2-40B4-BE49-F238E27FC236}">
                    <a16:creationId xmlns:a16="http://schemas.microsoft.com/office/drawing/2014/main" id="{7880399E-D389-1CDF-60EE-6AA444CE7265}"/>
                  </a:ext>
                </a:extLst>
              </p:cNvPr>
              <p:cNvSpPr/>
              <p:nvPr/>
            </p:nvSpPr>
            <p:spPr bwMode="auto">
              <a:xfrm>
                <a:off x="-1008993" y="2408462"/>
                <a:ext cx="144000" cy="144000"/>
              </a:xfrm>
              <a:prstGeom prst="ellipse">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74295" tIns="37148" rIns="74295" bIns="37148" numCol="1" rtlCol="0" anchor="t" anchorCtr="0" compatLnSpc="1">
                <a:prstTxWarp prst="textNoShape">
                  <a:avLst/>
                </a:prstTxWarp>
              </a:bodyPr>
              <a:lstStyle/>
              <a:p>
                <a:pPr defTabSz="742950" eaLnBrk="0" hangingPunct="0"/>
                <a:endParaRPr kumimoji="0" lang="en-GB" b="0" i="0" u="none" strike="noStrike" cap="none" normalizeH="0" baseline="0" dirty="0">
                  <a:ln>
                    <a:noFill/>
                  </a:ln>
                  <a:solidFill>
                    <a:schemeClr val="tx1"/>
                  </a:solidFill>
                  <a:effectLst/>
                  <a:latin typeface="+mn-lt"/>
                </a:endParaRPr>
              </a:p>
            </p:txBody>
          </p:sp>
        </p:grpSp>
      </p:grpSp>
      <p:sp>
        <p:nvSpPr>
          <p:cNvPr id="1554" name="Textfeld 477">
            <a:extLst>
              <a:ext uri="{FF2B5EF4-FFF2-40B4-BE49-F238E27FC236}">
                <a16:creationId xmlns:a16="http://schemas.microsoft.com/office/drawing/2014/main" id="{225386EC-CE57-1A45-882F-4935CBBBCF95}"/>
              </a:ext>
            </a:extLst>
          </p:cNvPr>
          <p:cNvSpPr txBox="1"/>
          <p:nvPr/>
        </p:nvSpPr>
        <p:spPr>
          <a:xfrm>
            <a:off x="3508310" y="5569475"/>
            <a:ext cx="6110600" cy="206174"/>
          </a:xfrm>
          <a:prstGeom prst="rect">
            <a:avLst/>
          </a:prstGeom>
          <a:noFill/>
        </p:spPr>
        <p:txBody>
          <a:bodyPr wrap="square" rtlCol="0">
            <a:spAutoFit/>
          </a:bodyPr>
          <a:lstStyle/>
          <a:p>
            <a:pPr algn="r"/>
            <a:r>
              <a:rPr lang="en-GB" sz="731" dirty="0">
                <a:latin typeface="Arial" panose="020B0604020202020204" pitchFamily="34" charset="0"/>
                <a:cs typeface="Arial" panose="020B0604020202020204" pitchFamily="34" charset="0"/>
              </a:rPr>
              <a:t>* Date as of when cross-border exchanges were possible due to the neighbouring TSO joining. The technical go-live of the platform was earlier.</a:t>
            </a:r>
          </a:p>
        </p:txBody>
      </p:sp>
      <p:pic>
        <p:nvPicPr>
          <p:cNvPr id="1555" name="Grafik 30">
            <a:extLst>
              <a:ext uri="{FF2B5EF4-FFF2-40B4-BE49-F238E27FC236}">
                <a16:creationId xmlns:a16="http://schemas.microsoft.com/office/drawing/2014/main" id="{F5CE7D76-5D19-F4ED-87AB-DA6E751895C4}"/>
              </a:ext>
            </a:extLst>
          </p:cNvPr>
          <p:cNvPicPr>
            <a:picLocks noChangeAspect="1"/>
          </p:cNvPicPr>
          <p:nvPr/>
        </p:nvPicPr>
        <p:blipFill>
          <a:blip r:embed="rId2"/>
          <a:stretch>
            <a:fillRect/>
          </a:stretch>
        </p:blipFill>
        <p:spPr>
          <a:xfrm>
            <a:off x="6067441" y="2073941"/>
            <a:ext cx="1166599" cy="1191687"/>
          </a:xfrm>
          <a:prstGeom prst="rect">
            <a:avLst/>
          </a:prstGeom>
        </p:spPr>
      </p:pic>
      <p:pic>
        <p:nvPicPr>
          <p:cNvPr id="1556" name="Grafik 191">
            <a:extLst>
              <a:ext uri="{FF2B5EF4-FFF2-40B4-BE49-F238E27FC236}">
                <a16:creationId xmlns:a16="http://schemas.microsoft.com/office/drawing/2014/main" id="{F4A0E498-24F6-0D28-65E7-5EF817937078}"/>
              </a:ext>
            </a:extLst>
          </p:cNvPr>
          <p:cNvPicPr>
            <a:picLocks noChangeAspect="1"/>
          </p:cNvPicPr>
          <p:nvPr/>
        </p:nvPicPr>
        <p:blipFill>
          <a:blip r:embed="rId3"/>
          <a:stretch>
            <a:fillRect/>
          </a:stretch>
        </p:blipFill>
        <p:spPr>
          <a:xfrm>
            <a:off x="4062495" y="2073941"/>
            <a:ext cx="1062250" cy="1196558"/>
          </a:xfrm>
          <a:prstGeom prst="rect">
            <a:avLst/>
          </a:prstGeom>
        </p:spPr>
      </p:pic>
      <p:pic>
        <p:nvPicPr>
          <p:cNvPr id="1557" name="Grafik 192">
            <a:extLst>
              <a:ext uri="{FF2B5EF4-FFF2-40B4-BE49-F238E27FC236}">
                <a16:creationId xmlns:a16="http://schemas.microsoft.com/office/drawing/2014/main" id="{FA119D62-EBCD-C5C1-B83D-FF2FC17C9775}"/>
              </a:ext>
            </a:extLst>
          </p:cNvPr>
          <p:cNvPicPr>
            <a:picLocks noChangeAspect="1"/>
          </p:cNvPicPr>
          <p:nvPr/>
        </p:nvPicPr>
        <p:blipFill>
          <a:blip r:embed="rId4"/>
          <a:stretch>
            <a:fillRect/>
          </a:stretch>
        </p:blipFill>
        <p:spPr>
          <a:xfrm>
            <a:off x="2132179" y="2073941"/>
            <a:ext cx="1175732" cy="1197109"/>
          </a:xfrm>
          <a:prstGeom prst="rect">
            <a:avLst/>
          </a:prstGeom>
        </p:spPr>
      </p:pic>
      <p:pic>
        <p:nvPicPr>
          <p:cNvPr id="1558" name="Picture 36">
            <a:extLst>
              <a:ext uri="{FF2B5EF4-FFF2-40B4-BE49-F238E27FC236}">
                <a16:creationId xmlns:a16="http://schemas.microsoft.com/office/drawing/2014/main" id="{D12A57B2-60B6-CC5A-C994-E1E52F36A6C6}"/>
              </a:ext>
            </a:extLst>
          </p:cNvPr>
          <p:cNvPicPr>
            <a:picLocks noChangeAspect="1"/>
          </p:cNvPicPr>
          <p:nvPr/>
        </p:nvPicPr>
        <p:blipFill>
          <a:blip r:embed="rId5"/>
          <a:stretch>
            <a:fillRect/>
          </a:stretch>
        </p:blipFill>
        <p:spPr>
          <a:xfrm>
            <a:off x="8221686" y="2073941"/>
            <a:ext cx="1089750" cy="1191687"/>
          </a:xfrm>
          <a:prstGeom prst="rect">
            <a:avLst/>
          </a:prstGeom>
        </p:spPr>
      </p:pic>
    </p:spTree>
    <p:extLst>
      <p:ext uri="{BB962C8B-B14F-4D97-AF65-F5344CB8AC3E}">
        <p14:creationId xmlns:p14="http://schemas.microsoft.com/office/powerpoint/2010/main" val="3643640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7708B-590D-0B9E-7D72-8DD9184F73DD}"/>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83A513F2-E01A-3323-6BCB-4F52815E50A9}"/>
              </a:ext>
            </a:extLst>
          </p:cNvPr>
          <p:cNvSpPr>
            <a:spLocks noGrp="1"/>
          </p:cNvSpPr>
          <p:nvPr>
            <p:ph type="title"/>
          </p:nvPr>
        </p:nvSpPr>
        <p:spPr/>
        <p:txBody>
          <a:bodyPr/>
          <a:lstStyle/>
          <a:p>
            <a:r>
              <a:rPr lang="en-GB" sz="1800" noProof="0" dirty="0">
                <a:solidFill>
                  <a:schemeClr val="tx1"/>
                </a:solidFill>
              </a:rPr>
              <a:t>Recent developments and updates</a:t>
            </a:r>
          </a:p>
        </p:txBody>
      </p:sp>
      <p:sp>
        <p:nvSpPr>
          <p:cNvPr id="20" name="Text Placeholder 7">
            <a:extLst>
              <a:ext uri="{FF2B5EF4-FFF2-40B4-BE49-F238E27FC236}">
                <a16:creationId xmlns:a16="http://schemas.microsoft.com/office/drawing/2014/main" id="{5BFF551A-A3AE-9C4D-08D9-EC76FB419EBA}"/>
              </a:ext>
            </a:extLst>
          </p:cNvPr>
          <p:cNvSpPr>
            <a:spLocks noGrp="1"/>
          </p:cNvSpPr>
          <p:nvPr>
            <p:ph type="body" sz="quarter" idx="16"/>
          </p:nvPr>
        </p:nvSpPr>
        <p:spPr/>
        <p:txBody>
          <a:bodyPr/>
          <a:lstStyle/>
          <a:p>
            <a:r>
              <a:rPr lang="en-GB" sz="1600" noProof="0" dirty="0">
                <a:solidFill>
                  <a:schemeClr val="tx1"/>
                </a:solidFill>
              </a:rPr>
              <a:t>Updates</a:t>
            </a:r>
          </a:p>
        </p:txBody>
      </p:sp>
      <p:sp>
        <p:nvSpPr>
          <p:cNvPr id="7" name="Content Placeholder 6">
            <a:extLst>
              <a:ext uri="{FF2B5EF4-FFF2-40B4-BE49-F238E27FC236}">
                <a16:creationId xmlns:a16="http://schemas.microsoft.com/office/drawing/2014/main" id="{491CD989-9FBC-06CE-70E7-A0C7ECAFB6A5}"/>
              </a:ext>
            </a:extLst>
          </p:cNvPr>
          <p:cNvSpPr>
            <a:spLocks noGrp="1"/>
          </p:cNvSpPr>
          <p:nvPr>
            <p:ph sz="quarter" idx="17"/>
          </p:nvPr>
        </p:nvSpPr>
        <p:spPr>
          <a:xfrm>
            <a:off x="570043" y="1022105"/>
            <a:ext cx="3071969" cy="1707616"/>
          </a:xfrm>
          <a:noFill/>
          <a:ln>
            <a:noFill/>
          </a:ln>
        </p:spPr>
        <p:txBody>
          <a:bodyPr vert="horz" lIns="91440" tIns="45720" rIns="91440" bIns="45720" rtlCol="0" anchor="t">
            <a:noAutofit/>
          </a:bodyPr>
          <a:lstStyle/>
          <a:p>
            <a:r>
              <a:rPr lang="en-GB" b="1" noProof="0" dirty="0">
                <a:solidFill>
                  <a:schemeClr val="tx1"/>
                </a:solidFill>
              </a:rPr>
              <a:t>Accession to MARI in 2025</a:t>
            </a:r>
          </a:p>
          <a:p>
            <a:pPr lvl="1">
              <a:buClr>
                <a:srgbClr val="595959"/>
              </a:buClr>
            </a:pPr>
            <a:r>
              <a:rPr lang="en-GB" b="1" noProof="0" dirty="0">
                <a:solidFill>
                  <a:schemeClr val="tx1"/>
                </a:solidFill>
              </a:rPr>
              <a:t>May: </a:t>
            </a:r>
          </a:p>
          <a:p>
            <a:pPr lvl="2"/>
            <a:r>
              <a:rPr lang="en-GB" noProof="0" dirty="0">
                <a:solidFill>
                  <a:schemeClr val="tx1"/>
                </a:solidFill>
              </a:rPr>
              <a:t>Elia (</a:t>
            </a:r>
            <a:r>
              <a:rPr lang="en-GB" noProof="0" dirty="0">
                <a:solidFill>
                  <a:schemeClr val="tx1"/>
                </a:solidFill>
                <a:hlinkClick r:id="rId3">
                  <a:extLst>
                    <a:ext uri="{A12FA001-AC4F-418D-AE19-62706E023703}">
                      <ahyp:hlinkClr xmlns:ahyp="http://schemas.microsoft.com/office/drawing/2018/hyperlinkcolor" val="tx"/>
                    </a:ext>
                  </a:extLst>
                </a:hlinkClick>
              </a:rPr>
              <a:t>Link</a:t>
            </a:r>
            <a:r>
              <a:rPr lang="en-GB" noProof="0" dirty="0">
                <a:solidFill>
                  <a:schemeClr val="tx1"/>
                </a:solidFill>
              </a:rPr>
              <a:t> to communication)</a:t>
            </a:r>
          </a:p>
          <a:p>
            <a:pPr lvl="1">
              <a:buClr>
                <a:srgbClr val="595959"/>
              </a:buClr>
            </a:pPr>
            <a:r>
              <a:rPr lang="en-GB" b="1" noProof="0" dirty="0">
                <a:solidFill>
                  <a:schemeClr val="tx1"/>
                </a:solidFill>
              </a:rPr>
              <a:t>Expected in December</a:t>
            </a:r>
          </a:p>
          <a:p>
            <a:pPr lvl="2"/>
            <a:r>
              <a:rPr lang="en-GB" i="1" noProof="0" dirty="0" err="1">
                <a:solidFill>
                  <a:schemeClr val="tx1"/>
                </a:solidFill>
              </a:rPr>
              <a:t>TenneT</a:t>
            </a:r>
            <a:r>
              <a:rPr lang="en-GB" i="1" noProof="0" dirty="0">
                <a:solidFill>
                  <a:schemeClr val="tx1"/>
                </a:solidFill>
              </a:rPr>
              <a:t> NL</a:t>
            </a:r>
          </a:p>
        </p:txBody>
      </p:sp>
      <p:sp>
        <p:nvSpPr>
          <p:cNvPr id="2" name="Slide Number Placeholder 1">
            <a:extLst>
              <a:ext uri="{FF2B5EF4-FFF2-40B4-BE49-F238E27FC236}">
                <a16:creationId xmlns:a16="http://schemas.microsoft.com/office/drawing/2014/main" id="{5877940D-00D8-E52C-D50F-70AAF0084E22}"/>
              </a:ext>
            </a:extLst>
          </p:cNvPr>
          <p:cNvSpPr>
            <a:spLocks noGrp="1"/>
          </p:cNvSpPr>
          <p:nvPr>
            <p:ph type="sldNum" sz="quarter" idx="4"/>
          </p:nvPr>
        </p:nvSpPr>
        <p:spPr/>
        <p:txBody>
          <a:bodyPr/>
          <a:lstStyle/>
          <a:p>
            <a:fld id="{F551322C-20B2-48C3-B63D-68158FEBF630}" type="slidenum">
              <a:rPr lang="en-GB" noProof="0" smtClean="0"/>
              <a:pPr/>
              <a:t>2</a:t>
            </a:fld>
            <a:endParaRPr lang="en-GB" noProof="0" dirty="0"/>
          </a:p>
        </p:txBody>
      </p:sp>
      <p:pic>
        <p:nvPicPr>
          <p:cNvPr id="590" name="Picture 589">
            <a:extLst>
              <a:ext uri="{FF2B5EF4-FFF2-40B4-BE49-F238E27FC236}">
                <a16:creationId xmlns:a16="http://schemas.microsoft.com/office/drawing/2014/main" id="{F1A8B707-ECD9-B490-33F3-8C12A50FC8B0}"/>
              </a:ext>
            </a:extLst>
          </p:cNvPr>
          <p:cNvPicPr>
            <a:picLocks noChangeAspect="1"/>
          </p:cNvPicPr>
          <p:nvPr/>
        </p:nvPicPr>
        <p:blipFill>
          <a:blip r:embed="rId4"/>
          <a:stretch>
            <a:fillRect/>
          </a:stretch>
        </p:blipFill>
        <p:spPr>
          <a:xfrm>
            <a:off x="950257" y="2923344"/>
            <a:ext cx="3058221" cy="3060000"/>
          </a:xfrm>
          <a:prstGeom prst="rect">
            <a:avLst/>
          </a:prstGeom>
        </p:spPr>
      </p:pic>
      <p:sp>
        <p:nvSpPr>
          <p:cNvPr id="593" name="Content Placeholder 6">
            <a:extLst>
              <a:ext uri="{FF2B5EF4-FFF2-40B4-BE49-F238E27FC236}">
                <a16:creationId xmlns:a16="http://schemas.microsoft.com/office/drawing/2014/main" id="{C5442ABF-5EB8-6AF3-A8E5-60BABBDF7926}"/>
              </a:ext>
            </a:extLst>
          </p:cNvPr>
          <p:cNvSpPr txBox="1">
            <a:spLocks/>
          </p:cNvSpPr>
          <p:nvPr/>
        </p:nvSpPr>
        <p:spPr>
          <a:xfrm>
            <a:off x="4863220" y="1018974"/>
            <a:ext cx="4548631" cy="1961598"/>
          </a:xfrm>
          <a:prstGeom prst="rect">
            <a:avLst/>
          </a:prstGeom>
          <a:noFill/>
          <a:ln>
            <a:noFill/>
          </a:ln>
        </p:spPr>
        <p:txBody>
          <a:bodyPr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r>
              <a:rPr lang="en-GB" b="1" kern="0" noProof="0" dirty="0">
                <a:solidFill>
                  <a:schemeClr val="tx1"/>
                </a:solidFill>
              </a:rPr>
              <a:t>Accessions to PICASSO in 2025</a:t>
            </a:r>
          </a:p>
          <a:p>
            <a:pPr lvl="1">
              <a:buClr>
                <a:srgbClr val="595959"/>
              </a:buClr>
            </a:pPr>
            <a:r>
              <a:rPr lang="en-GB" b="1" noProof="0" dirty="0">
                <a:solidFill>
                  <a:schemeClr val="tx1"/>
                </a:solidFill>
              </a:rPr>
              <a:t>February to July </a:t>
            </a:r>
          </a:p>
          <a:p>
            <a:pPr lvl="2"/>
            <a:r>
              <a:rPr lang="en-GB" noProof="0" dirty="0">
                <a:solidFill>
                  <a:schemeClr val="tx1"/>
                </a:solidFill>
              </a:rPr>
              <a:t>ESO (</a:t>
            </a:r>
            <a:r>
              <a:rPr lang="en-GB" noProof="0" dirty="0">
                <a:solidFill>
                  <a:schemeClr val="tx1"/>
                </a:solidFill>
                <a:hlinkClick r:id="rId5">
                  <a:extLst>
                    <a:ext uri="{A12FA001-AC4F-418D-AE19-62706E023703}">
                      <ahyp:hlinkClr xmlns:ahyp="http://schemas.microsoft.com/office/drawing/2018/hyperlinkcolor" val="tx"/>
                    </a:ext>
                  </a:extLst>
                </a:hlinkClick>
              </a:rPr>
              <a:t>Link</a:t>
            </a:r>
            <a:r>
              <a:rPr lang="en-GB" noProof="0" dirty="0">
                <a:solidFill>
                  <a:schemeClr val="tx1"/>
                </a:solidFill>
              </a:rPr>
              <a:t> to communication), Litgrid (</a:t>
            </a:r>
            <a:r>
              <a:rPr lang="en-GB" noProof="0" dirty="0">
                <a:solidFill>
                  <a:schemeClr val="tx1"/>
                </a:solidFill>
                <a:hlinkClick r:id="rId6">
                  <a:extLst>
                    <a:ext uri="{A12FA001-AC4F-418D-AE19-62706E023703}">
                      <ahyp:hlinkClr xmlns:ahyp="http://schemas.microsoft.com/office/drawing/2018/hyperlinkcolor" val="tx"/>
                    </a:ext>
                  </a:extLst>
                </a:hlinkClick>
              </a:rPr>
              <a:t>Link</a:t>
            </a:r>
            <a:r>
              <a:rPr lang="en-GB" noProof="0" dirty="0">
                <a:solidFill>
                  <a:schemeClr val="tx1"/>
                </a:solidFill>
              </a:rPr>
              <a:t> to communication), ADMIE (</a:t>
            </a:r>
            <a:r>
              <a:rPr lang="en-GB" noProof="0" dirty="0">
                <a:solidFill>
                  <a:schemeClr val="tx1"/>
                </a:solidFill>
                <a:hlinkClick r:id="rId7">
                  <a:extLst>
                    <a:ext uri="{A12FA001-AC4F-418D-AE19-62706E023703}">
                      <ahyp:hlinkClr xmlns:ahyp="http://schemas.microsoft.com/office/drawing/2018/hyperlinkcolor" val="tx"/>
                    </a:ext>
                  </a:extLst>
                </a:hlinkClick>
              </a:rPr>
              <a:t>Link</a:t>
            </a:r>
            <a:r>
              <a:rPr lang="en-GB" noProof="0" dirty="0">
                <a:solidFill>
                  <a:schemeClr val="tx1"/>
                </a:solidFill>
              </a:rPr>
              <a:t> to communication), Fingrid (</a:t>
            </a:r>
            <a:r>
              <a:rPr lang="en-GB" noProof="0" dirty="0">
                <a:solidFill>
                  <a:schemeClr val="tx1"/>
                </a:solidFill>
                <a:hlinkClick r:id="rId8">
                  <a:extLst>
                    <a:ext uri="{A12FA001-AC4F-418D-AE19-62706E023703}">
                      <ahyp:hlinkClr xmlns:ahyp="http://schemas.microsoft.com/office/drawing/2018/hyperlinkcolor" val="tx"/>
                    </a:ext>
                  </a:extLst>
                </a:hlinkClick>
              </a:rPr>
              <a:t>Link</a:t>
            </a:r>
            <a:r>
              <a:rPr lang="en-GB" noProof="0" dirty="0">
                <a:solidFill>
                  <a:schemeClr val="tx1"/>
                </a:solidFill>
              </a:rPr>
              <a:t> to communication), RTE (</a:t>
            </a:r>
            <a:r>
              <a:rPr lang="en-GB" noProof="0" dirty="0">
                <a:solidFill>
                  <a:schemeClr val="tx1"/>
                </a:solidFill>
                <a:hlinkClick r:id="rId9">
                  <a:extLst>
                    <a:ext uri="{A12FA001-AC4F-418D-AE19-62706E023703}">
                      <ahyp:hlinkClr xmlns:ahyp="http://schemas.microsoft.com/office/drawing/2018/hyperlinkcolor" val="tx"/>
                    </a:ext>
                  </a:extLst>
                </a:hlinkClick>
              </a:rPr>
              <a:t>Link</a:t>
            </a:r>
            <a:r>
              <a:rPr lang="en-GB" noProof="0" dirty="0">
                <a:solidFill>
                  <a:schemeClr val="tx1"/>
                </a:solidFill>
              </a:rPr>
              <a:t> to communication), AST (</a:t>
            </a:r>
            <a:r>
              <a:rPr lang="en-GB" noProof="0" dirty="0">
                <a:solidFill>
                  <a:schemeClr val="tx1"/>
                </a:solidFill>
                <a:hlinkClick r:id="rId10">
                  <a:extLst>
                    <a:ext uri="{A12FA001-AC4F-418D-AE19-62706E023703}">
                      <ahyp:hlinkClr xmlns:ahyp="http://schemas.microsoft.com/office/drawing/2018/hyperlinkcolor" val="tx"/>
                    </a:ext>
                  </a:extLst>
                </a:hlinkClick>
              </a:rPr>
              <a:t>Link</a:t>
            </a:r>
            <a:r>
              <a:rPr lang="en-GB" noProof="0" dirty="0">
                <a:solidFill>
                  <a:schemeClr val="tx1"/>
                </a:solidFill>
              </a:rPr>
              <a:t> to communication), ELERING (</a:t>
            </a:r>
            <a:r>
              <a:rPr lang="en-GB" noProof="0" dirty="0">
                <a:solidFill>
                  <a:schemeClr val="tx1"/>
                </a:solidFill>
                <a:hlinkClick r:id="rId11">
                  <a:extLst>
                    <a:ext uri="{A12FA001-AC4F-418D-AE19-62706E023703}">
                      <ahyp:hlinkClr xmlns:ahyp="http://schemas.microsoft.com/office/drawing/2018/hyperlinkcolor" val="tx"/>
                    </a:ext>
                  </a:extLst>
                </a:hlinkClick>
              </a:rPr>
              <a:t>Link</a:t>
            </a:r>
            <a:r>
              <a:rPr lang="en-GB" noProof="0" dirty="0">
                <a:solidFill>
                  <a:schemeClr val="tx1"/>
                </a:solidFill>
              </a:rPr>
              <a:t> to communication), Red Eléctrica (</a:t>
            </a:r>
            <a:r>
              <a:rPr lang="en-GB" noProof="0" dirty="0">
                <a:solidFill>
                  <a:schemeClr val="tx1"/>
                </a:solidFill>
                <a:hlinkClick r:id="rId12">
                  <a:extLst>
                    <a:ext uri="{A12FA001-AC4F-418D-AE19-62706E023703}">
                      <ahyp:hlinkClr xmlns:ahyp="http://schemas.microsoft.com/office/drawing/2018/hyperlinkcolor" val="tx"/>
                    </a:ext>
                  </a:extLst>
                </a:hlinkClick>
              </a:rPr>
              <a:t>Link</a:t>
            </a:r>
            <a:r>
              <a:rPr lang="en-GB" noProof="0" dirty="0">
                <a:solidFill>
                  <a:schemeClr val="tx1"/>
                </a:solidFill>
              </a:rPr>
              <a:t> to communication) and PSE (</a:t>
            </a:r>
            <a:r>
              <a:rPr lang="en-GB" noProof="0" dirty="0">
                <a:solidFill>
                  <a:schemeClr val="tx1"/>
                </a:solidFill>
                <a:hlinkClick r:id="rId13">
                  <a:extLst>
                    <a:ext uri="{A12FA001-AC4F-418D-AE19-62706E023703}">
                      <ahyp:hlinkClr xmlns:ahyp="http://schemas.microsoft.com/office/drawing/2018/hyperlinkcolor" val="tx"/>
                    </a:ext>
                  </a:extLst>
                </a:hlinkClick>
              </a:rPr>
              <a:t>Link</a:t>
            </a:r>
            <a:r>
              <a:rPr lang="en-GB" noProof="0" dirty="0">
                <a:solidFill>
                  <a:schemeClr val="tx1"/>
                </a:solidFill>
              </a:rPr>
              <a:t> to communication)</a:t>
            </a:r>
          </a:p>
          <a:p>
            <a:pPr lvl="1">
              <a:buClr>
                <a:srgbClr val="595959"/>
              </a:buClr>
            </a:pPr>
            <a:r>
              <a:rPr lang="en-GB" b="1" noProof="0" dirty="0">
                <a:solidFill>
                  <a:schemeClr val="tx1"/>
                </a:solidFill>
              </a:rPr>
              <a:t>November: </a:t>
            </a:r>
            <a:r>
              <a:rPr lang="en-GB" i="1" noProof="0" dirty="0">
                <a:solidFill>
                  <a:schemeClr val="tx1"/>
                </a:solidFill>
              </a:rPr>
              <a:t>TERNA</a:t>
            </a:r>
          </a:p>
        </p:txBody>
      </p:sp>
      <p:pic>
        <p:nvPicPr>
          <p:cNvPr id="609" name="Picture 608">
            <a:extLst>
              <a:ext uri="{FF2B5EF4-FFF2-40B4-BE49-F238E27FC236}">
                <a16:creationId xmlns:a16="http://schemas.microsoft.com/office/drawing/2014/main" id="{ADC3718B-5B7F-6858-39C3-1F4BD3FD6667}"/>
              </a:ext>
            </a:extLst>
          </p:cNvPr>
          <p:cNvPicPr>
            <a:picLocks noChangeAspect="1"/>
          </p:cNvPicPr>
          <p:nvPr/>
        </p:nvPicPr>
        <p:blipFill>
          <a:blip r:embed="rId14"/>
          <a:stretch>
            <a:fillRect/>
          </a:stretch>
        </p:blipFill>
        <p:spPr>
          <a:xfrm>
            <a:off x="8302470" y="2856594"/>
            <a:ext cx="1306546" cy="572406"/>
          </a:xfrm>
          <a:prstGeom prst="rect">
            <a:avLst/>
          </a:prstGeom>
        </p:spPr>
      </p:pic>
      <p:pic>
        <p:nvPicPr>
          <p:cNvPr id="611" name="Picture 610">
            <a:extLst>
              <a:ext uri="{FF2B5EF4-FFF2-40B4-BE49-F238E27FC236}">
                <a16:creationId xmlns:a16="http://schemas.microsoft.com/office/drawing/2014/main" id="{77665969-1EB7-67F0-C2C8-656A68127B83}"/>
              </a:ext>
            </a:extLst>
          </p:cNvPr>
          <p:cNvPicPr>
            <a:picLocks noChangeAspect="1"/>
          </p:cNvPicPr>
          <p:nvPr/>
        </p:nvPicPr>
        <p:blipFill>
          <a:blip r:embed="rId15"/>
          <a:srcRect t="1970"/>
          <a:stretch/>
        </p:blipFill>
        <p:spPr>
          <a:xfrm>
            <a:off x="2808451" y="2247905"/>
            <a:ext cx="1120281" cy="528250"/>
          </a:xfrm>
          <a:prstGeom prst="rect">
            <a:avLst/>
          </a:prstGeom>
        </p:spPr>
      </p:pic>
      <p:pic>
        <p:nvPicPr>
          <p:cNvPr id="4" name="Image 9">
            <a:extLst>
              <a:ext uri="{FF2B5EF4-FFF2-40B4-BE49-F238E27FC236}">
                <a16:creationId xmlns:a16="http://schemas.microsoft.com/office/drawing/2014/main" id="{BF07E233-4C1F-6DD7-4746-74B9909C0108}"/>
              </a:ext>
            </a:extLst>
          </p:cNvPr>
          <p:cNvPicPr>
            <a:picLocks noChangeAspect="1"/>
          </p:cNvPicPr>
          <p:nvPr/>
        </p:nvPicPr>
        <p:blipFill>
          <a:blip r:embed="rId16"/>
          <a:stretch>
            <a:fillRect/>
          </a:stretch>
        </p:blipFill>
        <p:spPr>
          <a:xfrm>
            <a:off x="5229686" y="2984626"/>
            <a:ext cx="3053824" cy="3060000"/>
          </a:xfrm>
          <a:prstGeom prst="rect">
            <a:avLst/>
          </a:prstGeom>
        </p:spPr>
      </p:pic>
      <p:cxnSp>
        <p:nvCxnSpPr>
          <p:cNvPr id="8" name="Gerader Verbinder 7">
            <a:extLst>
              <a:ext uri="{FF2B5EF4-FFF2-40B4-BE49-F238E27FC236}">
                <a16:creationId xmlns:a16="http://schemas.microsoft.com/office/drawing/2014/main" id="{9794427E-5957-C8CF-4E4D-102B98129B58}"/>
              </a:ext>
            </a:extLst>
          </p:cNvPr>
          <p:cNvCxnSpPr/>
          <p:nvPr/>
        </p:nvCxnSpPr>
        <p:spPr bwMode="auto">
          <a:xfrm>
            <a:off x="4488873" y="1181427"/>
            <a:ext cx="0" cy="5146894"/>
          </a:xfrm>
          <a:prstGeom prst="line">
            <a:avLst/>
          </a:prstGeom>
          <a:solidFill>
            <a:schemeClr val="accent1"/>
          </a:solidFill>
          <a:ln w="19050" cap="flat" cmpd="sng" algn="ctr">
            <a:solidFill>
              <a:schemeClr val="tx1"/>
            </a:solidFill>
            <a:prstDash val="solid"/>
            <a:round/>
            <a:headEnd type="none" w="med" len="med"/>
            <a:tailEnd type="none"/>
          </a:ln>
          <a:effectLst/>
        </p:spPr>
      </p:cxnSp>
      <p:sp>
        <p:nvSpPr>
          <p:cNvPr id="5" name="TextBox 4">
            <a:extLst>
              <a:ext uri="{FF2B5EF4-FFF2-40B4-BE49-F238E27FC236}">
                <a16:creationId xmlns:a16="http://schemas.microsoft.com/office/drawing/2014/main" id="{2B77D8A7-5420-3C46-18B9-CA5458DC8207}"/>
              </a:ext>
            </a:extLst>
          </p:cNvPr>
          <p:cNvSpPr txBox="1"/>
          <p:nvPr/>
        </p:nvSpPr>
        <p:spPr>
          <a:xfrm>
            <a:off x="2619202" y="6425576"/>
            <a:ext cx="3566994" cy="369332"/>
          </a:xfrm>
          <a:prstGeom prst="rect">
            <a:avLst/>
          </a:prstGeom>
          <a:noFill/>
        </p:spPr>
        <p:txBody>
          <a:bodyPr wrap="square">
            <a:spAutoFit/>
          </a:bodyPr>
          <a:lstStyle/>
          <a:p>
            <a:r>
              <a:rPr lang="en-US" noProof="0" dirty="0"/>
              <a:t>🗓️</a:t>
            </a:r>
            <a:r>
              <a:rPr lang="lv-LV" noProof="0" dirty="0"/>
              <a:t>BP workshop recording</a:t>
            </a:r>
            <a:r>
              <a:rPr lang="en-US" noProof="0" dirty="0"/>
              <a:t>: </a:t>
            </a:r>
            <a:r>
              <a:rPr lang="lv-LV" noProof="0" dirty="0">
                <a:hlinkClick r:id="rId17"/>
              </a:rPr>
              <a:t>Here</a:t>
            </a:r>
            <a:endParaRPr lang="en-US" noProof="0" dirty="0"/>
          </a:p>
        </p:txBody>
      </p:sp>
      <p:sp>
        <p:nvSpPr>
          <p:cNvPr id="9" name="TextBox 8">
            <a:extLst>
              <a:ext uri="{FF2B5EF4-FFF2-40B4-BE49-F238E27FC236}">
                <a16:creationId xmlns:a16="http://schemas.microsoft.com/office/drawing/2014/main" id="{250E8047-A7D1-2DA0-157D-9C9200EF3B7A}"/>
              </a:ext>
            </a:extLst>
          </p:cNvPr>
          <p:cNvSpPr txBox="1"/>
          <p:nvPr/>
        </p:nvSpPr>
        <p:spPr>
          <a:xfrm>
            <a:off x="539999" y="5992724"/>
            <a:ext cx="3948873" cy="307777"/>
          </a:xfrm>
          <a:prstGeom prst="rect">
            <a:avLst/>
          </a:prstGeom>
          <a:noFill/>
        </p:spPr>
        <p:txBody>
          <a:bodyPr wrap="square" rtlCol="0">
            <a:spAutoFit/>
          </a:bodyPr>
          <a:lstStyle/>
          <a:p>
            <a:pPr algn="l"/>
            <a:r>
              <a:rPr lang="cs-CZ" sz="1400" dirty="0">
                <a:solidFill>
                  <a:schemeClr val="tx2"/>
                </a:solidFill>
                <a:latin typeface="Arial" panose="020B0604020202020204" pitchFamily="34" charset="0"/>
                <a:cs typeface="Arial" panose="020B0604020202020204" pitchFamily="34" charset="0"/>
                <a:hlinkClick r:id="rId18"/>
              </a:rPr>
              <a:t>https://www.entsoe.eu/network_codes/eb/mari/</a:t>
            </a:r>
            <a:r>
              <a:rPr lang="cs-CZ" sz="1400" dirty="0">
                <a:solidFill>
                  <a:schemeClr val="tx2"/>
                </a:solidFill>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A8FA5961-F42E-9B6F-BDA8-6161FA862BB5}"/>
              </a:ext>
            </a:extLst>
          </p:cNvPr>
          <p:cNvSpPr txBox="1"/>
          <p:nvPr/>
        </p:nvSpPr>
        <p:spPr>
          <a:xfrm>
            <a:off x="5103845" y="6044626"/>
            <a:ext cx="4262156" cy="307777"/>
          </a:xfrm>
          <a:prstGeom prst="rect">
            <a:avLst/>
          </a:prstGeom>
          <a:noFill/>
        </p:spPr>
        <p:txBody>
          <a:bodyPr wrap="square" rtlCol="0">
            <a:spAutoFit/>
          </a:bodyPr>
          <a:lstStyle/>
          <a:p>
            <a:pPr algn="l"/>
            <a:r>
              <a:rPr lang="cs-CZ" sz="1400">
                <a:solidFill>
                  <a:schemeClr val="tx2"/>
                </a:solidFill>
                <a:latin typeface="Arial" panose="020B0604020202020204" pitchFamily="34" charset="0"/>
                <a:cs typeface="Arial" panose="020B0604020202020204" pitchFamily="34" charset="0"/>
                <a:hlinkClick r:id="rId19"/>
              </a:rPr>
              <a:t>https://www.entsoe.eu/network_codes/eb/picasso/</a:t>
            </a:r>
            <a:r>
              <a:rPr lang="cs-CZ" sz="1400">
                <a:solidFill>
                  <a:schemeClr val="tx2"/>
                </a:solidFill>
                <a:latin typeface="Arial" panose="020B0604020202020204" pitchFamily="34" charset="0"/>
                <a:cs typeface="Arial" panose="020B0604020202020204" pitchFamily="34" charset="0"/>
              </a:rPr>
              <a:t> </a:t>
            </a:r>
            <a:endParaRPr lang="cs-CZ"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1246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003B7-2BF2-0212-FC68-4C2101FB780E}"/>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03F92178-1871-7944-8E7F-7352EBBAF7B0}"/>
              </a:ext>
            </a:extLst>
          </p:cNvPr>
          <p:cNvSpPr>
            <a:spLocks noGrp="1"/>
          </p:cNvSpPr>
          <p:nvPr>
            <p:ph type="title"/>
          </p:nvPr>
        </p:nvSpPr>
        <p:spPr/>
        <p:txBody>
          <a:bodyPr/>
          <a:lstStyle/>
          <a:p>
            <a:r>
              <a:rPr lang="en-GB" sz="1800" noProof="0" dirty="0">
                <a:solidFill>
                  <a:schemeClr val="tx1"/>
                </a:solidFill>
              </a:rPr>
              <a:t>Recent developments and updates</a:t>
            </a:r>
          </a:p>
        </p:txBody>
      </p:sp>
      <p:sp>
        <p:nvSpPr>
          <p:cNvPr id="20" name="Text Placeholder 7">
            <a:extLst>
              <a:ext uri="{FF2B5EF4-FFF2-40B4-BE49-F238E27FC236}">
                <a16:creationId xmlns:a16="http://schemas.microsoft.com/office/drawing/2014/main" id="{073184DD-9106-4A16-0618-F9F0EB144701}"/>
              </a:ext>
            </a:extLst>
          </p:cNvPr>
          <p:cNvSpPr>
            <a:spLocks noGrp="1"/>
          </p:cNvSpPr>
          <p:nvPr>
            <p:ph type="body" sz="quarter" idx="16"/>
          </p:nvPr>
        </p:nvSpPr>
        <p:spPr/>
        <p:txBody>
          <a:bodyPr/>
          <a:lstStyle/>
          <a:p>
            <a:r>
              <a:rPr lang="en-GB" sz="1600" noProof="0" dirty="0">
                <a:solidFill>
                  <a:schemeClr val="tx1"/>
                </a:solidFill>
              </a:rPr>
              <a:t>Update of the accession roadmaps MARI</a:t>
            </a:r>
          </a:p>
        </p:txBody>
      </p:sp>
      <p:sp>
        <p:nvSpPr>
          <p:cNvPr id="7" name="Content Placeholder 6">
            <a:extLst>
              <a:ext uri="{FF2B5EF4-FFF2-40B4-BE49-F238E27FC236}">
                <a16:creationId xmlns:a16="http://schemas.microsoft.com/office/drawing/2014/main" id="{6F673332-AEC0-8B78-A73F-7C36A9441224}"/>
              </a:ext>
            </a:extLst>
          </p:cNvPr>
          <p:cNvSpPr>
            <a:spLocks noGrp="1"/>
          </p:cNvSpPr>
          <p:nvPr>
            <p:ph sz="quarter" idx="17"/>
          </p:nvPr>
        </p:nvSpPr>
        <p:spPr>
          <a:xfrm>
            <a:off x="539999" y="1166444"/>
            <a:ext cx="8351281" cy="336550"/>
          </a:xfrm>
          <a:noFill/>
          <a:ln>
            <a:noFill/>
          </a:ln>
        </p:spPr>
        <p:txBody>
          <a:bodyPr vert="horz" lIns="91440" tIns="45720" rIns="91440" bIns="45720" rtlCol="0" anchor="t">
            <a:noAutofit/>
          </a:bodyPr>
          <a:lstStyle/>
          <a:p>
            <a:r>
              <a:rPr lang="en-GB" b="1" noProof="0" dirty="0">
                <a:solidFill>
                  <a:schemeClr val="tx1"/>
                </a:solidFill>
              </a:rPr>
              <a:t>Background: </a:t>
            </a:r>
            <a:r>
              <a:rPr lang="en-GB" noProof="0" dirty="0">
                <a:solidFill>
                  <a:schemeClr val="tx1"/>
                </a:solidFill>
              </a:rPr>
              <a:t>Accession Roadmap based on 01.10.2025 published </a:t>
            </a:r>
            <a:r>
              <a:rPr lang="en-GB" noProof="0" dirty="0">
                <a:solidFill>
                  <a:schemeClr val="tx1"/>
                </a:solidFill>
                <a:hlinkClick r:id="rId3"/>
              </a:rPr>
              <a:t>version</a:t>
            </a:r>
            <a:endParaRPr lang="en-GB" noProof="0" dirty="0">
              <a:solidFill>
                <a:schemeClr val="tx1"/>
              </a:solidFill>
            </a:endParaRPr>
          </a:p>
          <a:p>
            <a:endParaRPr lang="en-GB" noProof="0" dirty="0">
              <a:solidFill>
                <a:schemeClr val="tx1">
                  <a:lumMod val="65000"/>
                  <a:lumOff val="35000"/>
                </a:schemeClr>
              </a:solidFill>
            </a:endParaRPr>
          </a:p>
          <a:p>
            <a:pPr lvl="1">
              <a:buClr>
                <a:srgbClr val="A15D22"/>
              </a:buClr>
            </a:pPr>
            <a:endParaRPr lang="en-GB" sz="1400" noProof="0" dirty="0"/>
          </a:p>
        </p:txBody>
      </p:sp>
      <p:sp>
        <p:nvSpPr>
          <p:cNvPr id="2" name="Slide Number Placeholder 1">
            <a:extLst>
              <a:ext uri="{FF2B5EF4-FFF2-40B4-BE49-F238E27FC236}">
                <a16:creationId xmlns:a16="http://schemas.microsoft.com/office/drawing/2014/main" id="{8A2CF56A-D62E-99B0-7433-78F16D82BF88}"/>
              </a:ext>
            </a:extLst>
          </p:cNvPr>
          <p:cNvSpPr>
            <a:spLocks noGrp="1"/>
          </p:cNvSpPr>
          <p:nvPr>
            <p:ph type="sldNum" sz="quarter" idx="4"/>
          </p:nvPr>
        </p:nvSpPr>
        <p:spPr/>
        <p:txBody>
          <a:bodyPr/>
          <a:lstStyle/>
          <a:p>
            <a:fld id="{F551322C-20B2-48C3-B63D-68158FEBF630}" type="slidenum">
              <a:rPr lang="en-GB" noProof="0" smtClean="0"/>
              <a:pPr/>
              <a:t>3</a:t>
            </a:fld>
            <a:endParaRPr lang="en-GB" noProof="0" dirty="0"/>
          </a:p>
        </p:txBody>
      </p:sp>
      <p:sp>
        <p:nvSpPr>
          <p:cNvPr id="5" name="Rechteck 4">
            <a:extLst>
              <a:ext uri="{FF2B5EF4-FFF2-40B4-BE49-F238E27FC236}">
                <a16:creationId xmlns:a16="http://schemas.microsoft.com/office/drawing/2014/main" id="{714A4C76-8ABC-3CB3-ADF3-49271FE6568E}"/>
              </a:ext>
            </a:extLst>
          </p:cNvPr>
          <p:cNvSpPr/>
          <p:nvPr/>
        </p:nvSpPr>
        <p:spPr bwMode="auto">
          <a:xfrm>
            <a:off x="4180974" y="4944979"/>
            <a:ext cx="1395663" cy="4571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0" i="0" u="none" strike="noStrike" cap="none" normalizeH="0" baseline="0" noProof="0" dirty="0">
              <a:ln>
                <a:noFill/>
              </a:ln>
              <a:solidFill>
                <a:schemeClr val="tx1"/>
              </a:solidFill>
              <a:effectLst/>
              <a:latin typeface="+mn-lt"/>
            </a:endParaRPr>
          </a:p>
        </p:txBody>
      </p:sp>
      <p:pic>
        <p:nvPicPr>
          <p:cNvPr id="6" name="Grafik 5">
            <a:extLst>
              <a:ext uri="{FF2B5EF4-FFF2-40B4-BE49-F238E27FC236}">
                <a16:creationId xmlns:a16="http://schemas.microsoft.com/office/drawing/2014/main" id="{A3C3C588-5145-3C64-2C30-A2ED84FD4473}"/>
              </a:ext>
            </a:extLst>
          </p:cNvPr>
          <p:cNvPicPr>
            <a:picLocks noChangeAspect="1"/>
          </p:cNvPicPr>
          <p:nvPr/>
        </p:nvPicPr>
        <p:blipFill>
          <a:blip r:embed="rId4"/>
          <a:stretch>
            <a:fillRect/>
          </a:stretch>
        </p:blipFill>
        <p:spPr>
          <a:xfrm>
            <a:off x="636397" y="1588592"/>
            <a:ext cx="7454658" cy="4996998"/>
          </a:xfrm>
          <a:prstGeom prst="rect">
            <a:avLst/>
          </a:prstGeom>
        </p:spPr>
      </p:pic>
    </p:spTree>
    <p:extLst>
      <p:ext uri="{BB962C8B-B14F-4D97-AF65-F5344CB8AC3E}">
        <p14:creationId xmlns:p14="http://schemas.microsoft.com/office/powerpoint/2010/main" val="6731090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003B7-2BF2-0212-FC68-4C2101FB780E}"/>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03F92178-1871-7944-8E7F-7352EBBAF7B0}"/>
              </a:ext>
            </a:extLst>
          </p:cNvPr>
          <p:cNvSpPr>
            <a:spLocks noGrp="1"/>
          </p:cNvSpPr>
          <p:nvPr>
            <p:ph type="title"/>
          </p:nvPr>
        </p:nvSpPr>
        <p:spPr/>
        <p:txBody>
          <a:bodyPr/>
          <a:lstStyle/>
          <a:p>
            <a:r>
              <a:rPr lang="en-GB" sz="1800" noProof="0" dirty="0">
                <a:solidFill>
                  <a:schemeClr val="tx1"/>
                </a:solidFill>
              </a:rPr>
              <a:t>Recent developments and updates</a:t>
            </a:r>
          </a:p>
        </p:txBody>
      </p:sp>
      <p:sp>
        <p:nvSpPr>
          <p:cNvPr id="20" name="Text Placeholder 7">
            <a:extLst>
              <a:ext uri="{FF2B5EF4-FFF2-40B4-BE49-F238E27FC236}">
                <a16:creationId xmlns:a16="http://schemas.microsoft.com/office/drawing/2014/main" id="{073184DD-9106-4A16-0618-F9F0EB144701}"/>
              </a:ext>
            </a:extLst>
          </p:cNvPr>
          <p:cNvSpPr>
            <a:spLocks noGrp="1"/>
          </p:cNvSpPr>
          <p:nvPr>
            <p:ph type="body" sz="quarter" idx="16"/>
          </p:nvPr>
        </p:nvSpPr>
        <p:spPr/>
        <p:txBody>
          <a:bodyPr/>
          <a:lstStyle/>
          <a:p>
            <a:r>
              <a:rPr lang="en-GB" sz="1600" noProof="0" dirty="0">
                <a:solidFill>
                  <a:schemeClr val="tx1"/>
                </a:solidFill>
              </a:rPr>
              <a:t>Update of the accession roadmaps MARI</a:t>
            </a:r>
          </a:p>
        </p:txBody>
      </p:sp>
      <p:sp>
        <p:nvSpPr>
          <p:cNvPr id="7" name="Content Placeholder 6">
            <a:extLst>
              <a:ext uri="{FF2B5EF4-FFF2-40B4-BE49-F238E27FC236}">
                <a16:creationId xmlns:a16="http://schemas.microsoft.com/office/drawing/2014/main" id="{6F673332-AEC0-8B78-A73F-7C36A9441224}"/>
              </a:ext>
            </a:extLst>
          </p:cNvPr>
          <p:cNvSpPr>
            <a:spLocks noGrp="1"/>
          </p:cNvSpPr>
          <p:nvPr>
            <p:ph sz="quarter" idx="17"/>
          </p:nvPr>
        </p:nvSpPr>
        <p:spPr>
          <a:xfrm>
            <a:off x="539999" y="1166444"/>
            <a:ext cx="8351281" cy="775044"/>
          </a:xfrm>
          <a:noFill/>
          <a:ln>
            <a:noFill/>
          </a:ln>
        </p:spPr>
        <p:txBody>
          <a:bodyPr vert="horz" lIns="91440" tIns="45720" rIns="91440" bIns="45720" rtlCol="0" anchor="t">
            <a:noAutofit/>
          </a:bodyPr>
          <a:lstStyle/>
          <a:p>
            <a:r>
              <a:rPr lang="en-GB" b="1" noProof="0" dirty="0">
                <a:solidFill>
                  <a:schemeClr val="tx1"/>
                </a:solidFill>
              </a:rPr>
              <a:t>Background: </a:t>
            </a:r>
            <a:r>
              <a:rPr lang="en-GB" noProof="0" dirty="0">
                <a:solidFill>
                  <a:schemeClr val="tx1"/>
                </a:solidFill>
              </a:rPr>
              <a:t>Accession Roadmap based on 01.10.2025 published </a:t>
            </a:r>
            <a:r>
              <a:rPr lang="en-GB" noProof="0" dirty="0">
                <a:solidFill>
                  <a:schemeClr val="tx1"/>
                </a:solidFill>
                <a:hlinkClick r:id="rId3"/>
              </a:rPr>
              <a:t>version</a:t>
            </a:r>
            <a:r>
              <a:rPr lang="en-GB" noProof="0" dirty="0">
                <a:solidFill>
                  <a:schemeClr val="tx1"/>
                </a:solidFill>
              </a:rPr>
              <a:t> / footnotes</a:t>
            </a:r>
            <a:br>
              <a:rPr lang="en-GB" noProof="0" dirty="0">
                <a:solidFill>
                  <a:schemeClr val="tx1">
                    <a:lumMod val="65000"/>
                    <a:lumOff val="35000"/>
                  </a:schemeClr>
                </a:solidFill>
              </a:rPr>
            </a:br>
            <a:endParaRPr lang="en-GB" noProof="0" dirty="0">
              <a:solidFill>
                <a:schemeClr val="tx1">
                  <a:lumMod val="65000"/>
                  <a:lumOff val="35000"/>
                </a:schemeClr>
              </a:solidFill>
            </a:endParaRPr>
          </a:p>
          <a:p>
            <a:endParaRPr lang="en-GB" b="1" noProof="0" dirty="0">
              <a:solidFill>
                <a:schemeClr val="tx1">
                  <a:lumMod val="65000"/>
                  <a:lumOff val="35000"/>
                </a:schemeClr>
              </a:solidFill>
            </a:endParaRPr>
          </a:p>
          <a:p>
            <a:pPr marL="457200"/>
            <a:endParaRPr lang="en-GB" noProof="0" dirty="0">
              <a:solidFill>
                <a:schemeClr val="tx1">
                  <a:lumMod val="65000"/>
                  <a:lumOff val="35000"/>
                </a:schemeClr>
              </a:solidFill>
            </a:endParaRPr>
          </a:p>
          <a:p>
            <a:pPr lvl="1">
              <a:buClr>
                <a:srgbClr val="A15D22"/>
              </a:buClr>
            </a:pPr>
            <a:endParaRPr lang="en-GB" sz="1400" noProof="0" dirty="0"/>
          </a:p>
        </p:txBody>
      </p:sp>
      <p:sp>
        <p:nvSpPr>
          <p:cNvPr id="2" name="Slide Number Placeholder 1">
            <a:extLst>
              <a:ext uri="{FF2B5EF4-FFF2-40B4-BE49-F238E27FC236}">
                <a16:creationId xmlns:a16="http://schemas.microsoft.com/office/drawing/2014/main" id="{8A2CF56A-D62E-99B0-7433-78F16D82BF88}"/>
              </a:ext>
            </a:extLst>
          </p:cNvPr>
          <p:cNvSpPr>
            <a:spLocks noGrp="1"/>
          </p:cNvSpPr>
          <p:nvPr>
            <p:ph type="sldNum" sz="quarter" idx="4"/>
          </p:nvPr>
        </p:nvSpPr>
        <p:spPr/>
        <p:txBody>
          <a:bodyPr/>
          <a:lstStyle/>
          <a:p>
            <a:fld id="{F551322C-20B2-48C3-B63D-68158FEBF630}" type="slidenum">
              <a:rPr lang="en-GB" noProof="0" smtClean="0"/>
              <a:pPr/>
              <a:t>4</a:t>
            </a:fld>
            <a:endParaRPr lang="en-GB" noProof="0" dirty="0"/>
          </a:p>
        </p:txBody>
      </p:sp>
      <p:sp>
        <p:nvSpPr>
          <p:cNvPr id="5" name="Rechteck 4">
            <a:extLst>
              <a:ext uri="{FF2B5EF4-FFF2-40B4-BE49-F238E27FC236}">
                <a16:creationId xmlns:a16="http://schemas.microsoft.com/office/drawing/2014/main" id="{714A4C76-8ABC-3CB3-ADF3-49271FE6568E}"/>
              </a:ext>
            </a:extLst>
          </p:cNvPr>
          <p:cNvSpPr/>
          <p:nvPr/>
        </p:nvSpPr>
        <p:spPr bwMode="auto">
          <a:xfrm>
            <a:off x="4180974" y="4944979"/>
            <a:ext cx="1395663" cy="4571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0" i="0" u="none" strike="noStrike" cap="none" normalizeH="0" baseline="0" noProof="0" dirty="0">
              <a:ln>
                <a:noFill/>
              </a:ln>
              <a:solidFill>
                <a:schemeClr val="tx1"/>
              </a:solidFill>
              <a:effectLst/>
              <a:latin typeface="+mn-lt"/>
            </a:endParaRPr>
          </a:p>
        </p:txBody>
      </p:sp>
      <p:pic>
        <p:nvPicPr>
          <p:cNvPr id="6" name="Grafik 5">
            <a:extLst>
              <a:ext uri="{FF2B5EF4-FFF2-40B4-BE49-F238E27FC236}">
                <a16:creationId xmlns:a16="http://schemas.microsoft.com/office/drawing/2014/main" id="{91409C6D-585E-0BDF-7A24-6D0C4F36E255}"/>
              </a:ext>
            </a:extLst>
          </p:cNvPr>
          <p:cNvPicPr>
            <a:picLocks noChangeAspect="1"/>
          </p:cNvPicPr>
          <p:nvPr/>
        </p:nvPicPr>
        <p:blipFill>
          <a:blip r:embed="rId4"/>
          <a:stretch>
            <a:fillRect/>
          </a:stretch>
        </p:blipFill>
        <p:spPr>
          <a:xfrm>
            <a:off x="749126" y="1745072"/>
            <a:ext cx="7942292" cy="4740915"/>
          </a:xfrm>
          <a:prstGeom prst="rect">
            <a:avLst/>
          </a:prstGeom>
        </p:spPr>
      </p:pic>
    </p:spTree>
    <p:extLst>
      <p:ext uri="{BB962C8B-B14F-4D97-AF65-F5344CB8AC3E}">
        <p14:creationId xmlns:p14="http://schemas.microsoft.com/office/powerpoint/2010/main" val="6734637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90A1F-7D81-528C-8DCB-3D4BC9F9889F}"/>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3474027A-113B-A837-60CD-C7C8FCEAEAAC}"/>
              </a:ext>
            </a:extLst>
          </p:cNvPr>
          <p:cNvSpPr>
            <a:spLocks noGrp="1"/>
          </p:cNvSpPr>
          <p:nvPr>
            <p:ph type="title"/>
          </p:nvPr>
        </p:nvSpPr>
        <p:spPr/>
        <p:txBody>
          <a:bodyPr/>
          <a:lstStyle/>
          <a:p>
            <a:r>
              <a:rPr lang="en-GB" sz="1800" noProof="0" dirty="0">
                <a:solidFill>
                  <a:schemeClr val="tx1"/>
                </a:solidFill>
              </a:rPr>
              <a:t>Recent developments and updates</a:t>
            </a:r>
          </a:p>
        </p:txBody>
      </p:sp>
      <p:sp>
        <p:nvSpPr>
          <p:cNvPr id="20" name="Text Placeholder 7">
            <a:extLst>
              <a:ext uri="{FF2B5EF4-FFF2-40B4-BE49-F238E27FC236}">
                <a16:creationId xmlns:a16="http://schemas.microsoft.com/office/drawing/2014/main" id="{7E8242BF-6BEE-D967-4DDE-5CCAFCD2281D}"/>
              </a:ext>
            </a:extLst>
          </p:cNvPr>
          <p:cNvSpPr>
            <a:spLocks noGrp="1"/>
          </p:cNvSpPr>
          <p:nvPr>
            <p:ph type="body" sz="quarter" idx="16"/>
          </p:nvPr>
        </p:nvSpPr>
        <p:spPr/>
        <p:txBody>
          <a:bodyPr/>
          <a:lstStyle/>
          <a:p>
            <a:r>
              <a:rPr lang="en-GB" sz="1600" noProof="0" dirty="0">
                <a:solidFill>
                  <a:schemeClr val="tx1"/>
                </a:solidFill>
              </a:rPr>
              <a:t>Update of the accession roadmaps PICASSO</a:t>
            </a:r>
          </a:p>
        </p:txBody>
      </p:sp>
      <p:sp>
        <p:nvSpPr>
          <p:cNvPr id="7" name="Content Placeholder 6">
            <a:extLst>
              <a:ext uri="{FF2B5EF4-FFF2-40B4-BE49-F238E27FC236}">
                <a16:creationId xmlns:a16="http://schemas.microsoft.com/office/drawing/2014/main" id="{2101C63C-7E86-E5CD-39E1-F85ABCE435EC}"/>
              </a:ext>
            </a:extLst>
          </p:cNvPr>
          <p:cNvSpPr>
            <a:spLocks noGrp="1"/>
          </p:cNvSpPr>
          <p:nvPr>
            <p:ph sz="quarter" idx="17"/>
          </p:nvPr>
        </p:nvSpPr>
        <p:spPr>
          <a:xfrm>
            <a:off x="539999" y="1166444"/>
            <a:ext cx="8351281" cy="363850"/>
          </a:xfrm>
          <a:noFill/>
          <a:ln>
            <a:noFill/>
          </a:ln>
        </p:spPr>
        <p:txBody>
          <a:bodyPr vert="horz" lIns="91440" tIns="45720" rIns="91440" bIns="45720" rtlCol="0" anchor="t">
            <a:noAutofit/>
          </a:bodyPr>
          <a:lstStyle/>
          <a:p>
            <a:r>
              <a:rPr lang="en-GB" b="1" noProof="0" dirty="0">
                <a:solidFill>
                  <a:schemeClr val="tx1"/>
                </a:solidFill>
              </a:rPr>
              <a:t>Background:</a:t>
            </a:r>
            <a:r>
              <a:rPr lang="en-GB" noProof="0" dirty="0">
                <a:solidFill>
                  <a:schemeClr val="tx1"/>
                </a:solidFill>
              </a:rPr>
              <a:t> Accession Roadmap based on 01.10.2025 published </a:t>
            </a:r>
            <a:r>
              <a:rPr lang="en-GB" noProof="0" dirty="0">
                <a:solidFill>
                  <a:schemeClr val="tx1"/>
                </a:solidFill>
                <a:hlinkClick r:id="rId3"/>
              </a:rPr>
              <a:t>version</a:t>
            </a:r>
            <a:endParaRPr lang="en-GB" sz="1400" noProof="0" dirty="0">
              <a:solidFill>
                <a:schemeClr val="tx1"/>
              </a:solidFill>
              <a:highlight>
                <a:srgbClr val="FFFF00"/>
              </a:highlight>
            </a:endParaRPr>
          </a:p>
        </p:txBody>
      </p:sp>
      <p:sp>
        <p:nvSpPr>
          <p:cNvPr id="2" name="Slide Number Placeholder 1">
            <a:extLst>
              <a:ext uri="{FF2B5EF4-FFF2-40B4-BE49-F238E27FC236}">
                <a16:creationId xmlns:a16="http://schemas.microsoft.com/office/drawing/2014/main" id="{9A3A63C4-E90F-CF9D-E528-3F3440DA8D9C}"/>
              </a:ext>
            </a:extLst>
          </p:cNvPr>
          <p:cNvSpPr>
            <a:spLocks noGrp="1"/>
          </p:cNvSpPr>
          <p:nvPr>
            <p:ph type="sldNum" sz="quarter" idx="4"/>
          </p:nvPr>
        </p:nvSpPr>
        <p:spPr/>
        <p:txBody>
          <a:bodyPr/>
          <a:lstStyle/>
          <a:p>
            <a:fld id="{F551322C-20B2-48C3-B63D-68158FEBF630}" type="slidenum">
              <a:rPr lang="en-GB" noProof="0" smtClean="0"/>
              <a:pPr/>
              <a:t>5</a:t>
            </a:fld>
            <a:endParaRPr lang="en-GB" noProof="0" dirty="0"/>
          </a:p>
        </p:txBody>
      </p:sp>
      <p:pic>
        <p:nvPicPr>
          <p:cNvPr id="6" name="Grafik 5">
            <a:extLst>
              <a:ext uri="{FF2B5EF4-FFF2-40B4-BE49-F238E27FC236}">
                <a16:creationId xmlns:a16="http://schemas.microsoft.com/office/drawing/2014/main" id="{8EBA7E4D-25C9-46CA-A697-A69A58216222}"/>
              </a:ext>
            </a:extLst>
          </p:cNvPr>
          <p:cNvPicPr>
            <a:picLocks noChangeAspect="1"/>
          </p:cNvPicPr>
          <p:nvPr/>
        </p:nvPicPr>
        <p:blipFill>
          <a:blip r:embed="rId4"/>
          <a:stretch>
            <a:fillRect/>
          </a:stretch>
        </p:blipFill>
        <p:spPr>
          <a:xfrm>
            <a:off x="473335" y="1530294"/>
            <a:ext cx="7177470" cy="5120106"/>
          </a:xfrm>
          <a:prstGeom prst="rect">
            <a:avLst/>
          </a:prstGeom>
        </p:spPr>
      </p:pic>
    </p:spTree>
    <p:extLst>
      <p:ext uri="{BB962C8B-B14F-4D97-AF65-F5344CB8AC3E}">
        <p14:creationId xmlns:p14="http://schemas.microsoft.com/office/powerpoint/2010/main" val="12266671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003B7-2BF2-0212-FC68-4C2101FB780E}"/>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03F92178-1871-7944-8E7F-7352EBBAF7B0}"/>
              </a:ext>
            </a:extLst>
          </p:cNvPr>
          <p:cNvSpPr>
            <a:spLocks noGrp="1"/>
          </p:cNvSpPr>
          <p:nvPr>
            <p:ph type="title"/>
          </p:nvPr>
        </p:nvSpPr>
        <p:spPr/>
        <p:txBody>
          <a:bodyPr/>
          <a:lstStyle/>
          <a:p>
            <a:r>
              <a:rPr lang="en-GB" sz="1800" noProof="0" dirty="0">
                <a:solidFill>
                  <a:schemeClr val="tx1"/>
                </a:solidFill>
              </a:rPr>
              <a:t>Recent developments and updates</a:t>
            </a:r>
          </a:p>
        </p:txBody>
      </p:sp>
      <p:sp>
        <p:nvSpPr>
          <p:cNvPr id="20" name="Text Placeholder 7">
            <a:extLst>
              <a:ext uri="{FF2B5EF4-FFF2-40B4-BE49-F238E27FC236}">
                <a16:creationId xmlns:a16="http://schemas.microsoft.com/office/drawing/2014/main" id="{073184DD-9106-4A16-0618-F9F0EB144701}"/>
              </a:ext>
            </a:extLst>
          </p:cNvPr>
          <p:cNvSpPr>
            <a:spLocks noGrp="1"/>
          </p:cNvSpPr>
          <p:nvPr>
            <p:ph type="body" sz="quarter" idx="16"/>
          </p:nvPr>
        </p:nvSpPr>
        <p:spPr/>
        <p:txBody>
          <a:bodyPr/>
          <a:lstStyle/>
          <a:p>
            <a:r>
              <a:rPr lang="en-GB" sz="1600" noProof="0" dirty="0">
                <a:solidFill>
                  <a:schemeClr val="tx1"/>
                </a:solidFill>
              </a:rPr>
              <a:t>Update of the accession roadmaps PICASSO</a:t>
            </a:r>
          </a:p>
        </p:txBody>
      </p:sp>
      <p:sp>
        <p:nvSpPr>
          <p:cNvPr id="7" name="Content Placeholder 6">
            <a:extLst>
              <a:ext uri="{FF2B5EF4-FFF2-40B4-BE49-F238E27FC236}">
                <a16:creationId xmlns:a16="http://schemas.microsoft.com/office/drawing/2014/main" id="{6F673332-AEC0-8B78-A73F-7C36A9441224}"/>
              </a:ext>
            </a:extLst>
          </p:cNvPr>
          <p:cNvSpPr>
            <a:spLocks noGrp="1"/>
          </p:cNvSpPr>
          <p:nvPr>
            <p:ph sz="quarter" idx="17"/>
          </p:nvPr>
        </p:nvSpPr>
        <p:spPr>
          <a:xfrm>
            <a:off x="539999" y="1166444"/>
            <a:ext cx="8351281" cy="3871722"/>
          </a:xfrm>
          <a:noFill/>
          <a:ln>
            <a:noFill/>
          </a:ln>
        </p:spPr>
        <p:txBody>
          <a:bodyPr vert="horz" lIns="91440" tIns="45720" rIns="91440" bIns="45720" rtlCol="0" anchor="t">
            <a:noAutofit/>
          </a:bodyPr>
          <a:lstStyle/>
          <a:p>
            <a:r>
              <a:rPr lang="en-GB" b="1" noProof="0" dirty="0">
                <a:solidFill>
                  <a:schemeClr val="tx1"/>
                </a:solidFill>
              </a:rPr>
              <a:t>Background: </a:t>
            </a:r>
            <a:r>
              <a:rPr lang="en-GB" noProof="0" dirty="0">
                <a:solidFill>
                  <a:schemeClr val="tx1"/>
                </a:solidFill>
              </a:rPr>
              <a:t>Accession Roadmap based on 01.10.2025 published </a:t>
            </a:r>
            <a:r>
              <a:rPr lang="en-GB" noProof="0" dirty="0">
                <a:solidFill>
                  <a:schemeClr val="tx1"/>
                </a:solidFill>
                <a:hlinkClick r:id="rId3"/>
              </a:rPr>
              <a:t>version</a:t>
            </a:r>
            <a:r>
              <a:rPr lang="en-GB" noProof="0" dirty="0">
                <a:solidFill>
                  <a:schemeClr val="tx1"/>
                </a:solidFill>
              </a:rPr>
              <a:t> footnotes</a:t>
            </a:r>
            <a:endParaRPr lang="en-GB" noProof="0" dirty="0">
              <a:solidFill>
                <a:schemeClr val="tx1">
                  <a:lumMod val="65000"/>
                  <a:lumOff val="35000"/>
                </a:schemeClr>
              </a:solidFill>
              <a:highlight>
                <a:srgbClr val="FFFF00"/>
              </a:highlight>
            </a:endParaRPr>
          </a:p>
          <a:p>
            <a:endParaRPr lang="en-GB" b="1" noProof="0" dirty="0">
              <a:solidFill>
                <a:schemeClr val="tx1">
                  <a:lumMod val="65000"/>
                  <a:lumOff val="35000"/>
                </a:schemeClr>
              </a:solidFill>
            </a:endParaRPr>
          </a:p>
          <a:p>
            <a:endParaRPr lang="en-GB" b="1" noProof="0" dirty="0">
              <a:solidFill>
                <a:schemeClr val="tx1">
                  <a:lumMod val="65000"/>
                  <a:lumOff val="35000"/>
                </a:schemeClr>
              </a:solidFill>
            </a:endParaRPr>
          </a:p>
          <a:p>
            <a:pPr marL="457200"/>
            <a:endParaRPr lang="en-GB" noProof="0" dirty="0">
              <a:solidFill>
                <a:schemeClr val="tx1">
                  <a:lumMod val="65000"/>
                  <a:lumOff val="35000"/>
                </a:schemeClr>
              </a:solidFill>
            </a:endParaRPr>
          </a:p>
          <a:p>
            <a:pPr lvl="1">
              <a:buClr>
                <a:srgbClr val="A15D22"/>
              </a:buClr>
            </a:pPr>
            <a:endParaRPr lang="en-GB" sz="1400" noProof="0" dirty="0"/>
          </a:p>
        </p:txBody>
      </p:sp>
      <p:sp>
        <p:nvSpPr>
          <p:cNvPr id="2" name="Slide Number Placeholder 1">
            <a:extLst>
              <a:ext uri="{FF2B5EF4-FFF2-40B4-BE49-F238E27FC236}">
                <a16:creationId xmlns:a16="http://schemas.microsoft.com/office/drawing/2014/main" id="{8A2CF56A-D62E-99B0-7433-78F16D82BF88}"/>
              </a:ext>
            </a:extLst>
          </p:cNvPr>
          <p:cNvSpPr>
            <a:spLocks noGrp="1"/>
          </p:cNvSpPr>
          <p:nvPr>
            <p:ph type="sldNum" sz="quarter" idx="4"/>
          </p:nvPr>
        </p:nvSpPr>
        <p:spPr/>
        <p:txBody>
          <a:bodyPr/>
          <a:lstStyle/>
          <a:p>
            <a:fld id="{F551322C-20B2-48C3-B63D-68158FEBF630}" type="slidenum">
              <a:rPr lang="en-GB" noProof="0" smtClean="0"/>
              <a:pPr/>
              <a:t>6</a:t>
            </a:fld>
            <a:endParaRPr lang="en-GB" noProof="0" dirty="0"/>
          </a:p>
        </p:txBody>
      </p:sp>
      <p:sp>
        <p:nvSpPr>
          <p:cNvPr id="5" name="Rechteck 4">
            <a:extLst>
              <a:ext uri="{FF2B5EF4-FFF2-40B4-BE49-F238E27FC236}">
                <a16:creationId xmlns:a16="http://schemas.microsoft.com/office/drawing/2014/main" id="{714A4C76-8ABC-3CB3-ADF3-49271FE6568E}"/>
              </a:ext>
            </a:extLst>
          </p:cNvPr>
          <p:cNvSpPr/>
          <p:nvPr/>
        </p:nvSpPr>
        <p:spPr bwMode="auto">
          <a:xfrm>
            <a:off x="4180974" y="4944979"/>
            <a:ext cx="1395663" cy="4571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0" i="0" u="none" strike="noStrike" cap="none" normalizeH="0" baseline="0" noProof="0" dirty="0">
              <a:ln>
                <a:noFill/>
              </a:ln>
              <a:solidFill>
                <a:schemeClr val="tx1"/>
              </a:solidFill>
              <a:effectLst/>
              <a:latin typeface="+mn-lt"/>
            </a:endParaRPr>
          </a:p>
        </p:txBody>
      </p:sp>
      <p:pic>
        <p:nvPicPr>
          <p:cNvPr id="8" name="Grafik 7">
            <a:extLst>
              <a:ext uri="{FF2B5EF4-FFF2-40B4-BE49-F238E27FC236}">
                <a16:creationId xmlns:a16="http://schemas.microsoft.com/office/drawing/2014/main" id="{2C9B289A-6AFB-4EF9-B3D9-7AA36856F45D}"/>
              </a:ext>
            </a:extLst>
          </p:cNvPr>
          <p:cNvPicPr>
            <a:picLocks noChangeAspect="1"/>
          </p:cNvPicPr>
          <p:nvPr/>
        </p:nvPicPr>
        <p:blipFill>
          <a:blip r:embed="rId4"/>
          <a:stretch>
            <a:fillRect/>
          </a:stretch>
        </p:blipFill>
        <p:spPr>
          <a:xfrm>
            <a:off x="539999" y="1913021"/>
            <a:ext cx="8539018" cy="2554012"/>
          </a:xfrm>
          <a:prstGeom prst="rect">
            <a:avLst/>
          </a:prstGeom>
        </p:spPr>
      </p:pic>
    </p:spTree>
    <p:extLst>
      <p:ext uri="{BB962C8B-B14F-4D97-AF65-F5344CB8AC3E}">
        <p14:creationId xmlns:p14="http://schemas.microsoft.com/office/powerpoint/2010/main" val="40836853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257F66D7-5082-F800-A0CC-1B75B273180E}"/>
              </a:ext>
            </a:extLst>
          </p:cNvPr>
          <p:cNvSpPr>
            <a:spLocks noGrp="1"/>
          </p:cNvSpPr>
          <p:nvPr>
            <p:ph type="title"/>
          </p:nvPr>
        </p:nvSpPr>
        <p:spPr/>
        <p:txBody>
          <a:bodyPr/>
          <a:lstStyle/>
          <a:p>
            <a:r>
              <a:rPr lang="da-DK" dirty="0">
                <a:solidFill>
                  <a:schemeClr val="tx1"/>
                </a:solidFill>
              </a:rPr>
              <a:t>PICASSO Price incident</a:t>
            </a:r>
          </a:p>
        </p:txBody>
      </p:sp>
      <p:sp>
        <p:nvSpPr>
          <p:cNvPr id="6" name="Pladsholder til tekst 5">
            <a:extLst>
              <a:ext uri="{FF2B5EF4-FFF2-40B4-BE49-F238E27FC236}">
                <a16:creationId xmlns:a16="http://schemas.microsoft.com/office/drawing/2014/main" id="{33F8B1A1-18DC-920A-70D1-074A53F66EAD}"/>
              </a:ext>
            </a:extLst>
          </p:cNvPr>
          <p:cNvSpPr>
            <a:spLocks noGrp="1"/>
          </p:cNvSpPr>
          <p:nvPr>
            <p:ph type="body" sz="quarter" idx="16"/>
          </p:nvPr>
        </p:nvSpPr>
        <p:spPr/>
        <p:txBody>
          <a:bodyPr/>
          <a:lstStyle/>
          <a:p>
            <a:r>
              <a:rPr lang="da-DK" dirty="0">
                <a:solidFill>
                  <a:schemeClr val="tx1"/>
                </a:solidFill>
              </a:rPr>
              <a:t>Status </a:t>
            </a:r>
            <a:r>
              <a:rPr lang="da-DK" dirty="0" err="1">
                <a:solidFill>
                  <a:schemeClr val="tx1"/>
                </a:solidFill>
              </a:rPr>
              <a:t>update</a:t>
            </a:r>
            <a:r>
              <a:rPr lang="da-DK" dirty="0">
                <a:solidFill>
                  <a:schemeClr val="tx1"/>
                </a:solidFill>
              </a:rPr>
              <a:t> (1/2)</a:t>
            </a:r>
          </a:p>
        </p:txBody>
      </p:sp>
      <p:sp>
        <p:nvSpPr>
          <p:cNvPr id="7" name="Pladsholder til indhold 6">
            <a:extLst>
              <a:ext uri="{FF2B5EF4-FFF2-40B4-BE49-F238E27FC236}">
                <a16:creationId xmlns:a16="http://schemas.microsoft.com/office/drawing/2014/main" id="{3073B830-82AB-CDA6-5C1D-CED0AB30BEDE}"/>
              </a:ext>
            </a:extLst>
          </p:cNvPr>
          <p:cNvSpPr>
            <a:spLocks noGrp="1"/>
          </p:cNvSpPr>
          <p:nvPr>
            <p:ph sz="quarter" idx="17"/>
          </p:nvPr>
        </p:nvSpPr>
        <p:spPr/>
        <p:txBody>
          <a:bodyPr/>
          <a:lstStyle/>
          <a:p>
            <a:endParaRPr lang="en-US" sz="1000" dirty="0">
              <a:solidFill>
                <a:schemeClr val="tx1"/>
              </a:solidFill>
            </a:endParaRPr>
          </a:p>
          <a:p>
            <a:r>
              <a:rPr lang="en-US" sz="1000" dirty="0">
                <a:solidFill>
                  <a:schemeClr val="tx1"/>
                </a:solidFill>
              </a:rPr>
              <a:t>On 23.10. from 00:00 until 10:45 an incident occurred on the German procurement system for aFRR bids, hosted by 50Hertz. This incident led to an erroneous local merit order list (LMOL) that was transferred to PICASSO. As the bids were still based on the definition of the aFRR standard product, the aFRR energy bids were included in the common merit order list (CMOL) of PICASSO. The bug affected only bids submitted to the procurement system as a "default bids" that were not changed by BSPs during the aFRR energy auction and only affected the bids in negative direction.  </a:t>
            </a:r>
          </a:p>
          <a:p>
            <a:endParaRPr lang="en-US" sz="1000" dirty="0">
              <a:solidFill>
                <a:schemeClr val="tx1"/>
              </a:solidFill>
            </a:endParaRPr>
          </a:p>
          <a:p>
            <a:r>
              <a:rPr lang="en-US" sz="1000" dirty="0">
                <a:solidFill>
                  <a:schemeClr val="tx1"/>
                </a:solidFill>
              </a:rPr>
              <a:t>The timeline of the incident: </a:t>
            </a:r>
          </a:p>
          <a:p>
            <a:r>
              <a:rPr lang="en-US" sz="1000" dirty="0">
                <a:solidFill>
                  <a:schemeClr val="tx1"/>
                </a:solidFill>
              </a:rPr>
              <a:t> </a:t>
            </a:r>
          </a:p>
          <a:p>
            <a:r>
              <a:rPr lang="en-US" sz="1000" dirty="0">
                <a:solidFill>
                  <a:schemeClr val="tx1"/>
                </a:solidFill>
              </a:rPr>
              <a:t>22.10.2025		With the start of the energy auction for aFRR, payment direction of bids in negative direction was transferred from “grid-to-		provider” (negative sign) to “provider-to-grid” (positive) sign. If the bid wasn’t changed during the energy auction, this sign 		change remained incorrect until gate closure time </a:t>
            </a:r>
          </a:p>
          <a:p>
            <a:endParaRPr lang="en-US" sz="1000" dirty="0">
              <a:solidFill>
                <a:schemeClr val="tx1"/>
              </a:solidFill>
            </a:endParaRPr>
          </a:p>
          <a:p>
            <a:r>
              <a:rPr lang="en-US" sz="1000" dirty="0">
                <a:solidFill>
                  <a:schemeClr val="tx1"/>
                </a:solidFill>
              </a:rPr>
              <a:t>23.10.2025 00:00	First ISP including the erroneously bids were provided to PICASSO. Bids were placed at the beginning of the CMOL in 		negative direction and activated. As a consequence, the Cross border marginal price (CBMP) in negative direction had in 		some MTUs a high value with positive sign (meaning payment direction “provider-to-grid”).  </a:t>
            </a:r>
          </a:p>
          <a:p>
            <a:endParaRPr lang="en-US" sz="1000" dirty="0">
              <a:solidFill>
                <a:schemeClr val="tx1"/>
              </a:solidFill>
            </a:endParaRPr>
          </a:p>
          <a:p>
            <a:r>
              <a:rPr lang="en-US" sz="1000" dirty="0">
                <a:solidFill>
                  <a:schemeClr val="tx1"/>
                </a:solidFill>
              </a:rPr>
              <a:t>23.10.2025 08:16            	After receiving notifications from TSOs and Market participants, 50Hertz informed the BSPs about the bug and asked to 		correct the bids  </a:t>
            </a:r>
          </a:p>
          <a:p>
            <a:endParaRPr lang="en-US" sz="1000" dirty="0">
              <a:solidFill>
                <a:schemeClr val="tx1"/>
              </a:solidFill>
            </a:endParaRPr>
          </a:p>
          <a:p>
            <a:r>
              <a:rPr lang="en-US" sz="1000" dirty="0">
                <a:solidFill>
                  <a:schemeClr val="tx1"/>
                </a:solidFill>
              </a:rPr>
              <a:t>23.10.2025 10:45            	First ISP with no erroneously submitted aFRR energy bids.  </a:t>
            </a:r>
          </a:p>
          <a:p>
            <a:endParaRPr lang="en-US" sz="1000" dirty="0">
              <a:solidFill>
                <a:schemeClr val="tx1"/>
              </a:solidFill>
            </a:endParaRPr>
          </a:p>
          <a:p>
            <a:r>
              <a:rPr lang="en-US" sz="1000" dirty="0">
                <a:solidFill>
                  <a:schemeClr val="tx1"/>
                </a:solidFill>
              </a:rPr>
              <a:t>After careful investigation and consideration, the PICASSO platform has decided to correct the affected CBMP prices in the period from 23.10.25 00:00 to 23.10.25 10:45 in negative direction. </a:t>
            </a:r>
          </a:p>
          <a:p>
            <a:endParaRPr lang="en-US" sz="1000" dirty="0">
              <a:solidFill>
                <a:schemeClr val="tx1"/>
              </a:solidFill>
            </a:endParaRPr>
          </a:p>
        </p:txBody>
      </p:sp>
      <p:sp>
        <p:nvSpPr>
          <p:cNvPr id="4" name="Pladsholder til slidenummer 3">
            <a:extLst>
              <a:ext uri="{FF2B5EF4-FFF2-40B4-BE49-F238E27FC236}">
                <a16:creationId xmlns:a16="http://schemas.microsoft.com/office/drawing/2014/main" id="{6FAD6211-C997-0B3C-8F99-881669491261}"/>
              </a:ext>
            </a:extLst>
          </p:cNvPr>
          <p:cNvSpPr>
            <a:spLocks noGrp="1"/>
          </p:cNvSpPr>
          <p:nvPr>
            <p:ph type="sldNum" sz="quarter" idx="4"/>
          </p:nvPr>
        </p:nvSpPr>
        <p:spPr/>
        <p:txBody>
          <a:bodyPr/>
          <a:lstStyle/>
          <a:p>
            <a:fld id="{F551322C-20B2-48C3-B63D-68158FEBF630}" type="slidenum">
              <a:rPr lang="en-US" smtClean="0"/>
              <a:pPr/>
              <a:t>7</a:t>
            </a:fld>
            <a:endParaRPr lang="en-US" dirty="0"/>
          </a:p>
        </p:txBody>
      </p:sp>
    </p:spTree>
    <p:extLst>
      <p:ext uri="{BB962C8B-B14F-4D97-AF65-F5344CB8AC3E}">
        <p14:creationId xmlns:p14="http://schemas.microsoft.com/office/powerpoint/2010/main" val="33832375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ED4A9-E798-3C53-8E2A-36A6A63F1945}"/>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EEC51695-E3F5-CD85-9FDB-71AC96EECFFE}"/>
              </a:ext>
            </a:extLst>
          </p:cNvPr>
          <p:cNvSpPr>
            <a:spLocks noGrp="1"/>
          </p:cNvSpPr>
          <p:nvPr>
            <p:ph type="title"/>
          </p:nvPr>
        </p:nvSpPr>
        <p:spPr/>
        <p:txBody>
          <a:bodyPr/>
          <a:lstStyle/>
          <a:p>
            <a:r>
              <a:rPr lang="da-DK" dirty="0">
                <a:solidFill>
                  <a:schemeClr val="tx1"/>
                </a:solidFill>
              </a:rPr>
              <a:t>PICASSO Price incident</a:t>
            </a:r>
          </a:p>
        </p:txBody>
      </p:sp>
      <p:sp>
        <p:nvSpPr>
          <p:cNvPr id="6" name="Pladsholder til tekst 5">
            <a:extLst>
              <a:ext uri="{FF2B5EF4-FFF2-40B4-BE49-F238E27FC236}">
                <a16:creationId xmlns:a16="http://schemas.microsoft.com/office/drawing/2014/main" id="{325C270F-7E26-764F-9138-C051C705DF4D}"/>
              </a:ext>
            </a:extLst>
          </p:cNvPr>
          <p:cNvSpPr>
            <a:spLocks noGrp="1"/>
          </p:cNvSpPr>
          <p:nvPr>
            <p:ph type="body" sz="quarter" idx="16"/>
          </p:nvPr>
        </p:nvSpPr>
        <p:spPr/>
        <p:txBody>
          <a:bodyPr/>
          <a:lstStyle/>
          <a:p>
            <a:r>
              <a:rPr lang="da-DK" dirty="0">
                <a:solidFill>
                  <a:schemeClr val="tx1"/>
                </a:solidFill>
              </a:rPr>
              <a:t>Status </a:t>
            </a:r>
            <a:r>
              <a:rPr lang="da-DK" dirty="0" err="1">
                <a:solidFill>
                  <a:schemeClr val="tx1"/>
                </a:solidFill>
              </a:rPr>
              <a:t>update</a:t>
            </a:r>
            <a:r>
              <a:rPr lang="da-DK" dirty="0">
                <a:solidFill>
                  <a:schemeClr val="tx1"/>
                </a:solidFill>
              </a:rPr>
              <a:t> (2/2)</a:t>
            </a:r>
          </a:p>
        </p:txBody>
      </p:sp>
      <p:sp>
        <p:nvSpPr>
          <p:cNvPr id="7" name="Pladsholder til indhold 6">
            <a:extLst>
              <a:ext uri="{FF2B5EF4-FFF2-40B4-BE49-F238E27FC236}">
                <a16:creationId xmlns:a16="http://schemas.microsoft.com/office/drawing/2014/main" id="{429702DC-D9B8-942B-3F0E-CEF3D8723631}"/>
              </a:ext>
            </a:extLst>
          </p:cNvPr>
          <p:cNvSpPr>
            <a:spLocks noGrp="1"/>
          </p:cNvSpPr>
          <p:nvPr>
            <p:ph sz="quarter" idx="17"/>
          </p:nvPr>
        </p:nvSpPr>
        <p:spPr/>
        <p:txBody>
          <a:bodyPr/>
          <a:lstStyle/>
          <a:p>
            <a:r>
              <a:rPr lang="en-US" sz="1000" dirty="0">
                <a:solidFill>
                  <a:schemeClr val="tx1"/>
                </a:solidFill>
              </a:rPr>
              <a:t>The correction is done in accordance with the requirements of EBGL and the approved methodology of the Implementation framework for the European platform for the exchange of balancing energy from frequency restoration reserves with automatic activation. According to Article 30(3)(b) EBGL, the methodology for pricing of cross-zonal capacity used for exchange of balancing energy must be based on the actual prices for balancing power provided by activated balancing bids. </a:t>
            </a:r>
          </a:p>
          <a:p>
            <a:endParaRPr lang="en-US" sz="1000" dirty="0">
              <a:solidFill>
                <a:schemeClr val="tx1"/>
              </a:solidFill>
            </a:endParaRPr>
          </a:p>
          <a:p>
            <a:r>
              <a:rPr lang="en-US" sz="1000" dirty="0">
                <a:solidFill>
                  <a:schemeClr val="tx1"/>
                </a:solidFill>
              </a:rPr>
              <a:t>The CBMP in negative direction will be corrected based on the following criteria: </a:t>
            </a:r>
          </a:p>
          <a:p>
            <a:r>
              <a:rPr lang="en-US" sz="1000" dirty="0">
                <a:solidFill>
                  <a:schemeClr val="tx1"/>
                </a:solidFill>
              </a:rPr>
              <a:t> </a:t>
            </a:r>
          </a:p>
          <a:p>
            <a:pPr marL="171450" indent="-171450">
              <a:buFont typeface="Arial" panose="020B0604020202020204" pitchFamily="34" charset="0"/>
              <a:buChar char="•"/>
            </a:pPr>
            <a:r>
              <a:rPr lang="en-US" sz="1000" dirty="0">
                <a:solidFill>
                  <a:schemeClr val="tx1"/>
                </a:solidFill>
              </a:rPr>
              <a:t>Correction is done to the uncongested areas containing the German LFC block  </a:t>
            </a:r>
          </a:p>
          <a:p>
            <a:pPr marL="171450" indent="-171450">
              <a:buFont typeface="Arial" panose="020B0604020202020204" pitchFamily="34" charset="0"/>
              <a:buChar char="•"/>
            </a:pPr>
            <a:r>
              <a:rPr lang="en-US" sz="1000" dirty="0">
                <a:solidFill>
                  <a:schemeClr val="tx1"/>
                </a:solidFill>
              </a:rPr>
              <a:t>if the CBMP in negative direction is higher than the first non-German Bid in the CMOL (negative direction)  </a:t>
            </a:r>
          </a:p>
          <a:p>
            <a:endParaRPr lang="en-US" sz="1000" dirty="0">
              <a:solidFill>
                <a:schemeClr val="tx1"/>
              </a:solidFill>
            </a:endParaRPr>
          </a:p>
          <a:p>
            <a:r>
              <a:rPr lang="en-US" sz="1000" dirty="0">
                <a:solidFill>
                  <a:schemeClr val="tx1"/>
                </a:solidFill>
              </a:rPr>
              <a:t>The CBMP will be corrected based on the published and approved pricing rules of PICASSO, replacing the erroneous submitted aFRR energy bids of the German LFC block with the price of the first non-German aFRR energy bid in the CMOL (negative direction). To reflect the activation of the erroneous submitted bids, this Price is increased by 0.01 €/MWh. This correction will also affect the full-netting price, meaning the CBMP that is applied in situation with no aFRR bids selected by PICASSO. Those situations are indicated by a valid CBMP in positive and negative direction. As this CBMP is based on the first bids in the CMOL in positive and negative direction, this CBMP will also be corrected.   </a:t>
            </a:r>
          </a:p>
          <a:p>
            <a:endParaRPr lang="en-US" sz="1000" dirty="0">
              <a:solidFill>
                <a:schemeClr val="tx1"/>
              </a:solidFill>
            </a:endParaRPr>
          </a:p>
          <a:p>
            <a:r>
              <a:rPr lang="en-US" sz="1000" dirty="0">
                <a:solidFill>
                  <a:schemeClr val="tx1"/>
                </a:solidFill>
              </a:rPr>
              <a:t>PICASSO has already implemented immediate solutions to avoid the incident in the future. A major investigation of the incident and possible additionally mitigating measures is being </a:t>
            </a:r>
            <a:r>
              <a:rPr lang="en-US" sz="1000" dirty="0" err="1">
                <a:solidFill>
                  <a:schemeClr val="tx1"/>
                </a:solidFill>
              </a:rPr>
              <a:t>analysed</a:t>
            </a:r>
            <a:r>
              <a:rPr lang="en-US" sz="1000" dirty="0">
                <a:solidFill>
                  <a:schemeClr val="tx1"/>
                </a:solidFill>
              </a:rPr>
              <a:t> to improve the system and avoid similar situations in the future. As such the handling of this incident will not set </a:t>
            </a:r>
            <a:r>
              <a:rPr lang="en-US" sz="1000" dirty="0" err="1">
                <a:solidFill>
                  <a:schemeClr val="tx1"/>
                </a:solidFill>
              </a:rPr>
              <a:t>precedens</a:t>
            </a:r>
            <a:r>
              <a:rPr lang="en-US" sz="1000" dirty="0">
                <a:solidFill>
                  <a:schemeClr val="tx1"/>
                </a:solidFill>
              </a:rPr>
              <a:t> for future similar situation as PICASSO will, based on this incident develop a procedure to be used in the future.  </a:t>
            </a:r>
            <a:endParaRPr lang="da-DK" sz="1000" dirty="0">
              <a:solidFill>
                <a:schemeClr val="tx1"/>
              </a:solidFill>
            </a:endParaRPr>
          </a:p>
        </p:txBody>
      </p:sp>
      <p:sp>
        <p:nvSpPr>
          <p:cNvPr id="4" name="Pladsholder til slidenummer 3">
            <a:extLst>
              <a:ext uri="{FF2B5EF4-FFF2-40B4-BE49-F238E27FC236}">
                <a16:creationId xmlns:a16="http://schemas.microsoft.com/office/drawing/2014/main" id="{FD2A43CC-138E-4D8D-98B6-EAFB3A74FA9C}"/>
              </a:ext>
            </a:extLst>
          </p:cNvPr>
          <p:cNvSpPr>
            <a:spLocks noGrp="1"/>
          </p:cNvSpPr>
          <p:nvPr>
            <p:ph type="sldNum" sz="quarter" idx="4"/>
          </p:nvPr>
        </p:nvSpPr>
        <p:spPr/>
        <p:txBody>
          <a:bodyPr/>
          <a:lstStyle/>
          <a:p>
            <a:fld id="{F551322C-20B2-48C3-B63D-68158FEBF630}" type="slidenum">
              <a:rPr lang="en-US" smtClean="0"/>
              <a:pPr/>
              <a:t>8</a:t>
            </a:fld>
            <a:endParaRPr lang="en-US" dirty="0"/>
          </a:p>
        </p:txBody>
      </p:sp>
    </p:spTree>
    <p:extLst>
      <p:ext uri="{BB962C8B-B14F-4D97-AF65-F5344CB8AC3E}">
        <p14:creationId xmlns:p14="http://schemas.microsoft.com/office/powerpoint/2010/main" val="871227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10.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1"/>
  <p:tag name="EE4P_MAPWIZARD" val="South Ayrshire"/>
</p:tagLst>
</file>

<file path=ppt/tags/tag100.xml><?xml version="1.0" encoding="utf-8"?>
<p:tagLst xmlns:a="http://schemas.openxmlformats.org/drawingml/2006/main" xmlns:r="http://schemas.openxmlformats.org/officeDocument/2006/relationships" xmlns:p="http://schemas.openxmlformats.org/presentationml/2006/main">
  <p:tag name="EE4P_MAPWIZARD_ID" val="WX"/>
  <p:tag name="EE4P_MAPWIZARD_HEADINGS" val="Admin 1"/>
  <p:tag name="EE4P_MAPWIZARD" val="Wrexham"/>
</p:tagLst>
</file>

<file path=ppt/tags/tag101.xml><?xml version="1.0" encoding="utf-8"?>
<p:tagLst xmlns:a="http://schemas.openxmlformats.org/drawingml/2006/main" xmlns:r="http://schemas.openxmlformats.org/officeDocument/2006/relationships" xmlns:p="http://schemas.openxmlformats.org/presentationml/2006/main">
  <p:tag name="EE4P_MAPWIZARD_ID" val="AY"/>
  <p:tag name="EE4P_MAPWIZARD_HEADINGS" val="Admin 1"/>
  <p:tag name="EE4P_MAPWIZARD" val="Anglesey"/>
</p:tagLst>
</file>

<file path=ppt/tags/tag102.xml><?xml version="1.0" encoding="utf-8"?>
<p:tagLst xmlns:a="http://schemas.openxmlformats.org/drawingml/2006/main" xmlns:r="http://schemas.openxmlformats.org/officeDocument/2006/relationships" xmlns:p="http://schemas.openxmlformats.org/presentationml/2006/main">
  <p:tag name="EE4P_MAPWIZARD_ID" val="CW"/>
  <p:tag name="EE4P_MAPWIZARD_HEADINGS" val="Admin 1"/>
  <p:tag name="EE4P_MAPWIZARD" val="Conwy"/>
</p:tagLst>
</file>

<file path=ppt/tags/tag103.xml><?xml version="1.0" encoding="utf-8"?>
<p:tagLst xmlns:a="http://schemas.openxmlformats.org/drawingml/2006/main" xmlns:r="http://schemas.openxmlformats.org/officeDocument/2006/relationships" xmlns:p="http://schemas.openxmlformats.org/presentationml/2006/main">
  <p:tag name="EE4P_MAPWIZARD_ID" val="GD"/>
  <p:tag name="EE4P_MAPWIZARD_HEADINGS" val="Admin 1"/>
  <p:tag name="EE4P_MAPWIZARD" val="Gwynedd"/>
</p:tagLst>
</file>

<file path=ppt/tags/tag104.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1"/>
  <p:tag name="EE4P_MAPWIZARD" val="Blaenau Gwent"/>
</p:tagLst>
</file>

<file path=ppt/tags/tag105.xml><?xml version="1.0" encoding="utf-8"?>
<p:tagLst xmlns:a="http://schemas.openxmlformats.org/drawingml/2006/main" xmlns:r="http://schemas.openxmlformats.org/officeDocument/2006/relationships" xmlns:p="http://schemas.openxmlformats.org/presentationml/2006/main">
  <p:tag name="EE4P_MAPWIZARD_ID" val="MM"/>
  <p:tag name="EE4P_MAPWIZARD_HEADINGS" val="Admin 1"/>
  <p:tag name="EE4P_MAPWIZARD" val="Monmouthshire"/>
</p:tagLst>
</file>

<file path=ppt/tags/tag106.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1"/>
  <p:tag name="EE4P_MAPWIZARD" val="Newport"/>
</p:tagLst>
</file>

<file path=ppt/tags/tag107.xml><?xml version="1.0" encoding="utf-8"?>
<p:tagLst xmlns:a="http://schemas.openxmlformats.org/drawingml/2006/main" xmlns:r="http://schemas.openxmlformats.org/officeDocument/2006/relationships" xmlns:p="http://schemas.openxmlformats.org/presentationml/2006/main">
  <p:tag name="EE4P_MAPWIZARD_ID" val="TF"/>
  <p:tag name="EE4P_MAPWIZARD_HEADINGS" val="Admin 1"/>
  <p:tag name="EE4P_MAPWIZARD" val="Torfaen"/>
</p:tagLst>
</file>

<file path=ppt/tags/tag108.xml><?xml version="1.0" encoding="utf-8"?>
<p:tagLst xmlns:a="http://schemas.openxmlformats.org/drawingml/2006/main" xmlns:r="http://schemas.openxmlformats.org/officeDocument/2006/relationships" xmlns:p="http://schemas.openxmlformats.org/presentationml/2006/main">
  <p:tag name="EE4P_MAPWIZARD_ID" val="DG"/>
  <p:tag name="EE4P_MAPWIZARD_HEADINGS" val="Admin 1"/>
  <p:tag name="EE4P_MAPWIZARD" val="Dumfries and Galloway"/>
</p:tagLst>
</file>

<file path=ppt/tags/tag109.xml><?xml version="1.0" encoding="utf-8"?>
<p:tagLst xmlns:a="http://schemas.openxmlformats.org/drawingml/2006/main" xmlns:r="http://schemas.openxmlformats.org/officeDocument/2006/relationships" xmlns:p="http://schemas.openxmlformats.org/presentationml/2006/main">
  <p:tag name="EE4P_MAPWIZARD_ID" val="CU"/>
  <p:tag name="EE4P_MAPWIZARD_HEADINGS" val="Admin 1"/>
  <p:tag name="EE4P_MAPWIZARD" val="Cumbria"/>
</p:tagLst>
</file>

<file path=ppt/tags/tag11.xml><?xml version="1.0" encoding="utf-8"?>
<p:tagLst xmlns:a="http://schemas.openxmlformats.org/drawingml/2006/main" xmlns:r="http://schemas.openxmlformats.org/officeDocument/2006/relationships" xmlns:p="http://schemas.openxmlformats.org/presentationml/2006/main">
  <p:tag name="EE4P_MAPWIZARD_ID" val="SL"/>
  <p:tag name="EE4P_MAPWIZARD_HEADINGS" val="Admin 1"/>
  <p:tag name="EE4P_MAPWIZARD" val="South Lanarkshire"/>
</p:tagLst>
</file>

<file path=ppt/tags/tag110.xml><?xml version="1.0" encoding="utf-8"?>
<p:tagLst xmlns:a="http://schemas.openxmlformats.org/drawingml/2006/main" xmlns:r="http://schemas.openxmlformats.org/officeDocument/2006/relationships" xmlns:p="http://schemas.openxmlformats.org/presentationml/2006/main">
  <p:tag name="EE4P_MAPWIZARD_ID" val="NY"/>
  <p:tag name="EE4P_MAPWIZARD_HEADINGS" val="Admin 1"/>
  <p:tag name="EE4P_MAPWIZARD" val="North Yorkshire"/>
</p:tagLst>
</file>

<file path=ppt/tags/tag111.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1"/>
  <p:tag name="EE4P_MAPWIZARD" val="Plymouth"/>
</p:tagLst>
</file>

<file path=ppt/tags/tag112.xml><?xml version="1.0" encoding="utf-8"?>
<p:tagLst xmlns:a="http://schemas.openxmlformats.org/drawingml/2006/main" xmlns:r="http://schemas.openxmlformats.org/officeDocument/2006/relationships" xmlns:p="http://schemas.openxmlformats.org/presentationml/2006/main">
  <p:tag name="EE4P_MAPWIZARD_ID" val="TB"/>
  <p:tag name="EE4P_MAPWIZARD_HEADINGS" val="Admin 1"/>
  <p:tag name="EE4P_MAPWIZARD" val="Torbay"/>
</p:tagLst>
</file>

<file path=ppt/tags/tag113.xml><?xml version="1.0" encoding="utf-8"?>
<p:tagLst xmlns:a="http://schemas.openxmlformats.org/drawingml/2006/main" xmlns:r="http://schemas.openxmlformats.org/officeDocument/2006/relationships" xmlns:p="http://schemas.openxmlformats.org/presentationml/2006/main">
  <p:tag name="EE4P_MAPWIZARD_ID" val="EX"/>
  <p:tag name="EE4P_MAPWIZARD_HEADINGS" val="Admin 1"/>
  <p:tag name="EE4P_MAPWIZARD" val="Essex"/>
</p:tagLst>
</file>

<file path=ppt/tags/tag114.xml><?xml version="1.0" encoding="utf-8"?>
<p:tagLst xmlns:a="http://schemas.openxmlformats.org/drawingml/2006/main" xmlns:r="http://schemas.openxmlformats.org/officeDocument/2006/relationships" xmlns:p="http://schemas.openxmlformats.org/presentationml/2006/main">
  <p:tag name="EE4P_MAPWIZARD_ID" val="SF"/>
  <p:tag name="EE4P_MAPWIZARD_HEADINGS" val="Admin 1"/>
  <p:tag name="EE4P_MAPWIZARD" val="Suffolk"/>
</p:tagLst>
</file>

<file path=ppt/tags/tag115.xml><?xml version="1.0" encoding="utf-8"?>
<p:tagLst xmlns:a="http://schemas.openxmlformats.org/drawingml/2006/main" xmlns:r="http://schemas.openxmlformats.org/officeDocument/2006/relationships" xmlns:p="http://schemas.openxmlformats.org/presentationml/2006/main">
  <p:tag name="EE4P_MAPWIZARD_ID" val="NF"/>
  <p:tag name="EE4P_MAPWIZARD_HEADINGS" val="Admin 1"/>
  <p:tag name="EE4P_MAPWIZARD" val="Norfolk"/>
</p:tagLst>
</file>

<file path=ppt/tags/tag116.xml><?xml version="1.0" encoding="utf-8"?>
<p:tagLst xmlns:a="http://schemas.openxmlformats.org/drawingml/2006/main" xmlns:r="http://schemas.openxmlformats.org/officeDocument/2006/relationships" xmlns:p="http://schemas.openxmlformats.org/presentationml/2006/main">
  <p:tag name="EE4P_MAPWIZARD_ID" val="BH"/>
  <p:tag name="EE4P_MAPWIZARD_HEADINGS" val="Admin 1"/>
  <p:tag name="EE4P_MAPWIZARD" val="Brighton and Hove"/>
</p:tagLst>
</file>

<file path=ppt/tags/tag117.xml><?xml version="1.0" encoding="utf-8"?>
<p:tagLst xmlns:a="http://schemas.openxmlformats.org/drawingml/2006/main" xmlns:r="http://schemas.openxmlformats.org/officeDocument/2006/relationships" xmlns:p="http://schemas.openxmlformats.org/presentationml/2006/main">
  <p:tag name="EE4P_MAPWIZARD_ID" val="HV"/>
  <p:tag name="EE4P_MAPWIZARD_HEADINGS" val="Admin 1"/>
  <p:tag name="EE4P_MAPWIZARD" val="Havering"/>
</p:tagLst>
</file>

<file path=ppt/tags/tag118.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1"/>
  <p:tag name="EE4P_MAPWIZARD" val="Thurrock"/>
</p:tagLst>
</file>

<file path=ppt/tags/tag119.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1"/>
  <p:tag name="EE4P_MAPWIZARD" val="East Sussex"/>
</p:tagLst>
</file>

<file path=ppt/tags/tag12.xml><?xml version="1.0" encoding="utf-8"?>
<p:tagLst xmlns:a="http://schemas.openxmlformats.org/drawingml/2006/main" xmlns:r="http://schemas.openxmlformats.org/officeDocument/2006/relationships" xmlns:p="http://schemas.openxmlformats.org/presentationml/2006/main">
  <p:tag name="EE4P_MAPWIZARD_ID" val="WD"/>
  <p:tag name="EE4P_MAPWIZARD_HEADINGS" val="Admin 1"/>
  <p:tag name="EE4P_MAPWIZARD" val="West Dunbartonshire"/>
</p:tagLst>
</file>

<file path=ppt/tags/tag120.xml><?xml version="1.0" encoding="utf-8"?>
<p:tagLst xmlns:a="http://schemas.openxmlformats.org/drawingml/2006/main" xmlns:r="http://schemas.openxmlformats.org/officeDocument/2006/relationships" xmlns:p="http://schemas.openxmlformats.org/presentationml/2006/main">
  <p:tag name="EE4P_MAPWIZARD_ID" val="MW"/>
  <p:tag name="EE4P_MAPWIZARD_HEADINGS" val="Admin 1"/>
  <p:tag name="EE4P_MAPWIZARD" val="Medway"/>
</p:tagLst>
</file>

<file path=ppt/tags/tag121.xml><?xml version="1.0" encoding="utf-8"?>
<p:tagLst xmlns:a="http://schemas.openxmlformats.org/drawingml/2006/main" xmlns:r="http://schemas.openxmlformats.org/officeDocument/2006/relationships" xmlns:p="http://schemas.openxmlformats.org/presentationml/2006/main">
  <p:tag name="EE4P_MAPWIZARD_ID" val="SS"/>
  <p:tag name="EE4P_MAPWIZARD_HEADINGS" val="Admin 1"/>
  <p:tag name="EE4P_MAPWIZARD" val="Southend-on-Sea"/>
</p:tagLst>
</file>

<file path=ppt/tags/tag122.xml><?xml version="1.0" encoding="utf-8"?>
<p:tagLst xmlns:a="http://schemas.openxmlformats.org/drawingml/2006/main" xmlns:r="http://schemas.openxmlformats.org/officeDocument/2006/relationships" xmlns:p="http://schemas.openxmlformats.org/presentationml/2006/main">
  <p:tag name="EE4P_MAPWIZARD_ID" val="MO"/>
  <p:tag name="EE4P_MAPWIZARD_HEADINGS" val="Admin 1"/>
  <p:tag name="EE4P_MAPWIZARD" val="Orkney"/>
</p:tagLst>
</file>

<file path=ppt/tags/tag123.xml><?xml version="1.0" encoding="utf-8"?>
<p:tagLst xmlns:a="http://schemas.openxmlformats.org/drawingml/2006/main" xmlns:r="http://schemas.openxmlformats.org/officeDocument/2006/relationships" xmlns:p="http://schemas.openxmlformats.org/presentationml/2006/main">
  <p:tag name="EE4P_MAPWIZARD_ID" val="HI"/>
  <p:tag name="EE4P_MAPWIZARD_HEADINGS" val="Admin 1"/>
  <p:tag name="EE4P_MAPWIZARD" val="Highland"/>
</p:tagLst>
</file>

<file path=ppt/tags/tag124.xml><?xml version="1.0" encoding="utf-8"?>
<p:tagLst xmlns:a="http://schemas.openxmlformats.org/drawingml/2006/main" xmlns:r="http://schemas.openxmlformats.org/officeDocument/2006/relationships" xmlns:p="http://schemas.openxmlformats.org/presentationml/2006/main">
  <p:tag name="EE4P_MAPWIZARD_ID" val="AB"/>
  <p:tag name="EE4P_MAPWIZARD_HEADINGS" val="Admin 1"/>
  <p:tag name="EE4P_MAPWIZARD" val="Argyll and Bute"/>
</p:tagLst>
</file>

<file path=ppt/tags/tag125.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1"/>
  <p:tag name="EE4P_MAPWIZARD" val="Shetland Islands"/>
</p:tagLst>
</file>

<file path=ppt/tags/tag126.xml><?xml version="1.0" encoding="utf-8"?>
<p:tagLst xmlns:a="http://schemas.openxmlformats.org/drawingml/2006/main" xmlns:r="http://schemas.openxmlformats.org/officeDocument/2006/relationships" xmlns:p="http://schemas.openxmlformats.org/presentationml/2006/main">
  <p:tag name="EE4P_MAPWIZARD_ID" val="WS"/>
  <p:tag name="EE4P_MAPWIZARD_HEADINGS" val="Admin 1"/>
  <p:tag name="EE4P_MAPWIZARD" val="West Sussex"/>
</p:tagLst>
</file>

<file path=ppt/tags/tag127.xml><?xml version="1.0" encoding="utf-8"?>
<p:tagLst xmlns:a="http://schemas.openxmlformats.org/drawingml/2006/main" xmlns:r="http://schemas.openxmlformats.org/officeDocument/2006/relationships" xmlns:p="http://schemas.openxmlformats.org/presentationml/2006/main">
  <p:tag name="EE4P_MAPWIZARD_ID" val="NA"/>
  <p:tag name="EE4P_MAPWIZARD_HEADINGS" val="Admin 1"/>
  <p:tag name="EE4P_MAPWIZARD" val="Northamptonshire"/>
</p:tagLst>
</file>

<file path=ppt/tags/tag128.xml><?xml version="1.0" encoding="utf-8"?>
<p:tagLst xmlns:a="http://schemas.openxmlformats.org/drawingml/2006/main" xmlns:r="http://schemas.openxmlformats.org/officeDocument/2006/relationships" xmlns:p="http://schemas.openxmlformats.org/presentationml/2006/main">
  <p:tag name="EE4P_MAPWIZARD_ID" val="WR"/>
  <p:tag name="EE4P_MAPWIZARD_HEADINGS" val="Admin 1"/>
  <p:tag name="EE4P_MAPWIZARD" val="Warwickshire"/>
</p:tagLst>
</file>

<file path=ppt/tags/tag129.xml><?xml version="1.0" encoding="utf-8"?>
<p:tagLst xmlns:a="http://schemas.openxmlformats.org/drawingml/2006/main" xmlns:r="http://schemas.openxmlformats.org/officeDocument/2006/relationships" xmlns:p="http://schemas.openxmlformats.org/presentationml/2006/main">
  <p:tag name="EE4P_MAPWIZARD_ID" val="OX"/>
  <p:tag name="EE4P_MAPWIZARD_HEADINGS" val="Admin 1"/>
  <p:tag name="EE4P_MAPWIZARD" val="Oxfordshire"/>
</p:tagLst>
</file>

<file path=ppt/tags/tag13.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1"/>
  <p:tag name="EE4P_MAPWIZARD" val="Aberdeen"/>
</p:tagLst>
</file>

<file path=ppt/tags/tag130.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1"/>
  <p:tag name="EE4P_MAPWIZARD" val="Luton"/>
</p:tagLst>
</file>

<file path=ppt/tags/tag131.xml><?xml version="1.0" encoding="utf-8"?>
<p:tagLst xmlns:a="http://schemas.openxmlformats.org/drawingml/2006/main" xmlns:r="http://schemas.openxmlformats.org/officeDocument/2006/relationships" xmlns:p="http://schemas.openxmlformats.org/presentationml/2006/main">
  <p:tag name="EE4P_MAPWIZARD_ID" val="HD"/>
  <p:tag name="EE4P_MAPWIZARD_HEADINGS" val="Admin 1"/>
  <p:tag name="EE4P_MAPWIZARD" val="Hillingdon"/>
</p:tagLst>
</file>

<file path=ppt/tags/tag132.xml><?xml version="1.0" encoding="utf-8"?>
<p:tagLst xmlns:a="http://schemas.openxmlformats.org/drawingml/2006/main" xmlns:r="http://schemas.openxmlformats.org/officeDocument/2006/relationships" xmlns:p="http://schemas.openxmlformats.org/presentationml/2006/main">
  <p:tag name="EE4P_MAPWIZARD_ID" val="KT"/>
  <p:tag name="EE4P_MAPWIZARD_HEADINGS" val="Admin 1"/>
  <p:tag name="EE4P_MAPWIZARD" val="Kingston upon Thames"/>
</p:tagLst>
</file>

<file path=ppt/tags/tag133.xml><?xml version="1.0" encoding="utf-8"?>
<p:tagLst xmlns:a="http://schemas.openxmlformats.org/drawingml/2006/main" xmlns:r="http://schemas.openxmlformats.org/officeDocument/2006/relationships" xmlns:p="http://schemas.openxmlformats.org/presentationml/2006/main">
  <p:tag name="EE4P_MAPWIZARD_ID" val="SR"/>
  <p:tag name="EE4P_MAPWIZARD_HEADINGS" val="Admin 1"/>
  <p:tag name="EE4P_MAPWIZARD" val="Surrey"/>
</p:tagLst>
</file>

<file path=ppt/tags/tag134.xml><?xml version="1.0" encoding="utf-8"?>
<p:tagLst xmlns:a="http://schemas.openxmlformats.org/drawingml/2006/main" xmlns:r="http://schemas.openxmlformats.org/officeDocument/2006/relationships" xmlns:p="http://schemas.openxmlformats.org/presentationml/2006/main">
  <p:tag name="EE4P_MAPWIZARD_ID" val="SN"/>
  <p:tag name="EE4P_MAPWIZARD_HEADINGS" val="Admin 1"/>
  <p:tag name="EE4P_MAPWIZARD" val="Swindon"/>
</p:tagLst>
</file>

<file path=ppt/tags/tag135.xml><?xml version="1.0" encoding="utf-8"?>
<p:tagLst xmlns:a="http://schemas.openxmlformats.org/drawingml/2006/main" xmlns:r="http://schemas.openxmlformats.org/officeDocument/2006/relationships" xmlns:p="http://schemas.openxmlformats.org/presentationml/2006/main">
  <p:tag name="EE4P_MAPWIZARD_ID" val="WL"/>
  <p:tag name="EE4P_MAPWIZARD_HEADINGS" val="Admin 1"/>
  <p:tag name="EE4P_MAPWIZARD" val="Wiltshire"/>
</p:tagLst>
</file>

<file path=ppt/tags/tag136.xml><?xml version="1.0" encoding="utf-8"?>
<p:tagLst xmlns:a="http://schemas.openxmlformats.org/drawingml/2006/main" xmlns:r="http://schemas.openxmlformats.org/officeDocument/2006/relationships" xmlns:p="http://schemas.openxmlformats.org/presentationml/2006/main">
  <p:tag name="EE4P_MAPWIZARD_ID" val="IW"/>
  <p:tag name="EE4P_MAPWIZARD_HEADINGS" val="Admin 1"/>
  <p:tag name="EE4P_MAPWIZARD" val="Isle of Wight"/>
</p:tagLst>
</file>

<file path=ppt/tags/tag137.xml><?xml version="1.0" encoding="utf-8"?>
<p:tagLst xmlns:a="http://schemas.openxmlformats.org/drawingml/2006/main" xmlns:r="http://schemas.openxmlformats.org/officeDocument/2006/relationships" xmlns:p="http://schemas.openxmlformats.org/presentationml/2006/main">
  <p:tag name="EE4P_MAPWIZARD_ID" val="PS"/>
  <p:tag name="EE4P_MAPWIZARD_HEADINGS" val="Admin 1"/>
  <p:tag name="EE4P_MAPWIZARD" val="Portsmouth"/>
</p:tagLst>
</file>

<file path=ppt/tags/tag138.xml><?xml version="1.0" encoding="utf-8"?>
<p:tagLst xmlns:a="http://schemas.openxmlformats.org/drawingml/2006/main" xmlns:r="http://schemas.openxmlformats.org/officeDocument/2006/relationships" xmlns:p="http://schemas.openxmlformats.org/presentationml/2006/main">
  <p:tag name="EE4P_MAPWIZARD_ID" val="PB"/>
  <p:tag name="EE4P_MAPWIZARD_HEADINGS" val="Admin 1"/>
  <p:tag name="EE4P_MAPWIZARD" val="Peterborough"/>
</p:tagLst>
</file>

<file path=ppt/tags/tag139.xml><?xml version="1.0" encoding="utf-8"?>
<p:tagLst xmlns:a="http://schemas.openxmlformats.org/drawingml/2006/main" xmlns:r="http://schemas.openxmlformats.org/officeDocument/2006/relationships" xmlns:p="http://schemas.openxmlformats.org/presentationml/2006/main">
  <p:tag name="EE4P_MAPWIZARD_ID" val="LC"/>
  <p:tag name="EE4P_MAPWIZARD_HEADINGS" val="Admin 1"/>
  <p:tag name="EE4P_MAPWIZARD" val="Leicester"/>
</p:tagLst>
</file>

<file path=ppt/tags/tag14.xml><?xml version="1.0" encoding="utf-8"?>
<p:tagLst xmlns:a="http://schemas.openxmlformats.org/drawingml/2006/main" xmlns:r="http://schemas.openxmlformats.org/officeDocument/2006/relationships" xmlns:p="http://schemas.openxmlformats.org/presentationml/2006/main">
  <p:tag name="EE4P_MAPWIZARD_ID" val="AS"/>
  <p:tag name="EE4P_MAPWIZARD_HEADINGS" val="Admin 1"/>
  <p:tag name="EE4P_MAPWIZARD" val="Aberdeenshire"/>
</p:tagLst>
</file>

<file path=ppt/tags/tag140.xml><?xml version="1.0" encoding="utf-8"?>
<p:tagLst xmlns:a="http://schemas.openxmlformats.org/drawingml/2006/main" xmlns:r="http://schemas.openxmlformats.org/officeDocument/2006/relationships" xmlns:p="http://schemas.openxmlformats.org/presentationml/2006/main">
  <p:tag name="EE4P_MAPWIZARD_ID" val="RL"/>
  <p:tag name="EE4P_MAPWIZARD_HEADINGS" val="Admin 1"/>
  <p:tag name="EE4P_MAPWIZARD" val="Rutland"/>
</p:tagLst>
</file>

<file path=ppt/tags/tag141.xml><?xml version="1.0" encoding="utf-8"?>
<p:tagLst xmlns:a="http://schemas.openxmlformats.org/drawingml/2006/main" xmlns:r="http://schemas.openxmlformats.org/officeDocument/2006/relationships" xmlns:p="http://schemas.openxmlformats.org/presentationml/2006/main">
  <p:tag name="EE4P_MAPWIZARD_ID" val="NG"/>
  <p:tag name="EE4P_MAPWIZARD_HEADINGS" val="Admin 1"/>
  <p:tag name="EE4P_MAPWIZARD" val="Nottingham"/>
</p:tagLst>
</file>

<file path=ppt/tags/tag142.xml><?xml version="1.0" encoding="utf-8"?>
<p:tagLst xmlns:a="http://schemas.openxmlformats.org/drawingml/2006/main" xmlns:r="http://schemas.openxmlformats.org/officeDocument/2006/relationships" xmlns:p="http://schemas.openxmlformats.org/presentationml/2006/main">
  <p:tag name="EE4P_MAPWIZARD_ID" val="NT"/>
  <p:tag name="EE4P_MAPWIZARD_HEADINGS" val="Admin 1"/>
  <p:tag name="EE4P_MAPWIZARD" val="Nottinghamshire"/>
</p:tagLst>
</file>

<file path=ppt/tags/tag143.xml><?xml version="1.0" encoding="utf-8"?>
<p:tagLst xmlns:a="http://schemas.openxmlformats.org/drawingml/2006/main" xmlns:r="http://schemas.openxmlformats.org/officeDocument/2006/relationships" xmlns:p="http://schemas.openxmlformats.org/presentationml/2006/main">
  <p:tag name="EE4P_MAPWIZARD_ID" val="HK"/>
  <p:tag name="EE4P_MAPWIZARD_HEADINGS" val="Admin 1"/>
  <p:tag name="EE4P_MAPWIZARD" val="Hackney"/>
</p:tagLst>
</file>

<file path=ppt/tags/tag144.xml><?xml version="1.0" encoding="utf-8"?>
<p:tagLst xmlns:a="http://schemas.openxmlformats.org/drawingml/2006/main" xmlns:r="http://schemas.openxmlformats.org/officeDocument/2006/relationships" xmlns:p="http://schemas.openxmlformats.org/presentationml/2006/main">
  <p:tag name="EE4P_MAPWIZARD_ID" val="HY"/>
  <p:tag name="EE4P_MAPWIZARD_HEADINGS" val="Admin 1"/>
  <p:tag name="EE4P_MAPWIZARD" val="Haringey"/>
</p:tagLst>
</file>

<file path=ppt/tags/tag145.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1"/>
  <p:tag name="EE4P_MAPWIZARD" val="Harrow"/>
</p:tagLst>
</file>

<file path=ppt/tags/tag146.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1"/>
  <p:tag name="EE4P_MAPWIZARD" val="Lambeth"/>
</p:tagLst>
</file>

<file path=ppt/tags/tag147.xml><?xml version="1.0" encoding="utf-8"?>
<p:tagLst xmlns:a="http://schemas.openxmlformats.org/drawingml/2006/main" xmlns:r="http://schemas.openxmlformats.org/officeDocument/2006/relationships" xmlns:p="http://schemas.openxmlformats.org/presentationml/2006/main">
  <p:tag name="EE4P_MAPWIZARD_ID" val="LW"/>
  <p:tag name="EE4P_MAPWIZARD_HEADINGS" val="Admin 1"/>
  <p:tag name="EE4P_MAPWIZARD" val="Lewisham"/>
</p:tagLst>
</file>

<file path=ppt/tags/tag148.xml><?xml version="1.0" encoding="utf-8"?>
<p:tagLst xmlns:a="http://schemas.openxmlformats.org/drawingml/2006/main" xmlns:r="http://schemas.openxmlformats.org/officeDocument/2006/relationships" xmlns:p="http://schemas.openxmlformats.org/presentationml/2006/main">
  <p:tag name="EE4P_MAPWIZARD_ID" val="NH"/>
  <p:tag name="EE4P_MAPWIZARD_HEADINGS" val="Admin 1"/>
  <p:tag name="EE4P_MAPWIZARD" val="Newham"/>
</p:tagLst>
</file>

<file path=ppt/tags/tag149.xml><?xml version="1.0" encoding="utf-8"?>
<p:tagLst xmlns:a="http://schemas.openxmlformats.org/drawingml/2006/main" xmlns:r="http://schemas.openxmlformats.org/officeDocument/2006/relationships" xmlns:p="http://schemas.openxmlformats.org/presentationml/2006/main">
  <p:tag name="EE4P_MAPWIZARD_ID" val="SQ"/>
  <p:tag name="EE4P_MAPWIZARD_HEADINGS" val="Admin 1"/>
  <p:tag name="EE4P_MAPWIZARD" val="Southwark"/>
</p:tagLst>
</file>

<file path=ppt/tags/tag15.xml><?xml version="1.0" encoding="utf-8"?>
<p:tagLst xmlns:a="http://schemas.openxmlformats.org/drawingml/2006/main" xmlns:r="http://schemas.openxmlformats.org/officeDocument/2006/relationships" xmlns:p="http://schemas.openxmlformats.org/presentationml/2006/main">
  <p:tag name="EE4P_MAPWIZARD_ID" val="MO"/>
  <p:tag name="EE4P_MAPWIZARD_HEADINGS" val="Admin 1"/>
  <p:tag name="EE4P_MAPWIZARD" val="Moray"/>
</p:tagLst>
</file>

<file path=ppt/tags/tag150.xml><?xml version="1.0" encoding="utf-8"?>
<p:tagLst xmlns:a="http://schemas.openxmlformats.org/drawingml/2006/main" xmlns:r="http://schemas.openxmlformats.org/officeDocument/2006/relationships" xmlns:p="http://schemas.openxmlformats.org/presentationml/2006/main">
  <p:tag name="EE4P_MAPWIZARD_ID" val="WI"/>
  <p:tag name="EE4P_MAPWIZARD_HEADINGS" val="Admin 1"/>
  <p:tag name="EE4P_MAPWIZARD" val="Eilean Siar"/>
</p:tagLst>
</file>

<file path=ppt/tags/tag151.xml><?xml version="1.0" encoding="utf-8"?>
<p:tagLst xmlns:a="http://schemas.openxmlformats.org/drawingml/2006/main" xmlns:r="http://schemas.openxmlformats.org/officeDocument/2006/relationships" xmlns:p="http://schemas.openxmlformats.org/presentationml/2006/main">
  <p:tag name="EE4P_MAPWIZARD_ID" val="WT"/>
  <p:tag name="EE4P_MAPWIZARD_HEADINGS" val="Admin 1"/>
  <p:tag name="EE4P_MAPWIZARD" val="Warrington"/>
</p:tagLst>
</file>

<file path=ppt/tags/tag152.xml><?xml version="1.0" encoding="utf-8"?>
<p:tagLst xmlns:a="http://schemas.openxmlformats.org/drawingml/2006/main" xmlns:r="http://schemas.openxmlformats.org/officeDocument/2006/relationships" xmlns:p="http://schemas.openxmlformats.org/presentationml/2006/main">
  <p:tag name="EE4P_MAPWIZARD_ID" val="HE"/>
  <p:tag name="EE4P_MAPWIZARD_HEADINGS" val="Admin 1"/>
  <p:tag name="EE4P_MAPWIZARD" val="Herefordshire"/>
</p:tagLst>
</file>

<file path=ppt/tags/tag153.xml><?xml version="1.0" encoding="utf-8"?>
<p:tagLst xmlns:a="http://schemas.openxmlformats.org/drawingml/2006/main" xmlns:r="http://schemas.openxmlformats.org/officeDocument/2006/relationships" xmlns:p="http://schemas.openxmlformats.org/presentationml/2006/main">
  <p:tag name="EE4P_MAPWIZARD_ID" val="WC"/>
  <p:tag name="EE4P_MAPWIZARD_HEADINGS" val="Admin 1"/>
  <p:tag name="EE4P_MAPWIZARD" val="Worcestershire"/>
</p:tagLst>
</file>

<file path=ppt/tags/tag154.xml><?xml version="1.0" encoding="utf-8"?>
<p:tagLst xmlns:a="http://schemas.openxmlformats.org/drawingml/2006/main" xmlns:r="http://schemas.openxmlformats.org/officeDocument/2006/relationships" xmlns:p="http://schemas.openxmlformats.org/presentationml/2006/main">
  <p:tag name="EE4P_MAPWIZARD_ID" val="ST"/>
  <p:tag name="EE4P_MAPWIZARD_HEADINGS" val="Admin 1"/>
  <p:tag name="EE4P_MAPWIZARD" val="Staffordshire"/>
</p:tagLst>
</file>

<file path=ppt/tags/tag155.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1"/>
  <p:tag name="EE4P_MAPWIZARD" val="Stoke-on-Trent"/>
</p:tagLst>
</file>

<file path=ppt/tags/tag156.xml><?xml version="1.0" encoding="utf-8"?>
<p:tagLst xmlns:a="http://schemas.openxmlformats.org/drawingml/2006/main" xmlns:r="http://schemas.openxmlformats.org/officeDocument/2006/relationships" xmlns:p="http://schemas.openxmlformats.org/presentationml/2006/main">
  <p:tag name="EE4P_MAPWIZARD_ID" val="SP"/>
  <p:tag name="EE4P_MAPWIZARD_HEADINGS" val="Admin 1"/>
  <p:tag name="EE4P_MAPWIZARD" val="Shropshire"/>
</p:tagLst>
</file>

<file path=ppt/tags/tag157.xml><?xml version="1.0" encoding="utf-8"?>
<p:tagLst xmlns:a="http://schemas.openxmlformats.org/drawingml/2006/main" xmlns:r="http://schemas.openxmlformats.org/officeDocument/2006/relationships" xmlns:p="http://schemas.openxmlformats.org/presentationml/2006/main">
  <p:tag name="EE4P_MAPWIZARD_ID" val="KE"/>
  <p:tag name="EE4P_MAPWIZARD_HEADINGS" val="Admin 1"/>
  <p:tag name="EE4P_MAPWIZARD" val="Kent"/>
</p:tagLst>
</file>

<file path=ppt/tags/tag158.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1"/>
  <p:tag name="EE4P_MAPWIZARD" val="City"/>
</p:tagLst>
</file>

<file path=ppt/tags/tag159.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1"/>
  <p:tag name="EE4P_MAPWIZARD" val="Newcastle upon Tyne"/>
</p:tagLst>
</file>

<file path=ppt/tags/tag16.xml><?xml version="1.0" encoding="utf-8"?>
<p:tagLst xmlns:a="http://schemas.openxmlformats.org/drawingml/2006/main" xmlns:r="http://schemas.openxmlformats.org/officeDocument/2006/relationships" xmlns:p="http://schemas.openxmlformats.org/presentationml/2006/main">
  <p:tag name="EE4P_MAPWIZARD_ID" val="FK"/>
  <p:tag name="EE4P_MAPWIZARD_HEADINGS" val="Admin 1"/>
  <p:tag name="EE4P_MAPWIZARD" val="Falkirk"/>
</p:tagLst>
</file>

<file path=ppt/tags/tag160.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1"/>
  <p:tag name="EE4P_MAPWIZARD" val="North Tyneside"/>
</p:tagLst>
</file>

<file path=ppt/tags/tag161.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1"/>
  <p:tag name="EE4P_MAPWIZARD" val="South Tyneside"/>
</p:tagLst>
</file>

<file path=ppt/tags/tag162.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1"/>
  <p:tag name="EE4P_MAPWIZARD" val="Sunderland"/>
</p:tagLst>
</file>

<file path=ppt/tags/tag163.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1"/>
  <p:tag name="EE4P_MAPWIZARD" val="Gateshead"/>
</p:tagLst>
</file>

<file path=ppt/tags/tag164.xml><?xml version="1.0" encoding="utf-8"?>
<p:tagLst xmlns:a="http://schemas.openxmlformats.org/drawingml/2006/main" xmlns:r="http://schemas.openxmlformats.org/officeDocument/2006/relationships" xmlns:p="http://schemas.openxmlformats.org/presentationml/2006/main">
  <p:tag name="EE4P_MAPWIZARD_ID" val="MS"/>
  <p:tag name="EE4P_MAPWIZARD_HEADINGS" val="Admin 1"/>
  <p:tag name="EE4P_MAPWIZARD" val="Knowsley"/>
</p:tagLst>
</file>

<file path=ppt/tags/tag165.xml><?xml version="1.0" encoding="utf-8"?>
<p:tagLst xmlns:a="http://schemas.openxmlformats.org/drawingml/2006/main" xmlns:r="http://schemas.openxmlformats.org/officeDocument/2006/relationships" xmlns:p="http://schemas.openxmlformats.org/presentationml/2006/main">
  <p:tag name="EE4P_MAPWIZARD_ID" val="MS"/>
  <p:tag name="EE4P_MAPWIZARD_HEADINGS" val="Admin 1"/>
  <p:tag name="EE4P_MAPWIZARD" val="Sefton"/>
</p:tagLst>
</file>

<file path=ppt/tags/tag166.xml><?xml version="1.0" encoding="utf-8"?>
<p:tagLst xmlns:a="http://schemas.openxmlformats.org/drawingml/2006/main" xmlns:r="http://schemas.openxmlformats.org/officeDocument/2006/relationships" xmlns:p="http://schemas.openxmlformats.org/presentationml/2006/main">
  <p:tag name="EE4P_MAPWIZARD_ID" val="MS"/>
  <p:tag name="EE4P_MAPWIZARD_HEADINGS" val="Admin 1"/>
  <p:tag name="EE4P_MAPWIZARD" val="Liverpool"/>
</p:tagLst>
</file>

<file path=ppt/tags/tag167.xml><?xml version="1.0" encoding="utf-8"?>
<p:tagLst xmlns:a="http://schemas.openxmlformats.org/drawingml/2006/main" xmlns:r="http://schemas.openxmlformats.org/officeDocument/2006/relationships" xmlns:p="http://schemas.openxmlformats.org/presentationml/2006/main">
  <p:tag name="EE4P_MAPWIZARD_ID" val="MS"/>
  <p:tag name="EE4P_MAPWIZARD_HEADINGS" val="Admin 1"/>
  <p:tag name="EE4P_MAPWIZARD" val="Merseyside"/>
</p:tagLst>
</file>

<file path=ppt/tags/tag168.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1"/>
  <p:tag name="EE4P_MAPWIZARD" val="Blackpool"/>
</p:tagLst>
</file>

<file path=ppt/tags/tag169.xml><?xml version="1.0" encoding="utf-8"?>
<p:tagLst xmlns:a="http://schemas.openxmlformats.org/drawingml/2006/main" xmlns:r="http://schemas.openxmlformats.org/officeDocument/2006/relationships" xmlns:p="http://schemas.openxmlformats.org/presentationml/2006/main">
  <p:tag name="EE4P_MAPWIZARD_ID" val="WY"/>
  <p:tag name="EE4P_MAPWIZARD_HEADINGS" val="Admin 1"/>
  <p:tag name="EE4P_MAPWIZARD" val="Kirklees"/>
</p:tagLst>
</file>

<file path=ppt/tags/tag17.xml><?xml version="1.0" encoding="utf-8"?>
<p:tagLst xmlns:a="http://schemas.openxmlformats.org/drawingml/2006/main" xmlns:r="http://schemas.openxmlformats.org/officeDocument/2006/relationships" xmlns:p="http://schemas.openxmlformats.org/presentationml/2006/main">
  <p:tag name="EE4P_MAPWIZARD_ID" val="ZG"/>
  <p:tag name="EE4P_MAPWIZARD_HEADINGS" val="Admin 1"/>
  <p:tag name="EE4P_MAPWIZARD" val="Stirling"/>
</p:tagLst>
</file>

<file path=ppt/tags/tag170.xml><?xml version="1.0" encoding="utf-8"?>
<p:tagLst xmlns:a="http://schemas.openxmlformats.org/drawingml/2006/main" xmlns:r="http://schemas.openxmlformats.org/officeDocument/2006/relationships" xmlns:p="http://schemas.openxmlformats.org/presentationml/2006/main">
  <p:tag name="EE4P_MAPWIZARD_ID" val="WY"/>
  <p:tag name="EE4P_MAPWIZARD_HEADINGS" val="Admin 1"/>
  <p:tag name="EE4P_MAPWIZARD" val="Calderdale"/>
</p:tagLst>
</file>

<file path=ppt/tags/tag171.xml><?xml version="1.0" encoding="utf-8"?>
<p:tagLst xmlns:a="http://schemas.openxmlformats.org/drawingml/2006/main" xmlns:r="http://schemas.openxmlformats.org/officeDocument/2006/relationships" xmlns:p="http://schemas.openxmlformats.org/presentationml/2006/main">
  <p:tag name="EE4P_MAPWIZARD_ID" val="WY"/>
  <p:tag name="EE4P_MAPWIZARD_HEADINGS" val="Admin 1"/>
  <p:tag name="EE4P_MAPWIZARD" val="Bradford"/>
</p:tagLst>
</file>

<file path=ppt/tags/tag172.xml><?xml version="1.0" encoding="utf-8"?>
<p:tagLst xmlns:a="http://schemas.openxmlformats.org/drawingml/2006/main" xmlns:r="http://schemas.openxmlformats.org/officeDocument/2006/relationships" xmlns:p="http://schemas.openxmlformats.org/presentationml/2006/main">
  <p:tag name="EE4P_MAPWIZARD_ID" val="WY"/>
  <p:tag name="EE4P_MAPWIZARD_HEADINGS" val="Admin 1"/>
  <p:tag name="EE4P_MAPWIZARD" val="Leeds"/>
</p:tagLst>
</file>

<file path=ppt/tags/tag173.xml><?xml version="1.0" encoding="utf-8"?>
<p:tagLst xmlns:a="http://schemas.openxmlformats.org/drawingml/2006/main" xmlns:r="http://schemas.openxmlformats.org/officeDocument/2006/relationships" xmlns:p="http://schemas.openxmlformats.org/presentationml/2006/main">
  <p:tag name="EE4P_MAPWIZARD_ID" val="WY"/>
  <p:tag name="EE4P_MAPWIZARD_HEADINGS" val="Admin 1"/>
  <p:tag name="EE4P_MAPWIZARD" val="Wakefield"/>
</p:tagLst>
</file>

<file path=ppt/tags/tag174.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1"/>
  <p:tag name="EE4P_MAPWIZARD" val="Salford"/>
</p:tagLst>
</file>

<file path=ppt/tags/tag175.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1"/>
  <p:tag name="EE4P_MAPWIZARD" val="Wigan"/>
</p:tagLst>
</file>

<file path=ppt/tags/tag176.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1"/>
  <p:tag name="EE4P_MAPWIZARD" val="Bolton"/>
</p:tagLst>
</file>

<file path=ppt/tags/tag177.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1"/>
  <p:tag name="EE4P_MAPWIZARD" val="Bury"/>
</p:tagLst>
</file>

<file path=ppt/tags/tag178.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1"/>
  <p:tag name="EE4P_MAPWIZARD" val="Rochdale"/>
</p:tagLst>
</file>

<file path=ppt/tags/tag179.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1"/>
  <p:tag name="EE4P_MAPWIZARD" val="Oldham"/>
</p:tagLst>
</file>

<file path=ppt/tags/tag18.xml><?xml version="1.0" encoding="utf-8"?>
<p:tagLst xmlns:a="http://schemas.openxmlformats.org/drawingml/2006/main" xmlns:r="http://schemas.openxmlformats.org/officeDocument/2006/relationships" xmlns:p="http://schemas.openxmlformats.org/presentationml/2006/main">
  <p:tag name="EE4P_MAPWIZARD_ID" val="CC"/>
  <p:tag name="EE4P_MAPWIZARD_HEADINGS" val="Admin 1"/>
  <p:tag name="EE4P_MAPWIZARD" val="Clackmannanshire"/>
</p:tagLst>
</file>

<file path=ppt/tags/tag180.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1"/>
  <p:tag name="EE4P_MAPWIZARD" val="Tameside"/>
</p:tagLst>
</file>

<file path=ppt/tags/tag181.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1"/>
  <p:tag name="EE4P_MAPWIZARD" val="Stockport"/>
</p:tagLst>
</file>

<file path=ppt/tags/tag182.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1"/>
  <p:tag name="EE4P_MAPWIZARD" val="Manchester"/>
</p:tagLst>
</file>

<file path=ppt/tags/tag183.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1"/>
  <p:tag name="EE4P_MAPWIZARD" val="Trafford"/>
</p:tagLst>
</file>

<file path=ppt/tags/tag184.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1"/>
  <p:tag name="EE4P_MAPWIZARD" val="Rotherham"/>
</p:tagLst>
</file>

<file path=ppt/tags/tag185.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1"/>
  <p:tag name="EE4P_MAPWIZARD" val="Sheffield"/>
</p:tagLst>
</file>

<file path=ppt/tags/tag186.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1"/>
  <p:tag name="EE4P_MAPWIZARD" val="Barnsley"/>
</p:tagLst>
</file>

<file path=ppt/tags/tag187.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1"/>
  <p:tag name="EE4P_MAPWIZARD" val="Doncaster"/>
</p:tagLst>
</file>

<file path=ppt/tags/tag188.xml><?xml version="1.0" encoding="utf-8"?>
<p:tagLst xmlns:a="http://schemas.openxmlformats.org/drawingml/2006/main" xmlns:r="http://schemas.openxmlformats.org/officeDocument/2006/relationships" xmlns:p="http://schemas.openxmlformats.org/presentationml/2006/main">
  <p:tag name="EE4P_MAPWIZARD_ID" val="WM"/>
  <p:tag name="EE4P_MAPWIZARD_HEADINGS" val="Admin 1"/>
  <p:tag name="EE4P_MAPWIZARD" val="Birmingham"/>
</p:tagLst>
</file>

<file path=ppt/tags/tag189.xml><?xml version="1.0" encoding="utf-8"?>
<p:tagLst xmlns:a="http://schemas.openxmlformats.org/drawingml/2006/main" xmlns:r="http://schemas.openxmlformats.org/officeDocument/2006/relationships" xmlns:p="http://schemas.openxmlformats.org/presentationml/2006/main">
  <p:tag name="EE4P_MAPWIZARD_ID" val="WM"/>
  <p:tag name="EE4P_MAPWIZARD_HEADINGS" val="Admin 1"/>
  <p:tag name="EE4P_MAPWIZARD" val="Sandwell"/>
</p:tagLst>
</file>

<file path=ppt/tags/tag19.xml><?xml version="1.0" encoding="utf-8"?>
<p:tagLst xmlns:a="http://schemas.openxmlformats.org/drawingml/2006/main" xmlns:r="http://schemas.openxmlformats.org/officeDocument/2006/relationships" xmlns:p="http://schemas.openxmlformats.org/presentationml/2006/main">
  <p:tag name="EE4P_MAPWIZARD_ID" val="2"/>
  <p:tag name="EE4P_MAPWIZARD_HEADINGS" val="Admin 1"/>
  <p:tag name="EE4P_MAPWIZARD" val="Perthshire and Kinross"/>
</p:tagLst>
</file>

<file path=ppt/tags/tag190.xml><?xml version="1.0" encoding="utf-8"?>
<p:tagLst xmlns:a="http://schemas.openxmlformats.org/drawingml/2006/main" xmlns:r="http://schemas.openxmlformats.org/officeDocument/2006/relationships" xmlns:p="http://schemas.openxmlformats.org/presentationml/2006/main">
  <p:tag name="EE4P_MAPWIZARD_ID" val="WM"/>
  <p:tag name="EE4P_MAPWIZARD_HEADINGS" val="Admin 1"/>
  <p:tag name="EE4P_MAPWIZARD" val="Dudley"/>
</p:tagLst>
</file>

<file path=ppt/tags/tag191.xml><?xml version="1.0" encoding="utf-8"?>
<p:tagLst xmlns:a="http://schemas.openxmlformats.org/drawingml/2006/main" xmlns:r="http://schemas.openxmlformats.org/officeDocument/2006/relationships" xmlns:p="http://schemas.openxmlformats.org/presentationml/2006/main">
  <p:tag name="EE4P_MAPWIZARD_ID" val="WM"/>
  <p:tag name="EE4P_MAPWIZARD_HEADINGS" val="Admin 1"/>
  <p:tag name="EE4P_MAPWIZARD" val="Wolverhampton"/>
</p:tagLst>
</file>

<file path=ppt/tags/tag192.xml><?xml version="1.0" encoding="utf-8"?>
<p:tagLst xmlns:a="http://schemas.openxmlformats.org/drawingml/2006/main" xmlns:r="http://schemas.openxmlformats.org/officeDocument/2006/relationships" xmlns:p="http://schemas.openxmlformats.org/presentationml/2006/main">
  <p:tag name="EE4P_MAPWIZARD_ID" val="WM"/>
  <p:tag name="EE4P_MAPWIZARD_HEADINGS" val="Admin 1"/>
  <p:tag name="EE4P_MAPWIZARD" val="Walsall"/>
</p:tagLst>
</file>

<file path=ppt/tags/tag193.xml><?xml version="1.0" encoding="utf-8"?>
<p:tagLst xmlns:a="http://schemas.openxmlformats.org/drawingml/2006/main" xmlns:r="http://schemas.openxmlformats.org/officeDocument/2006/relationships" xmlns:p="http://schemas.openxmlformats.org/presentationml/2006/main">
  <p:tag name="EE4P_MAPWIZARD_ID" val="WM"/>
  <p:tag name="EE4P_MAPWIZARD_HEADINGS" val="Admin 1"/>
  <p:tag name="EE4P_MAPWIZARD" val="Solihull"/>
</p:tagLst>
</file>

<file path=ppt/tags/tag194.xml><?xml version="1.0" encoding="utf-8"?>
<p:tagLst xmlns:a="http://schemas.openxmlformats.org/drawingml/2006/main" xmlns:r="http://schemas.openxmlformats.org/officeDocument/2006/relationships" xmlns:p="http://schemas.openxmlformats.org/presentationml/2006/main">
  <p:tag name="EE4P_MAPWIZARD_ID" val="WM"/>
  <p:tag name="EE4P_MAPWIZARD_HEADINGS" val="Admin 1"/>
  <p:tag name="EE4P_MAPWIZARD" val="Coventry"/>
</p:tagLst>
</file>

<file path=ppt/tags/tag195.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1"/>
  <p:tag name="EE4P_MAPWIZARD" val="Central Bedfordshire"/>
</p:tagLst>
</file>

<file path=ppt/tags/tag196.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1"/>
  <p:tag name="EE4P_MAPWIZARD" val="Bedford"/>
</p:tagLst>
</file>

<file path=ppt/tags/tag197.xml><?xml version="1.0" encoding="utf-8"?>
<p:tagLst xmlns:a="http://schemas.openxmlformats.org/drawingml/2006/main" xmlns:r="http://schemas.openxmlformats.org/officeDocument/2006/relationships" xmlns:p="http://schemas.openxmlformats.org/presentationml/2006/main">
  <p:tag name="EE4P_MAPWIZARD_ID" val="BK"/>
  <p:tag name="EE4P_MAPWIZARD_HEADINGS" val="Admin 1"/>
  <p:tag name="EE4P_MAPWIZARD" val="Reading"/>
</p:tagLst>
</file>

<file path=ppt/tags/tag198.xml><?xml version="1.0" encoding="utf-8"?>
<p:tagLst xmlns:a="http://schemas.openxmlformats.org/drawingml/2006/main" xmlns:r="http://schemas.openxmlformats.org/officeDocument/2006/relationships" xmlns:p="http://schemas.openxmlformats.org/presentationml/2006/main">
  <p:tag name="EE4P_MAPWIZARD_ID" val="BK"/>
  <p:tag name="EE4P_MAPWIZARD_HEADINGS" val="Admin 1"/>
  <p:tag name="EE4P_MAPWIZARD" val="West Berkshire"/>
</p:tagLst>
</file>

<file path=ppt/tags/tag199.xml><?xml version="1.0" encoding="utf-8"?>
<p:tagLst xmlns:a="http://schemas.openxmlformats.org/drawingml/2006/main" xmlns:r="http://schemas.openxmlformats.org/officeDocument/2006/relationships" xmlns:p="http://schemas.openxmlformats.org/presentationml/2006/main">
  <p:tag name="EE4P_MAPWIZARD_ID" val="BK"/>
  <p:tag name="EE4P_MAPWIZARD_HEADINGS" val="Admin 1"/>
  <p:tag name="EE4P_MAPWIZARD" val="Wokingham"/>
</p:tagLst>
</file>

<file path=ppt/tags/tag2.xml><?xml version="1.0" encoding="utf-8"?>
<p:tagLst xmlns:a="http://schemas.openxmlformats.org/drawingml/2006/main" xmlns:r="http://schemas.openxmlformats.org/officeDocument/2006/relationships" xmlns:p="http://schemas.openxmlformats.org/presentationml/2006/main">
  <p:tag name="EE4P_MAPWIZARD_ID" val="EA"/>
  <p:tag name="EE4P_MAPWIZARD_HEADINGS" val="Admin 1"/>
  <p:tag name="EE4P_MAPWIZARD" val="East Ayrshire"/>
</p:tagLst>
</file>

<file path=ppt/tags/tag20.xml><?xml version="1.0" encoding="utf-8"?>
<p:tagLst xmlns:a="http://schemas.openxmlformats.org/drawingml/2006/main" xmlns:r="http://schemas.openxmlformats.org/officeDocument/2006/relationships" xmlns:p="http://schemas.openxmlformats.org/presentationml/2006/main">
  <p:tag name="EE4P_MAPWIZARD_ID" val="AG"/>
  <p:tag name="EE4P_MAPWIZARD_HEADINGS" val="Admin 1"/>
  <p:tag name="EE4P_MAPWIZARD" val="Angus"/>
</p:tagLst>
</file>

<file path=ppt/tags/tag200.xml><?xml version="1.0" encoding="utf-8"?>
<p:tagLst xmlns:a="http://schemas.openxmlformats.org/drawingml/2006/main" xmlns:r="http://schemas.openxmlformats.org/officeDocument/2006/relationships" xmlns:p="http://schemas.openxmlformats.org/presentationml/2006/main">
  <p:tag name="EE4P_MAPWIZARD_ID" val="BK"/>
  <p:tag name="EE4P_MAPWIZARD_HEADINGS" val="Admin 1"/>
  <p:tag name="EE4P_MAPWIZARD" val="Bracknell Forest"/>
</p:tagLst>
</file>

<file path=ppt/tags/tag201.xml><?xml version="1.0" encoding="utf-8"?>
<p:tagLst xmlns:a="http://schemas.openxmlformats.org/drawingml/2006/main" xmlns:r="http://schemas.openxmlformats.org/officeDocument/2006/relationships" xmlns:p="http://schemas.openxmlformats.org/presentationml/2006/main">
  <p:tag name="EE4P_MAPWIZARD_ID" val="BK"/>
  <p:tag name="EE4P_MAPWIZARD_HEADINGS" val="Admin 1"/>
  <p:tag name="EE4P_MAPWIZARD" val="Royal Borough of Windsor and Mai"/>
</p:tagLst>
</file>

<file path=ppt/tags/tag202.xml><?xml version="1.0" encoding="utf-8"?>
<p:tagLst xmlns:a="http://schemas.openxmlformats.org/drawingml/2006/main" xmlns:r="http://schemas.openxmlformats.org/officeDocument/2006/relationships" xmlns:p="http://schemas.openxmlformats.org/presentationml/2006/main">
  <p:tag name="EE4P_MAPWIZARD_ID" val="BK"/>
  <p:tag name="EE4P_MAPWIZARD_HEADINGS" val="Admin 1"/>
  <p:tag name="EE4P_MAPWIZARD" val="Slough"/>
</p:tagLst>
</file>

<file path=ppt/tags/tag203.xml><?xml version="1.0" encoding="utf-8"?>
<p:tagLst xmlns:a="http://schemas.openxmlformats.org/drawingml/2006/main" xmlns:r="http://schemas.openxmlformats.org/officeDocument/2006/relationships" xmlns:p="http://schemas.openxmlformats.org/presentationml/2006/main">
  <p:tag name="EE4P_MAPWIZARD_ID" val="EF"/>
  <p:tag name="EE4P_MAPWIZARD_HEADINGS" val="Admin 1"/>
  <p:tag name="EE4P_MAPWIZARD" val="Barnet"/>
</p:tagLst>
</file>

<file path=ppt/tags/tag204.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1"/>
  <p:tag name="EE4P_MAPWIZARD" val="Cheshire East"/>
</p:tagLst>
</file>

<file path=ppt/tags/tag205.xml><?xml version="1.0" encoding="utf-8"?>
<p:tagLst xmlns:a="http://schemas.openxmlformats.org/drawingml/2006/main" xmlns:r="http://schemas.openxmlformats.org/officeDocument/2006/relationships" xmlns:p="http://schemas.openxmlformats.org/presentationml/2006/main">
  <p:tag name="EE4P_MAPWIZARD_ID" val="WT"/>
  <p:tag name="EE4P_MAPWIZARD_HEADINGS" val="Admin 1"/>
  <p:tag name="EE4P_MAPWIZARD" val="Cheshire West and Chester"/>
</p:tagLst>
</file>

<file path=ppt/tags/tag206.xml><?xml version="1.0" encoding="utf-8"?>
<p:tagLst xmlns:a="http://schemas.openxmlformats.org/drawingml/2006/main" xmlns:r="http://schemas.openxmlformats.org/officeDocument/2006/relationships" xmlns:p="http://schemas.openxmlformats.org/presentationml/2006/main">
  <p:tag name="EE4P_MAPWIZARD_ID" val="WT"/>
  <p:tag name="EE4P_MAPWIZARD_HEADINGS" val="Admin 1"/>
  <p:tag name="EE4P_MAPWIZARD" val="Halton"/>
</p:tagLst>
</file>

<file path=ppt/tags/tag207.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1"/>
  <p:tag name="EE4P_MAPWIZARD" val="Isles of Scilly"/>
</p:tagLst>
</file>

<file path=ppt/tags/tag208.xml><?xml version="1.0" encoding="utf-8"?>
<p:tagLst xmlns:a="http://schemas.openxmlformats.org/drawingml/2006/main" xmlns:r="http://schemas.openxmlformats.org/officeDocument/2006/relationships" xmlns:p="http://schemas.openxmlformats.org/presentationml/2006/main">
  <p:tag name="EE4P_MAPWIZARD_ID" val="IM"/>
  <p:tag name="EE4P_MAPWIZARD_HEADINGS" val="Admin 1"/>
  <p:tag name="EE4P_MAPWIZARD" val="Isle of Man"/>
</p:tagLst>
</file>

<file path=ppt/tags/tag209.xml><?xml version="1.0" encoding="utf-8"?>
<p:tagLst xmlns:a="http://schemas.openxmlformats.org/drawingml/2006/main" xmlns:r="http://schemas.openxmlformats.org/officeDocument/2006/relationships" xmlns:p="http://schemas.openxmlformats.org/presentationml/2006/main">
  <p:tag name="EE4P_MAPWIZARD_ID" val="JE"/>
  <p:tag name="EE4P_MAPWIZARD_HEADINGS" val="Admin 1"/>
  <p:tag name="EE4P_MAPWIZARD" val="Jersey"/>
</p:tagLst>
</file>

<file path=ppt/tags/tag21.xml><?xml version="1.0" encoding="utf-8"?>
<p:tagLst xmlns:a="http://schemas.openxmlformats.org/drawingml/2006/main" xmlns:r="http://schemas.openxmlformats.org/officeDocument/2006/relationships" xmlns:p="http://schemas.openxmlformats.org/presentationml/2006/main">
  <p:tag name="EE4P_MAPWIZARD_ID" val="DU"/>
  <p:tag name="EE4P_MAPWIZARD_HEADINGS" val="Admin 1"/>
  <p:tag name="EE4P_MAPWIZARD" val="Dundee"/>
</p:tagLst>
</file>

<file path=ppt/tags/tag210.xml><?xml version="1.0" encoding="utf-8"?>
<p:tagLst xmlns:a="http://schemas.openxmlformats.org/drawingml/2006/main" xmlns:r="http://schemas.openxmlformats.org/officeDocument/2006/relationships" xmlns:p="http://schemas.openxmlformats.org/presentationml/2006/main">
  <p:tag name="EE4P_MAPWIZARD_ID" val="2"/>
  <p:tag name="EE4P_MAPWIZARD_HEADINGS" val="Admin 1"/>
  <p:tag name="EE4P_MAPWIZARD" val="Guernsey"/>
</p:tagLst>
</file>

<file path=ppt/tags/tag211.xml><?xml version="1.0" encoding="utf-8"?>
<p:tagLst xmlns:a="http://schemas.openxmlformats.org/drawingml/2006/main" xmlns:r="http://schemas.openxmlformats.org/officeDocument/2006/relationships" xmlns:p="http://schemas.openxmlformats.org/presentationml/2006/main">
  <p:tag name="EE4P_MAPWIZARD_ID" val="BF"/>
  <p:tag name="EE4P_MAPWIZARD_HEADINGS" val="Admin 1"/>
  <p:tag name="EE4P_MAPWIZARD" val="Belfast"/>
</p:tagLst>
</file>

<file path=ppt/tags/tag212.xml><?xml version="1.0" encoding="utf-8"?>
<p:tagLst xmlns:a="http://schemas.openxmlformats.org/drawingml/2006/main" xmlns:r="http://schemas.openxmlformats.org/officeDocument/2006/relationships" xmlns:p="http://schemas.openxmlformats.org/presentationml/2006/main">
  <p:tag name="EE4P_MAPWIZARD_ID" val="LD"/>
  <p:tag name="EE4P_MAPWIZARD_HEADINGS" val="Admin 1"/>
  <p:tag name="EE4P_MAPWIZARD" val="Derry"/>
</p:tagLst>
</file>

<file path=ppt/tags/tag213.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1"/>
  <p:tag name="EE4P_MAPWIZARD" val="Omagh"/>
</p:tagLst>
</file>

<file path=ppt/tags/tag214.xml><?xml version="1.0" encoding="utf-8"?>
<p:tagLst xmlns:a="http://schemas.openxmlformats.org/drawingml/2006/main" xmlns:r="http://schemas.openxmlformats.org/officeDocument/2006/relationships" xmlns:p="http://schemas.openxmlformats.org/presentationml/2006/main">
  <p:tag name="EE4P_MAPWIZARD_ID" val="AM"/>
  <p:tag name="EE4P_MAPWIZARD_HEADINGS" val="Admin 1"/>
  <p:tag name="EE4P_MAPWIZARD" val="Armagh"/>
</p:tagLst>
</file>

<file path=ppt/tags/tag215.xml><?xml version="1.0" encoding="utf-8"?>
<p:tagLst xmlns:a="http://schemas.openxmlformats.org/drawingml/2006/main" xmlns:r="http://schemas.openxmlformats.org/officeDocument/2006/relationships" xmlns:p="http://schemas.openxmlformats.org/presentationml/2006/main">
  <p:tag name="EE4P_MAPWIZARD_ID" val="NM"/>
  <p:tag name="EE4P_MAPWIZARD_HEADINGS" val="Admin 1"/>
  <p:tag name="EE4P_MAPWIZARD" val="Newry and Mourne"/>
</p:tagLst>
</file>

<file path=ppt/tags/tag216.xml><?xml version="1.0" encoding="utf-8"?>
<p:tagLst xmlns:a="http://schemas.openxmlformats.org/drawingml/2006/main" xmlns:r="http://schemas.openxmlformats.org/officeDocument/2006/relationships" xmlns:p="http://schemas.openxmlformats.org/presentationml/2006/main">
  <p:tag name="EE4P_MAPWIZARD_ID" val="BB"/>
  <p:tag name="EE4P_MAPWIZARD_HEADINGS" val="Admin 1"/>
  <p:tag name="EE4P_MAPWIZARD" val="Banbridge"/>
</p:tagLst>
</file>

<file path=ppt/tags/tag217.xml><?xml version="1.0" encoding="utf-8"?>
<p:tagLst xmlns:a="http://schemas.openxmlformats.org/drawingml/2006/main" xmlns:r="http://schemas.openxmlformats.org/officeDocument/2006/relationships" xmlns:p="http://schemas.openxmlformats.org/presentationml/2006/main">
  <p:tag name="EE4P_MAPWIZARD_ID" val="CR"/>
  <p:tag name="EE4P_MAPWIZARD_HEADINGS" val="Admin 1"/>
  <p:tag name="EE4P_MAPWIZARD" val="Craigavon"/>
</p:tagLst>
</file>

<file path=ppt/tags/tag218.xml><?xml version="1.0" encoding="utf-8"?>
<p:tagLst xmlns:a="http://schemas.openxmlformats.org/drawingml/2006/main" xmlns:r="http://schemas.openxmlformats.org/officeDocument/2006/relationships" xmlns:p="http://schemas.openxmlformats.org/presentationml/2006/main">
  <p:tag name="EE4P_MAPWIZARD_ID" val="DN"/>
  <p:tag name="EE4P_MAPWIZARD_HEADINGS" val="Admin 1"/>
  <p:tag name="EE4P_MAPWIZARD" val="Dungannon"/>
</p:tagLst>
</file>

<file path=ppt/tags/tag219.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1"/>
  <p:tag name="EE4P_MAPWIZARD" val="Lisburn"/>
</p:tagLst>
</file>

<file path=ppt/tags/tag22.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1"/>
  <p:tag name="EE4P_MAPWIZARD" val="Fife"/>
</p:tagLst>
</file>

<file path=ppt/tags/tag220.xml><?xml version="1.0" encoding="utf-8"?>
<p:tagLst xmlns:a="http://schemas.openxmlformats.org/drawingml/2006/main" xmlns:r="http://schemas.openxmlformats.org/officeDocument/2006/relationships" xmlns:p="http://schemas.openxmlformats.org/presentationml/2006/main">
  <p:tag name="EE4P_MAPWIZARD_ID" val="4"/>
  <p:tag name="EE4P_MAPWIZARD_HEADINGS" val="Admin 1"/>
  <p:tag name="EE4P_MAPWIZARD" val="Cookstown"/>
</p:tagLst>
</file>

<file path=ppt/tags/tag221.xml><?xml version="1.0" encoding="utf-8"?>
<p:tagLst xmlns:a="http://schemas.openxmlformats.org/drawingml/2006/main" xmlns:r="http://schemas.openxmlformats.org/officeDocument/2006/relationships" xmlns:p="http://schemas.openxmlformats.org/presentationml/2006/main">
  <p:tag name="EE4P_MAPWIZARD_ID" val="AN"/>
  <p:tag name="EE4P_MAPWIZARD_HEADINGS" val="Admin 1"/>
  <p:tag name="EE4P_MAPWIZARD" val="Antrim"/>
</p:tagLst>
</file>

<file path=ppt/tags/tag222.xml><?xml version="1.0" encoding="utf-8"?>
<p:tagLst xmlns:a="http://schemas.openxmlformats.org/drawingml/2006/main" xmlns:r="http://schemas.openxmlformats.org/officeDocument/2006/relationships" xmlns:p="http://schemas.openxmlformats.org/presentationml/2006/main">
  <p:tag name="EE4P_MAPWIZARD_ID" val="MF"/>
  <p:tag name="EE4P_MAPWIZARD_HEADINGS" val="Admin 1"/>
  <p:tag name="EE4P_MAPWIZARD" val="Magherafelt"/>
</p:tagLst>
</file>

<file path=ppt/tags/tag223.xml><?xml version="1.0" encoding="utf-8"?>
<p:tagLst xmlns:a="http://schemas.openxmlformats.org/drawingml/2006/main" xmlns:r="http://schemas.openxmlformats.org/officeDocument/2006/relationships" xmlns:p="http://schemas.openxmlformats.org/presentationml/2006/main">
  <p:tag name="EE4P_MAPWIZARD_ID" val="BL"/>
  <p:tag name="EE4P_MAPWIZARD_HEADINGS" val="Admin 1"/>
  <p:tag name="EE4P_MAPWIZARD" val="Ballymena"/>
</p:tagLst>
</file>

<file path=ppt/tags/tag224.xml><?xml version="1.0" encoding="utf-8"?>
<p:tagLst xmlns:a="http://schemas.openxmlformats.org/drawingml/2006/main" xmlns:r="http://schemas.openxmlformats.org/officeDocument/2006/relationships" xmlns:p="http://schemas.openxmlformats.org/presentationml/2006/main">
  <p:tag name="EE4P_MAPWIZARD_ID" val="LR"/>
  <p:tag name="EE4P_MAPWIZARD_HEADINGS" val="Admin 1"/>
  <p:tag name="EE4P_MAPWIZARD" val="Larne"/>
</p:tagLst>
</file>

<file path=ppt/tags/tag225.xml><?xml version="1.0" encoding="utf-8"?>
<p:tagLst xmlns:a="http://schemas.openxmlformats.org/drawingml/2006/main" xmlns:r="http://schemas.openxmlformats.org/officeDocument/2006/relationships" xmlns:p="http://schemas.openxmlformats.org/presentationml/2006/main">
  <p:tag name="EE4P_MAPWIZARD_ID" val="CF"/>
  <p:tag name="EE4P_MAPWIZARD_HEADINGS" val="Admin 1"/>
  <p:tag name="EE4P_MAPWIZARD" val="Carrickfergus"/>
</p:tagLst>
</file>

<file path=ppt/tags/tag226.xml><?xml version="1.0" encoding="utf-8"?>
<p:tagLst xmlns:a="http://schemas.openxmlformats.org/drawingml/2006/main" xmlns:r="http://schemas.openxmlformats.org/officeDocument/2006/relationships" xmlns:p="http://schemas.openxmlformats.org/presentationml/2006/main">
  <p:tag name="EE4P_MAPWIZARD_ID" val="NW"/>
  <p:tag name="EE4P_MAPWIZARD_HEADINGS" val="Admin 1"/>
  <p:tag name="EE4P_MAPWIZARD" val="Newtownabbey"/>
</p:tagLst>
</file>

<file path=ppt/tags/tag227.xml><?xml version="1.0" encoding="utf-8"?>
<p:tagLst xmlns:a="http://schemas.openxmlformats.org/drawingml/2006/main" xmlns:r="http://schemas.openxmlformats.org/officeDocument/2006/relationships" xmlns:p="http://schemas.openxmlformats.org/presentationml/2006/main">
  <p:tag name="EE4P_MAPWIZARD_ID" val="ND"/>
  <p:tag name="EE4P_MAPWIZARD_HEADINGS" val="Admin 1"/>
  <p:tag name="EE4P_MAPWIZARD" val="North Down"/>
</p:tagLst>
</file>

<file path=ppt/tags/tag228.xml><?xml version="1.0" encoding="utf-8"?>
<p:tagLst xmlns:a="http://schemas.openxmlformats.org/drawingml/2006/main" xmlns:r="http://schemas.openxmlformats.org/officeDocument/2006/relationships" xmlns:p="http://schemas.openxmlformats.org/presentationml/2006/main">
  <p:tag name="EE4P_MAPWIZARD_ID" val="DW"/>
  <p:tag name="EE4P_MAPWIZARD_HEADINGS" val="Admin 1"/>
  <p:tag name="EE4P_MAPWIZARD" val="Down"/>
</p:tagLst>
</file>

<file path=ppt/tags/tag229.xml><?xml version="1.0" encoding="utf-8"?>
<p:tagLst xmlns:a="http://schemas.openxmlformats.org/drawingml/2006/main" xmlns:r="http://schemas.openxmlformats.org/officeDocument/2006/relationships" xmlns:p="http://schemas.openxmlformats.org/presentationml/2006/main">
  <p:tag name="EE4P_MAPWIZARD_ID" val="CL"/>
  <p:tag name="EE4P_MAPWIZARD_HEADINGS" val="Admin 1"/>
  <p:tag name="EE4P_MAPWIZARD" val="Coleraine"/>
</p:tagLst>
</file>

<file path=ppt/tags/tag23.xml><?xml version="1.0" encoding="utf-8"?>
<p:tagLst xmlns:a="http://schemas.openxmlformats.org/drawingml/2006/main" xmlns:r="http://schemas.openxmlformats.org/officeDocument/2006/relationships" xmlns:p="http://schemas.openxmlformats.org/presentationml/2006/main">
  <p:tag name="EE4P_MAPWIZARD_ID" val="EL"/>
  <p:tag name="EE4P_MAPWIZARD_HEADINGS" val="Admin 1"/>
  <p:tag name="EE4P_MAPWIZARD" val="East Lothian"/>
</p:tagLst>
</file>

<file path=ppt/tags/tag230.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1"/>
  <p:tag name="EE4P_MAPWIZARD" val="Ballymoney"/>
</p:tagLst>
</file>

<file path=ppt/tags/tag231.xml><?xml version="1.0" encoding="utf-8"?>
<p:tagLst xmlns:a="http://schemas.openxmlformats.org/drawingml/2006/main" xmlns:r="http://schemas.openxmlformats.org/officeDocument/2006/relationships" xmlns:p="http://schemas.openxmlformats.org/presentationml/2006/main">
  <p:tag name="EE4P_MAPWIZARD_ID" val="LM"/>
  <p:tag name="EE4P_MAPWIZARD_HEADINGS" val="Admin 1"/>
  <p:tag name="EE4P_MAPWIZARD" val="Limavady"/>
</p:tagLst>
</file>

<file path=ppt/tags/tag232.xml><?xml version="1.0" encoding="utf-8"?>
<p:tagLst xmlns:a="http://schemas.openxmlformats.org/drawingml/2006/main" xmlns:r="http://schemas.openxmlformats.org/officeDocument/2006/relationships" xmlns:p="http://schemas.openxmlformats.org/presentationml/2006/main">
  <p:tag name="EE4P_MAPWIZARD_ID" val="CS"/>
  <p:tag name="EE4P_MAPWIZARD_HEADINGS" val="Admin 1"/>
  <p:tag name="EE4P_MAPWIZARD" val="Castlereagh"/>
</p:tagLst>
</file>

<file path=ppt/tags/tag233.xml><?xml version="1.0" encoding="utf-8"?>
<p:tagLst xmlns:a="http://schemas.openxmlformats.org/drawingml/2006/main" xmlns:r="http://schemas.openxmlformats.org/officeDocument/2006/relationships" xmlns:p="http://schemas.openxmlformats.org/presentationml/2006/main">
  <p:tag name="EE4P_MAPWIZARD_ID" val="SB"/>
  <p:tag name="EE4P_MAPWIZARD_HEADINGS" val="Admin 1"/>
  <p:tag name="EE4P_MAPWIZARD" val="Strabane"/>
</p:tagLst>
</file>

<file path=ppt/tags/tag234.xml><?xml version="1.0" encoding="utf-8"?>
<p:tagLst xmlns:a="http://schemas.openxmlformats.org/drawingml/2006/main" xmlns:r="http://schemas.openxmlformats.org/officeDocument/2006/relationships" xmlns:p="http://schemas.openxmlformats.org/presentationml/2006/main">
  <p:tag name="EE4P_MAPWIZARD_ID" val="FE"/>
  <p:tag name="EE4P_MAPWIZARD_HEADINGS" val="Admin 1"/>
  <p:tag name="EE4P_MAPWIZARD" val="Fermanagh"/>
</p:tagLst>
</file>

<file path=ppt/tags/tag235.xml><?xml version="1.0" encoding="utf-8"?>
<p:tagLst xmlns:a="http://schemas.openxmlformats.org/drawingml/2006/main" xmlns:r="http://schemas.openxmlformats.org/officeDocument/2006/relationships" xmlns:p="http://schemas.openxmlformats.org/presentationml/2006/main">
  <p:tag name="EE4P_MAPWIZARD_ID" val="ND"/>
  <p:tag name="EE4P_MAPWIZARD_HEADINGS" val="Admin 1"/>
  <p:tag name="EE4P_MAPWIZARD" val="Ards"/>
</p:tagLst>
</file>

<file path=ppt/tags/tag236.xml><?xml version="1.0" encoding="utf-8"?>
<p:tagLst xmlns:a="http://schemas.openxmlformats.org/drawingml/2006/main" xmlns:r="http://schemas.openxmlformats.org/officeDocument/2006/relationships" xmlns:p="http://schemas.openxmlformats.org/presentationml/2006/main">
  <p:tag name="EE4P_MAPWIZARD_ID" val="MY"/>
  <p:tag name="EE4P_MAPWIZARD_HEADINGS" val="Admin 1"/>
  <p:tag name="EE4P_MAPWIZARD" val="Moyle"/>
</p:tagLst>
</file>

<file path=ppt/tags/tag237.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238.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239.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24.xml><?xml version="1.0" encoding="utf-8"?>
<p:tagLst xmlns:a="http://schemas.openxmlformats.org/drawingml/2006/main" xmlns:r="http://schemas.openxmlformats.org/officeDocument/2006/relationships" xmlns:p="http://schemas.openxmlformats.org/presentationml/2006/main">
  <p:tag name="EE4P_MAPWIZARD_ID" val="EB"/>
  <p:tag name="EE4P_MAPWIZARD_HEADINGS" val="Admin 1"/>
  <p:tag name="EE4P_MAPWIZARD" val="Edinburgh"/>
</p:tagLst>
</file>

<file path=ppt/tags/tag240.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241.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242.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243.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244.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245.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246.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247.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248.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249.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25.xml><?xml version="1.0" encoding="utf-8"?>
<p:tagLst xmlns:a="http://schemas.openxmlformats.org/drawingml/2006/main" xmlns:r="http://schemas.openxmlformats.org/officeDocument/2006/relationships" xmlns:p="http://schemas.openxmlformats.org/presentationml/2006/main">
  <p:tag name="EE4P_MAPWIZARD_ID" val="ML"/>
  <p:tag name="EE4P_MAPWIZARD_HEADINGS" val="Admin 1"/>
  <p:tag name="EE4P_MAPWIZARD" val="Midlothian"/>
</p:tagLst>
</file>

<file path=ppt/tags/tag250.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251.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252.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253.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254.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255.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256.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257.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258.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259.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26.xml><?xml version="1.0" encoding="utf-8"?>
<p:tagLst xmlns:a="http://schemas.openxmlformats.org/drawingml/2006/main" xmlns:r="http://schemas.openxmlformats.org/officeDocument/2006/relationships" xmlns:p="http://schemas.openxmlformats.org/presentationml/2006/main">
  <p:tag name="EE4P_MAPWIZARD_ID" val="WH"/>
  <p:tag name="EE4P_MAPWIZARD_HEADINGS" val="Admin 1"/>
  <p:tag name="EE4P_MAPWIZARD" val="West Lothian"/>
</p:tagLst>
</file>

<file path=ppt/tags/tag260.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261.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262.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263.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264.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265.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266.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267.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268.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269.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27.xml><?xml version="1.0" encoding="utf-8"?>
<p:tagLst xmlns:a="http://schemas.openxmlformats.org/drawingml/2006/main" xmlns:r="http://schemas.openxmlformats.org/officeDocument/2006/relationships" xmlns:p="http://schemas.openxmlformats.org/presentationml/2006/main">
  <p:tag name="EE4P_MAPWIZARD_ID" val="BO"/>
  <p:tag name="EE4P_MAPWIZARD_HEADINGS" val="Admin 1"/>
  <p:tag name="EE4P_MAPWIZARD" val="Scottish Borders"/>
</p:tagLst>
</file>

<file path=ppt/tags/tag270.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271.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272.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273.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274.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275.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276.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277.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
  <p:tag name="EE4P_MAPWIZARD" val="Ukraine"/>
</p:tagLst>
</file>

<file path=ppt/tags/tag278.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MAPWIZARD_ID" val="DA"/>
  <p:tag name="EE4P_MAPWIZARD_HEADINGS" val="Admin 1"/>
  <p:tag name="EE4P_MAPWIZARD" val="Darlington"/>
</p:tagLst>
</file>

<file path=ppt/tags/tag29.xml><?xml version="1.0" encoding="utf-8"?>
<p:tagLst xmlns:a="http://schemas.openxmlformats.org/drawingml/2006/main" xmlns:r="http://schemas.openxmlformats.org/officeDocument/2006/relationships" xmlns:p="http://schemas.openxmlformats.org/presentationml/2006/main">
  <p:tag name="EE4P_MAPWIZARD_ID" val="DH"/>
  <p:tag name="EE4P_MAPWIZARD_HEADINGS" val="Admin 1"/>
  <p:tag name="EE4P_MAPWIZARD" val="Durham"/>
</p:tagLst>
</file>

<file path=ppt/tags/tag3.xml><?xml version="1.0" encoding="utf-8"?>
<p:tagLst xmlns:a="http://schemas.openxmlformats.org/drawingml/2006/main" xmlns:r="http://schemas.openxmlformats.org/officeDocument/2006/relationships" xmlns:p="http://schemas.openxmlformats.org/presentationml/2006/main">
  <p:tag name="EE4P_MAPWIZARD_ID" val="ED"/>
  <p:tag name="EE4P_MAPWIZARD_HEADINGS" val="Admin 1"/>
  <p:tag name="EE4P_MAPWIZARD" val="East Dunbartonshire"/>
</p:tagLst>
</file>

<file path=ppt/tags/tag30.xml><?xml version="1.0" encoding="utf-8"?>
<p:tagLst xmlns:a="http://schemas.openxmlformats.org/drawingml/2006/main" xmlns:r="http://schemas.openxmlformats.org/officeDocument/2006/relationships" xmlns:p="http://schemas.openxmlformats.org/presentationml/2006/main">
  <p:tag name="EE4P_MAPWIZARD_ID" val="HP"/>
  <p:tag name="EE4P_MAPWIZARD_HEADINGS" val="Admin 1"/>
  <p:tag name="EE4P_MAPWIZARD" val="Hartlepool"/>
</p:tagLst>
</file>

<file path=ppt/tags/tag31.xml><?xml version="1.0" encoding="utf-8"?>
<p:tagLst xmlns:a="http://schemas.openxmlformats.org/drawingml/2006/main" xmlns:r="http://schemas.openxmlformats.org/officeDocument/2006/relationships" xmlns:p="http://schemas.openxmlformats.org/presentationml/2006/main">
  <p:tag name="EE4P_MAPWIZARD_ID" val="MB"/>
  <p:tag name="EE4P_MAPWIZARD_HEADINGS" val="Admin 1"/>
  <p:tag name="EE4P_MAPWIZARD" val="Middlesbrough"/>
</p:tagLst>
</file>

<file path=ppt/tags/tag32.xml><?xml version="1.0" encoding="utf-8"?>
<p:tagLst xmlns:a="http://schemas.openxmlformats.org/drawingml/2006/main" xmlns:r="http://schemas.openxmlformats.org/officeDocument/2006/relationships" xmlns:p="http://schemas.openxmlformats.org/presentationml/2006/main">
  <p:tag name="EE4P_MAPWIZARD_ID" val="RC"/>
  <p:tag name="EE4P_MAPWIZARD_HEADINGS" val="Admin 1"/>
  <p:tag name="EE4P_MAPWIZARD" val="Redcar and Cleveland"/>
</p:tagLst>
</file>

<file path=ppt/tags/tag33.xml><?xml version="1.0" encoding="utf-8"?>
<p:tagLst xmlns:a="http://schemas.openxmlformats.org/drawingml/2006/main" xmlns:r="http://schemas.openxmlformats.org/officeDocument/2006/relationships" xmlns:p="http://schemas.openxmlformats.org/presentationml/2006/main">
  <p:tag name="EE4P_MAPWIZARD_ID" val="ZT"/>
  <p:tag name="EE4P_MAPWIZARD_HEADINGS" val="Admin 1"/>
  <p:tag name="EE4P_MAPWIZARD" val="Stockton-on-Tees"/>
</p:tagLst>
</file>

<file path=ppt/tags/tag34.xml><?xml version="1.0" encoding="utf-8"?>
<p:tagLst xmlns:a="http://schemas.openxmlformats.org/drawingml/2006/main" xmlns:r="http://schemas.openxmlformats.org/officeDocument/2006/relationships" xmlns:p="http://schemas.openxmlformats.org/presentationml/2006/main">
  <p:tag name="EE4P_MAPWIZARD_ID" val="NB"/>
  <p:tag name="EE4P_MAPWIZARD_HEADINGS" val="Admin 1"/>
  <p:tag name="EE4P_MAPWIZARD" val="Northumberland"/>
</p:tagLst>
</file>

<file path=ppt/tags/tag35.xml><?xml version="1.0" encoding="utf-8"?>
<p:tagLst xmlns:a="http://schemas.openxmlformats.org/drawingml/2006/main" xmlns:r="http://schemas.openxmlformats.org/officeDocument/2006/relationships" xmlns:p="http://schemas.openxmlformats.org/presentationml/2006/main">
  <p:tag name="EE4P_MAPWIZARD_ID" val="HA"/>
  <p:tag name="EE4P_MAPWIZARD_HEADINGS" val="Admin 1"/>
  <p:tag name="EE4P_MAPWIZARD" val="Hampshire"/>
</p:tagLst>
</file>

<file path=ppt/tags/tag36.xml><?xml version="1.0" encoding="utf-8"?>
<p:tagLst xmlns:a="http://schemas.openxmlformats.org/drawingml/2006/main" xmlns:r="http://schemas.openxmlformats.org/officeDocument/2006/relationships" xmlns:p="http://schemas.openxmlformats.org/presentationml/2006/main">
  <p:tag name="EE4P_MAPWIZARD_ID" val="ZH"/>
  <p:tag name="EE4P_MAPWIZARD_HEADINGS" val="Admin 1"/>
  <p:tag name="EE4P_MAPWIZARD" val="Southampton"/>
</p:tagLst>
</file>

<file path=ppt/tags/tag37.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1"/>
  <p:tag name="EE4P_MAPWIZARD" val="Milton Keynes"/>
</p:tagLst>
</file>

<file path=ppt/tags/tag38.xml><?xml version="1.0" encoding="utf-8"?>
<p:tagLst xmlns:a="http://schemas.openxmlformats.org/drawingml/2006/main" xmlns:r="http://schemas.openxmlformats.org/officeDocument/2006/relationships" xmlns:p="http://schemas.openxmlformats.org/presentationml/2006/main">
  <p:tag name="EE4P_MAPWIZARD_ID" val="GC"/>
  <p:tag name="EE4P_MAPWIZARD_HEADINGS" val="Admin 1"/>
  <p:tag name="EE4P_MAPWIZARD" val="Gloucestershire"/>
</p:tagLst>
</file>

<file path=ppt/tags/tag39.xml><?xml version="1.0" encoding="utf-8"?>
<p:tagLst xmlns:a="http://schemas.openxmlformats.org/drawingml/2006/main" xmlns:r="http://schemas.openxmlformats.org/officeDocument/2006/relationships" xmlns:p="http://schemas.openxmlformats.org/presentationml/2006/main">
  <p:tag name="EE4P_MAPWIZARD_ID" val="BU"/>
  <p:tag name="EE4P_MAPWIZARD_HEADINGS" val="Admin 1"/>
  <p:tag name="EE4P_MAPWIZARD" val="Buckinghamshire"/>
</p:tagLst>
</file>

<file path=ppt/tags/tag4.xml><?xml version="1.0" encoding="utf-8"?>
<p:tagLst xmlns:a="http://schemas.openxmlformats.org/drawingml/2006/main" xmlns:r="http://schemas.openxmlformats.org/officeDocument/2006/relationships" xmlns:p="http://schemas.openxmlformats.org/presentationml/2006/main">
  <p:tag name="EE4P_MAPWIZARD_ID" val="ER"/>
  <p:tag name="EE4P_MAPWIZARD_HEADINGS" val="Admin 1"/>
  <p:tag name="EE4P_MAPWIZARD" val="East Renfrewshire"/>
</p:tagLst>
</file>

<file path=ppt/tags/tag40.xml><?xml version="1.0" encoding="utf-8"?>
<p:tagLst xmlns:a="http://schemas.openxmlformats.org/drawingml/2006/main" xmlns:r="http://schemas.openxmlformats.org/officeDocument/2006/relationships" xmlns:p="http://schemas.openxmlformats.org/presentationml/2006/main">
  <p:tag name="EE4P_MAPWIZARD_ID" val="HT"/>
  <p:tag name="EE4P_MAPWIZARD_HEADINGS" val="Admin 1"/>
  <p:tag name="EE4P_MAPWIZARD" val="Hertfordshire"/>
</p:tagLst>
</file>

<file path=ppt/tags/tag41.xml><?xml version="1.0" encoding="utf-8"?>
<p:tagLst xmlns:a="http://schemas.openxmlformats.org/drawingml/2006/main" xmlns:r="http://schemas.openxmlformats.org/officeDocument/2006/relationships" xmlns:p="http://schemas.openxmlformats.org/presentationml/2006/main">
  <p:tag name="EE4P_MAPWIZARD_ID" val="BN"/>
  <p:tag name="EE4P_MAPWIZARD_HEADINGS" val="Admin 1"/>
  <p:tag name="EE4P_MAPWIZARD" val="Bath and North East Somerset"/>
</p:tagLst>
</file>

<file path=ppt/tags/tag42.xml><?xml version="1.0" encoding="utf-8"?>
<p:tagLst xmlns:a="http://schemas.openxmlformats.org/drawingml/2006/main" xmlns:r="http://schemas.openxmlformats.org/officeDocument/2006/relationships" xmlns:p="http://schemas.openxmlformats.org/presentationml/2006/main">
  <p:tag name="EE4P_MAPWIZARD_ID" val="BS"/>
  <p:tag name="EE4P_MAPWIZARD_HEADINGS" val="Admin 1"/>
  <p:tag name="EE4P_MAPWIZARD" val="Bristol"/>
</p:tagLst>
</file>

<file path=ppt/tags/tag43.xml><?xml version="1.0" encoding="utf-8"?>
<p:tagLst xmlns:a="http://schemas.openxmlformats.org/drawingml/2006/main" xmlns:r="http://schemas.openxmlformats.org/officeDocument/2006/relationships" xmlns:p="http://schemas.openxmlformats.org/presentationml/2006/main">
  <p:tag name="EE4P_MAPWIZARD_ID" val="NS"/>
  <p:tag name="EE4P_MAPWIZARD_HEADINGS" val="Admin 1"/>
  <p:tag name="EE4P_MAPWIZARD" val="North Somerset"/>
</p:tagLst>
</file>

<file path=ppt/tags/tag44.xml><?xml version="1.0" encoding="utf-8"?>
<p:tagLst xmlns:a="http://schemas.openxmlformats.org/drawingml/2006/main" xmlns:r="http://schemas.openxmlformats.org/officeDocument/2006/relationships" xmlns:p="http://schemas.openxmlformats.org/presentationml/2006/main">
  <p:tag name="EE4P_MAPWIZARD_ID" val="SJ"/>
  <p:tag name="EE4P_MAPWIZARD_HEADINGS" val="Admin 1"/>
  <p:tag name="EE4P_MAPWIZARD" val="South Gloucestershire"/>
</p:tagLst>
</file>

<file path=ppt/tags/tag45.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1"/>
  <p:tag name="EE4P_MAPWIZARD" val="Somerset"/>
</p:tagLst>
</file>

<file path=ppt/tags/tag46.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1"/>
  <p:tag name="EE4P_MAPWIZARD" val="Devon"/>
</p:tagLst>
</file>

<file path=ppt/tags/tag47.xml><?xml version="1.0" encoding="utf-8"?>
<p:tagLst xmlns:a="http://schemas.openxmlformats.org/drawingml/2006/main" xmlns:r="http://schemas.openxmlformats.org/officeDocument/2006/relationships" xmlns:p="http://schemas.openxmlformats.org/presentationml/2006/main">
  <p:tag name="EE4P_MAPWIZARD_ID" val="BM"/>
  <p:tag name="EE4P_MAPWIZARD_HEADINGS" val="Admin 1"/>
  <p:tag name="EE4P_MAPWIZARD" val="Bournemouth"/>
</p:tagLst>
</file>

<file path=ppt/tags/tag48.xml><?xml version="1.0" encoding="utf-8"?>
<p:tagLst xmlns:a="http://schemas.openxmlformats.org/drawingml/2006/main" xmlns:r="http://schemas.openxmlformats.org/officeDocument/2006/relationships" xmlns:p="http://schemas.openxmlformats.org/presentationml/2006/main">
  <p:tag name="EE4P_MAPWIZARD_ID" val="DS"/>
  <p:tag name="EE4P_MAPWIZARD_HEADINGS" val="Admin 1"/>
  <p:tag name="EE4P_MAPWIZARD" val="Dorset"/>
</p:tagLst>
</file>

<file path=ppt/tags/tag49.xml><?xml version="1.0" encoding="utf-8"?>
<p:tagLst xmlns:a="http://schemas.openxmlformats.org/drawingml/2006/main" xmlns:r="http://schemas.openxmlformats.org/officeDocument/2006/relationships" xmlns:p="http://schemas.openxmlformats.org/presentationml/2006/main">
  <p:tag name="EE4P_MAPWIZARD_ID" val="BM"/>
  <p:tag name="EE4P_MAPWIZARD_HEADINGS" val="Admin 1"/>
  <p:tag name="EE4P_MAPWIZARD" val="Poole"/>
</p:tagLst>
</file>

<file path=ppt/tags/tag5.xml><?xml version="1.0" encoding="utf-8"?>
<p:tagLst xmlns:a="http://schemas.openxmlformats.org/drawingml/2006/main" xmlns:r="http://schemas.openxmlformats.org/officeDocument/2006/relationships" xmlns:p="http://schemas.openxmlformats.org/presentationml/2006/main">
  <p:tag name="EE4P_MAPWIZARD_ID" val="GG"/>
  <p:tag name="EE4P_MAPWIZARD_HEADINGS" val="Admin 1"/>
  <p:tag name="EE4P_MAPWIZARD" val="Glasgow"/>
</p:tagLst>
</file>

<file path=ppt/tags/tag50.xml><?xml version="1.0" encoding="utf-8"?>
<p:tagLst xmlns:a="http://schemas.openxmlformats.org/drawingml/2006/main" xmlns:r="http://schemas.openxmlformats.org/officeDocument/2006/relationships" xmlns:p="http://schemas.openxmlformats.org/presentationml/2006/main">
  <p:tag name="EE4P_MAPWIZARD_ID" val="CM"/>
  <p:tag name="EE4P_MAPWIZARD_HEADINGS" val="Admin 1"/>
  <p:tag name="EE4P_MAPWIZARD" val="Cambridgeshire"/>
</p:tagLst>
</file>

<file path=ppt/tags/tag51.xml><?xml version="1.0" encoding="utf-8"?>
<p:tagLst xmlns:a="http://schemas.openxmlformats.org/drawingml/2006/main" xmlns:r="http://schemas.openxmlformats.org/officeDocument/2006/relationships" xmlns:p="http://schemas.openxmlformats.org/presentationml/2006/main">
  <p:tag name="EE4P_MAPWIZARD_ID" val="1"/>
  <p:tag name="EE4P_MAPWIZARD_HEADINGS" val="Admin 1"/>
  <p:tag name="EE4P_MAPWIZARD" val="Leicestershire"/>
</p:tagLst>
</file>

<file path=ppt/tags/tag52.xml><?xml version="1.0" encoding="utf-8"?>
<p:tagLst xmlns:a="http://schemas.openxmlformats.org/drawingml/2006/main" xmlns:r="http://schemas.openxmlformats.org/officeDocument/2006/relationships" xmlns:p="http://schemas.openxmlformats.org/presentationml/2006/main">
  <p:tag name="EE4P_MAPWIZARD_ID" val="KH"/>
  <p:tag name="EE4P_MAPWIZARD_HEADINGS" val="Admin 1"/>
  <p:tag name="EE4P_MAPWIZARD" val="Kingston upon Hull"/>
</p:tagLst>
</file>

<file path=ppt/tags/tag53.xml><?xml version="1.0" encoding="utf-8"?>
<p:tagLst xmlns:a="http://schemas.openxmlformats.org/drawingml/2006/main" xmlns:r="http://schemas.openxmlformats.org/officeDocument/2006/relationships" xmlns:p="http://schemas.openxmlformats.org/presentationml/2006/main">
  <p:tag name="EE4P_MAPWIZARD_ID" val="NE"/>
  <p:tag name="EE4P_MAPWIZARD_HEADINGS" val="Admin 1"/>
  <p:tag name="EE4P_MAPWIZARD" val="North East Lincolnshire"/>
</p:tagLst>
</file>

<file path=ppt/tags/tag54.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1"/>
  <p:tag name="EE4P_MAPWIZARD" val="North Lincolnshire"/>
</p:tagLst>
</file>

<file path=ppt/tags/tag55.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1"/>
  <p:tag name="EE4P_MAPWIZARD" val="Derby"/>
</p:tagLst>
</file>

<file path=ppt/tags/tag56.xml><?xml version="1.0" encoding="utf-8"?>
<p:tagLst xmlns:a="http://schemas.openxmlformats.org/drawingml/2006/main" xmlns:r="http://schemas.openxmlformats.org/officeDocument/2006/relationships" xmlns:p="http://schemas.openxmlformats.org/presentationml/2006/main">
  <p:tag name="EE4P_MAPWIZARD_ID" val="DB"/>
  <p:tag name="EE4P_MAPWIZARD_HEADINGS" val="Admin 1"/>
  <p:tag name="EE4P_MAPWIZARD" val="Derbyshire"/>
</p:tagLst>
</file>

<file path=ppt/tags/tag57.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1"/>
  <p:tag name="EE4P_MAPWIZARD" val="Barking and Dagenham"/>
</p:tagLst>
</file>

<file path=ppt/tags/tag58.xml><?xml version="1.0" encoding="utf-8"?>
<p:tagLst xmlns:a="http://schemas.openxmlformats.org/drawingml/2006/main" xmlns:r="http://schemas.openxmlformats.org/officeDocument/2006/relationships" xmlns:p="http://schemas.openxmlformats.org/presentationml/2006/main">
  <p:tag name="EE4P_MAPWIZARD_ID" val="XB"/>
  <p:tag name="EE4P_MAPWIZARD_HEADINGS" val="Admin 1"/>
  <p:tag name="EE4P_MAPWIZARD" val="Bexley"/>
</p:tagLst>
</file>

<file path=ppt/tags/tag59.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1"/>
  <p:tag name="EE4P_MAPWIZARD" val="Brent"/>
</p:tagLst>
</file>

<file path=ppt/tags/tag6.xml><?xml version="1.0" encoding="utf-8"?>
<p:tagLst xmlns:a="http://schemas.openxmlformats.org/drawingml/2006/main" xmlns:r="http://schemas.openxmlformats.org/officeDocument/2006/relationships" xmlns:p="http://schemas.openxmlformats.org/presentationml/2006/main">
  <p:tag name="EE4P_MAPWIZARD_ID" val="IC"/>
  <p:tag name="EE4P_MAPWIZARD_HEADINGS" val="Admin 1"/>
  <p:tag name="EE4P_MAPWIZARD" val="Inverclyde"/>
</p:tagLst>
</file>

<file path=ppt/tags/tag60.xml><?xml version="1.0" encoding="utf-8"?>
<p:tagLst xmlns:a="http://schemas.openxmlformats.org/drawingml/2006/main" xmlns:r="http://schemas.openxmlformats.org/officeDocument/2006/relationships" xmlns:p="http://schemas.openxmlformats.org/presentationml/2006/main">
  <p:tag name="EE4P_MAPWIZARD_ID" val="BZ"/>
  <p:tag name="EE4P_MAPWIZARD_HEADINGS" val="Admin 1"/>
  <p:tag name="EE4P_MAPWIZARD" val="Bromley"/>
</p:tagLst>
</file>

<file path=ppt/tags/tag61.xml><?xml version="1.0" encoding="utf-8"?>
<p:tagLst xmlns:a="http://schemas.openxmlformats.org/drawingml/2006/main" xmlns:r="http://schemas.openxmlformats.org/officeDocument/2006/relationships" xmlns:p="http://schemas.openxmlformats.org/presentationml/2006/main">
  <p:tag name="EE4P_MAPWIZARD_ID" val="CN"/>
  <p:tag name="EE4P_MAPWIZARD_HEADINGS" val="Admin 1"/>
  <p:tag name="EE4P_MAPWIZARD" val="Camden"/>
</p:tagLst>
</file>

<file path=ppt/tags/tag62.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1"/>
  <p:tag name="EE4P_MAPWIZARD" val="Croydon"/>
</p:tagLst>
</file>

<file path=ppt/tags/tag63.xml><?xml version="1.0" encoding="utf-8"?>
<p:tagLst xmlns:a="http://schemas.openxmlformats.org/drawingml/2006/main" xmlns:r="http://schemas.openxmlformats.org/officeDocument/2006/relationships" xmlns:p="http://schemas.openxmlformats.org/presentationml/2006/main">
  <p:tag name="EE4P_MAPWIZARD_ID" val="EG"/>
  <p:tag name="EE4P_MAPWIZARD_HEADINGS" val="Admin 1"/>
  <p:tag name="EE4P_MAPWIZARD" val="Ealing"/>
</p:tagLst>
</file>

<file path=ppt/tags/tag64.xml><?xml version="1.0" encoding="utf-8"?>
<p:tagLst xmlns:a="http://schemas.openxmlformats.org/drawingml/2006/main" xmlns:r="http://schemas.openxmlformats.org/officeDocument/2006/relationships" xmlns:p="http://schemas.openxmlformats.org/presentationml/2006/main">
  <p:tag name="EE4P_MAPWIZARD_ID" val="EF"/>
  <p:tag name="EE4P_MAPWIZARD_HEADINGS" val="Admin 1"/>
  <p:tag name="EE4P_MAPWIZARD" val="Enfield"/>
</p:tagLst>
</file>

<file path=ppt/tags/tag65.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1"/>
  <p:tag name="EE4P_MAPWIZARD" val="Greenwich"/>
</p:tagLst>
</file>

<file path=ppt/tags/tag66.xml><?xml version="1.0" encoding="utf-8"?>
<p:tagLst xmlns:a="http://schemas.openxmlformats.org/drawingml/2006/main" xmlns:r="http://schemas.openxmlformats.org/officeDocument/2006/relationships" xmlns:p="http://schemas.openxmlformats.org/presentationml/2006/main">
  <p:tag name="EE4P_MAPWIZARD_ID" val="HF"/>
  <p:tag name="EE4P_MAPWIZARD_HEADINGS" val="Admin 1"/>
  <p:tag name="EE4P_MAPWIZARD" val="Hammersmith and Fulham"/>
</p:tagLst>
</file>

<file path=ppt/tags/tag67.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1"/>
  <p:tag name="EE4P_MAPWIZARD" val="Hounslow"/>
</p:tagLst>
</file>

<file path=ppt/tags/tag68.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1"/>
  <p:tag name="EE4P_MAPWIZARD" val="Islington"/>
</p:tagLst>
</file>

<file path=ppt/tags/tag69.xml><?xml version="1.0" encoding="utf-8"?>
<p:tagLst xmlns:a="http://schemas.openxmlformats.org/drawingml/2006/main" xmlns:r="http://schemas.openxmlformats.org/officeDocument/2006/relationships" xmlns:p="http://schemas.openxmlformats.org/presentationml/2006/main">
  <p:tag name="EE4P_MAPWIZARD_ID" val="KC"/>
  <p:tag name="EE4P_MAPWIZARD_HEADINGS" val="Admin 1"/>
  <p:tag name="EE4P_MAPWIZARD" val="Kensington and Chelsea"/>
</p:tagLst>
</file>

<file path=ppt/tags/tag7.xml><?xml version="1.0" encoding="utf-8"?>
<p:tagLst xmlns:a="http://schemas.openxmlformats.org/drawingml/2006/main" xmlns:r="http://schemas.openxmlformats.org/officeDocument/2006/relationships" xmlns:p="http://schemas.openxmlformats.org/presentationml/2006/main">
  <p:tag name="EE4P_MAPWIZARD_ID" val="ED"/>
  <p:tag name="EE4P_MAPWIZARD_HEADINGS" val="Admin 1"/>
  <p:tag name="EE4P_MAPWIZARD" val="North Ayshire"/>
</p:tagLst>
</file>

<file path=ppt/tags/tag70.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1"/>
  <p:tag name="EE4P_MAPWIZARD" val="Merton"/>
</p:tagLst>
</file>

<file path=ppt/tags/tag71.xml><?xml version="1.0" encoding="utf-8"?>
<p:tagLst xmlns:a="http://schemas.openxmlformats.org/drawingml/2006/main" xmlns:r="http://schemas.openxmlformats.org/officeDocument/2006/relationships" xmlns:p="http://schemas.openxmlformats.org/presentationml/2006/main">
  <p:tag name="EE4P_MAPWIZARD_ID" val="RB"/>
  <p:tag name="EE4P_MAPWIZARD_HEADINGS" val="Admin 1"/>
  <p:tag name="EE4P_MAPWIZARD" val="Redbridge"/>
</p:tagLst>
</file>

<file path=ppt/tags/tag72.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1"/>
  <p:tag name="EE4P_MAPWIZARD" val="Richmond upon Thames"/>
</p:tagLst>
</file>

<file path=ppt/tags/tag73.xml><?xml version="1.0" encoding="utf-8"?>
<p:tagLst xmlns:a="http://schemas.openxmlformats.org/drawingml/2006/main" xmlns:r="http://schemas.openxmlformats.org/officeDocument/2006/relationships" xmlns:p="http://schemas.openxmlformats.org/presentationml/2006/main">
  <p:tag name="EE4P_MAPWIZARD_ID" val="SU"/>
  <p:tag name="EE4P_MAPWIZARD_HEADINGS" val="Admin 1"/>
  <p:tag name="EE4P_MAPWIZARD" val="Sutton"/>
</p:tagLst>
</file>

<file path=ppt/tags/tag74.xml><?xml version="1.0" encoding="utf-8"?>
<p:tagLst xmlns:a="http://schemas.openxmlformats.org/drawingml/2006/main" xmlns:r="http://schemas.openxmlformats.org/officeDocument/2006/relationships" xmlns:p="http://schemas.openxmlformats.org/presentationml/2006/main">
  <p:tag name="EE4P_MAPWIZARD_ID" val="TH"/>
  <p:tag name="EE4P_MAPWIZARD_HEADINGS" val="Admin 1"/>
  <p:tag name="EE4P_MAPWIZARD" val="Tower Hamlets"/>
</p:tagLst>
</file>

<file path=ppt/tags/tag75.xml><?xml version="1.0" encoding="utf-8"?>
<p:tagLst xmlns:a="http://schemas.openxmlformats.org/drawingml/2006/main" xmlns:r="http://schemas.openxmlformats.org/officeDocument/2006/relationships" xmlns:p="http://schemas.openxmlformats.org/presentationml/2006/main">
  <p:tag name="EE4P_MAPWIZARD_ID" val="WF"/>
  <p:tag name="EE4P_MAPWIZARD_HEADINGS" val="Admin 1"/>
  <p:tag name="EE4P_MAPWIZARD" val="Waltham Forest"/>
</p:tagLst>
</file>

<file path=ppt/tags/tag76.xml><?xml version="1.0" encoding="utf-8"?>
<p:tagLst xmlns:a="http://schemas.openxmlformats.org/drawingml/2006/main" xmlns:r="http://schemas.openxmlformats.org/officeDocument/2006/relationships" xmlns:p="http://schemas.openxmlformats.org/presentationml/2006/main">
  <p:tag name="EE4P_MAPWIZARD_ID" val="WW"/>
  <p:tag name="EE4P_MAPWIZARD_HEADINGS" val="Admin 1"/>
  <p:tag name="EE4P_MAPWIZARD" val="Wandsworth"/>
</p:tagLst>
</file>

<file path=ppt/tags/tag77.xml><?xml version="1.0" encoding="utf-8"?>
<p:tagLst xmlns:a="http://schemas.openxmlformats.org/drawingml/2006/main" xmlns:r="http://schemas.openxmlformats.org/officeDocument/2006/relationships" xmlns:p="http://schemas.openxmlformats.org/presentationml/2006/main">
  <p:tag name="EE4P_MAPWIZARD_ID" val="WE"/>
  <p:tag name="EE4P_MAPWIZARD_HEADINGS" val="Admin 1"/>
  <p:tag name="EE4P_MAPWIZARD" val="Westminster"/>
</p:tagLst>
</file>

<file path=ppt/tags/tag78.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1"/>
  <p:tag name="EE4P_MAPWIZARD" val="Lincolnshire"/>
</p:tagLst>
</file>

<file path=ppt/tags/tag79.xml><?xml version="1.0" encoding="utf-8"?>
<p:tagLst xmlns:a="http://schemas.openxmlformats.org/drawingml/2006/main" xmlns:r="http://schemas.openxmlformats.org/officeDocument/2006/relationships" xmlns:p="http://schemas.openxmlformats.org/presentationml/2006/main">
  <p:tag name="EE4P_MAPWIZARD_ID" val="CI"/>
  <p:tag name="EE4P_MAPWIZARD_HEADINGS" val="Admin 1"/>
  <p:tag name="EE4P_MAPWIZARD" val="Carmarthenshire"/>
</p:tagLst>
</file>

<file path=ppt/tags/tag8.xml><?xml version="1.0" encoding="utf-8"?>
<p:tagLst xmlns:a="http://schemas.openxmlformats.org/drawingml/2006/main" xmlns:r="http://schemas.openxmlformats.org/officeDocument/2006/relationships" xmlns:p="http://schemas.openxmlformats.org/presentationml/2006/main">
  <p:tag name="EE4P_MAPWIZARD_ID" val="NN"/>
  <p:tag name="EE4P_MAPWIZARD_HEADINGS" val="Admin 1"/>
  <p:tag name="EE4P_MAPWIZARD" val="North Lanarkshire"/>
</p:tagLst>
</file>

<file path=ppt/tags/tag80.xml><?xml version="1.0" encoding="utf-8"?>
<p:tagLst xmlns:a="http://schemas.openxmlformats.org/drawingml/2006/main" xmlns:r="http://schemas.openxmlformats.org/officeDocument/2006/relationships" xmlns:p="http://schemas.openxmlformats.org/presentationml/2006/main">
  <p:tag name="EE4P_MAPWIZARD_ID" val="3"/>
  <p:tag name="EE4P_MAPWIZARD_HEADINGS" val="Admin 1"/>
  <p:tag name="EE4P_MAPWIZARD" val="Ceredigion"/>
</p:tagLst>
</file>

<file path=ppt/tags/tag81.xml><?xml version="1.0" encoding="utf-8"?>
<p:tagLst xmlns:a="http://schemas.openxmlformats.org/drawingml/2006/main" xmlns:r="http://schemas.openxmlformats.org/officeDocument/2006/relationships" xmlns:p="http://schemas.openxmlformats.org/presentationml/2006/main">
  <p:tag name="EE4P_MAPWIZARD_ID" val="PE"/>
  <p:tag name="EE4P_MAPWIZARD_HEADINGS" val="Admin 1"/>
  <p:tag name="EE4P_MAPWIZARD" val="Pembrokeshire"/>
</p:tagLst>
</file>

<file path=ppt/tags/tag82.xml><?xml version="1.0" encoding="utf-8"?>
<p:tagLst xmlns:a="http://schemas.openxmlformats.org/drawingml/2006/main" xmlns:r="http://schemas.openxmlformats.org/officeDocument/2006/relationships" xmlns:p="http://schemas.openxmlformats.org/presentationml/2006/main">
  <p:tag name="EE4P_MAPWIZARD_ID" val="HL"/>
  <p:tag name="EE4P_MAPWIZARD_HEADINGS" val="Admin 1"/>
  <p:tag name="EE4P_MAPWIZARD" val="Halton"/>
</p:tagLst>
</file>

<file path=ppt/tags/tag83.xml><?xml version="1.0" encoding="utf-8"?>
<p:tagLst xmlns:a="http://schemas.openxmlformats.org/drawingml/2006/main" xmlns:r="http://schemas.openxmlformats.org/officeDocument/2006/relationships" xmlns:p="http://schemas.openxmlformats.org/presentationml/2006/main">
  <p:tag name="EE4P_MAPWIZARD_ID" val="CO"/>
  <p:tag name="EE4P_MAPWIZARD_HEADINGS" val="Admin 1"/>
  <p:tag name="EE4P_MAPWIZARD" val="Cornwall"/>
</p:tagLst>
</file>

<file path=ppt/tags/tag84.xml><?xml version="1.0" encoding="utf-8"?>
<p:tagLst xmlns:a="http://schemas.openxmlformats.org/drawingml/2006/main" xmlns:r="http://schemas.openxmlformats.org/officeDocument/2006/relationships" xmlns:p="http://schemas.openxmlformats.org/presentationml/2006/main">
  <p:tag name="EE4P_MAPWIZARD_ID" val="PO"/>
  <p:tag name="EE4P_MAPWIZARD_HEADINGS" val="Admin 1"/>
  <p:tag name="EE4P_MAPWIZARD" val="Powys"/>
</p:tagLst>
</file>

<file path=ppt/tags/tag85.xml><?xml version="1.0" encoding="utf-8"?>
<p:tagLst xmlns:a="http://schemas.openxmlformats.org/drawingml/2006/main" xmlns:r="http://schemas.openxmlformats.org/officeDocument/2006/relationships" xmlns:p="http://schemas.openxmlformats.org/presentationml/2006/main">
  <p:tag name="EE4P_MAPWIZARD_ID" val="BJ"/>
  <p:tag name="EE4P_MAPWIZARD_HEADINGS" val="Admin 1"/>
  <p:tag name="EE4P_MAPWIZARD" val="Bridgend"/>
</p:tagLst>
</file>

<file path=ppt/tags/tag86.xml><?xml version="1.0" encoding="utf-8"?>
<p:tagLst xmlns:a="http://schemas.openxmlformats.org/drawingml/2006/main" xmlns:r="http://schemas.openxmlformats.org/officeDocument/2006/relationships" xmlns:p="http://schemas.openxmlformats.org/presentationml/2006/main">
  <p:tag name="EE4P_MAPWIZARD_ID" val="CP"/>
  <p:tag name="EE4P_MAPWIZARD_HEADINGS" val="Admin 1"/>
  <p:tag name="EE4P_MAPWIZARD" val="Caerphilly"/>
</p:tagLst>
</file>

<file path=ppt/tags/tag87.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1"/>
  <p:tag name="EE4P_MAPWIZARD" val="Merthyr Tydfil"/>
</p:tagLst>
</file>

<file path=ppt/tags/tag88.xml><?xml version="1.0" encoding="utf-8"?>
<p:tagLst xmlns:a="http://schemas.openxmlformats.org/drawingml/2006/main" xmlns:r="http://schemas.openxmlformats.org/officeDocument/2006/relationships" xmlns:p="http://schemas.openxmlformats.org/presentationml/2006/main">
  <p:tag name="EE4P_MAPWIZARD_ID" val="RT"/>
  <p:tag name="EE4P_MAPWIZARD_HEADINGS" val="Admin 1"/>
  <p:tag name="EE4P_MAPWIZARD" val="Rhondda, Cynon, Taff"/>
</p:tagLst>
</file>

<file path=ppt/tags/tag89.xml><?xml version="1.0" encoding="utf-8"?>
<p:tagLst xmlns:a="http://schemas.openxmlformats.org/drawingml/2006/main" xmlns:r="http://schemas.openxmlformats.org/officeDocument/2006/relationships" xmlns:p="http://schemas.openxmlformats.org/presentationml/2006/main">
  <p:tag name="EE4P_MAPWIZARD_ID" val="CA"/>
  <p:tag name="EE4P_MAPWIZARD_HEADINGS" val="Admin 1"/>
  <p:tag name="EE4P_MAPWIZARD" val="Cardiff"/>
</p:tagLst>
</file>

<file path=ppt/tags/tag9.xml><?xml version="1.0" encoding="utf-8"?>
<p:tagLst xmlns:a="http://schemas.openxmlformats.org/drawingml/2006/main" xmlns:r="http://schemas.openxmlformats.org/officeDocument/2006/relationships" xmlns:p="http://schemas.openxmlformats.org/presentationml/2006/main">
  <p:tag name="EE4P_MAPWIZARD_ID" val="RF"/>
  <p:tag name="EE4P_MAPWIZARD_HEADINGS" val="Admin 1"/>
  <p:tag name="EE4P_MAPWIZARD" val="Renfrewshire"/>
</p:tagLst>
</file>

<file path=ppt/tags/tag90.xml><?xml version="1.0" encoding="utf-8"?>
<p:tagLst xmlns:a="http://schemas.openxmlformats.org/drawingml/2006/main" xmlns:r="http://schemas.openxmlformats.org/officeDocument/2006/relationships" xmlns:p="http://schemas.openxmlformats.org/presentationml/2006/main">
  <p:tag name="EE4P_MAPWIZARD_ID" val="VG"/>
  <p:tag name="EE4P_MAPWIZARD_HEADINGS" val="Admin 1"/>
  <p:tag name="EE4P_MAPWIZARD" val="Vale of Glamorgan"/>
</p:tagLst>
</file>

<file path=ppt/tags/tag91.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1"/>
  <p:tag name="EE4P_MAPWIZARD" val="Neath Port Talbot"/>
</p:tagLst>
</file>

<file path=ppt/tags/tag92.xml><?xml version="1.0" encoding="utf-8"?>
<p:tagLst xmlns:a="http://schemas.openxmlformats.org/drawingml/2006/main" xmlns:r="http://schemas.openxmlformats.org/officeDocument/2006/relationships" xmlns:p="http://schemas.openxmlformats.org/presentationml/2006/main">
  <p:tag name="EE4P_MAPWIZARD_ID" val="SW"/>
  <p:tag name="EE4P_MAPWIZARD_HEADINGS" val="Admin 1"/>
  <p:tag name="EE4P_MAPWIZARD" val="Swansea"/>
</p:tagLst>
</file>

<file path=ppt/tags/tag93.xml><?xml version="1.0" encoding="utf-8"?>
<p:tagLst xmlns:a="http://schemas.openxmlformats.org/drawingml/2006/main" xmlns:r="http://schemas.openxmlformats.org/officeDocument/2006/relationships" xmlns:p="http://schemas.openxmlformats.org/presentationml/2006/main">
  <p:tag name="EE4P_MAPWIZARD_ID" val="YK"/>
  <p:tag name="EE4P_MAPWIZARD_HEADINGS" val="Admin 1"/>
  <p:tag name="EE4P_MAPWIZARD" val="York"/>
</p:tagLst>
</file>

<file path=ppt/tags/tag94.xml><?xml version="1.0" encoding="utf-8"?>
<p:tagLst xmlns:a="http://schemas.openxmlformats.org/drawingml/2006/main" xmlns:r="http://schemas.openxmlformats.org/officeDocument/2006/relationships" xmlns:p="http://schemas.openxmlformats.org/presentationml/2006/main">
  <p:tag name="EE4P_MAPWIZARD_ID" val="TK"/>
  <p:tag name="EE4P_MAPWIZARD_HEADINGS" val="Admin 1"/>
  <p:tag name="EE4P_MAPWIZARD" val="Telford and Wrekin"/>
</p:tagLst>
</file>

<file path=ppt/tags/tag95.xml><?xml version="1.0" encoding="utf-8"?>
<p:tagLst xmlns:a="http://schemas.openxmlformats.org/drawingml/2006/main" xmlns:r="http://schemas.openxmlformats.org/officeDocument/2006/relationships" xmlns:p="http://schemas.openxmlformats.org/presentationml/2006/main">
  <p:tag name="EE4P_MAPWIZARD_ID" val="BW"/>
  <p:tag name="EE4P_MAPWIZARD_HEADINGS" val="Admin 1"/>
  <p:tag name="EE4P_MAPWIZARD" val="Blackburn with Darwen"/>
</p:tagLst>
</file>

<file path=ppt/tags/tag96.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1"/>
  <p:tag name="EE4P_MAPWIZARD" val="Lancashire"/>
</p:tagLst>
</file>

<file path=ppt/tags/tag97.xml><?xml version="1.0" encoding="utf-8"?>
<p:tagLst xmlns:a="http://schemas.openxmlformats.org/drawingml/2006/main" xmlns:r="http://schemas.openxmlformats.org/officeDocument/2006/relationships" xmlns:p="http://schemas.openxmlformats.org/presentationml/2006/main">
  <p:tag name="EE4P_MAPWIZARD_ID" val="EY"/>
  <p:tag name="EE4P_MAPWIZARD_HEADINGS" val="Admin 1"/>
  <p:tag name="EE4P_MAPWIZARD" val="East Riding of Yorkshire"/>
</p:tagLst>
</file>

<file path=ppt/tags/tag98.xml><?xml version="1.0" encoding="utf-8"?>
<p:tagLst xmlns:a="http://schemas.openxmlformats.org/drawingml/2006/main" xmlns:r="http://schemas.openxmlformats.org/officeDocument/2006/relationships" xmlns:p="http://schemas.openxmlformats.org/presentationml/2006/main">
  <p:tag name="EE4P_MAPWIZARD_ID" val="DI"/>
  <p:tag name="EE4P_MAPWIZARD_HEADINGS" val="Admin 1"/>
  <p:tag name="EE4P_MAPWIZARD" val="Denbighshire"/>
</p:tagLst>
</file>

<file path=ppt/tags/tag99.xml><?xml version="1.0" encoding="utf-8"?>
<p:tagLst xmlns:a="http://schemas.openxmlformats.org/drawingml/2006/main" xmlns:r="http://schemas.openxmlformats.org/officeDocument/2006/relationships" xmlns:p="http://schemas.openxmlformats.org/presentationml/2006/main">
  <p:tag name="EE4P_MAPWIZARD_ID" val="FL"/>
  <p:tag name="EE4P_MAPWIZARD_HEADINGS" val="Admin 1"/>
  <p:tag name="EE4P_MAPWIZARD" val="Flintshire"/>
</p:tagLst>
</file>

<file path=ppt/theme/theme1.xml><?xml version="1.0" encoding="utf-8"?>
<a:theme xmlns:a="http://schemas.openxmlformats.org/drawingml/2006/main" name="11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2.xml><?xml version="1.0" encoding="utf-8"?>
<a:theme xmlns:a="http://schemas.openxmlformats.org/drawingml/2006/main" name="12_Magnus Red 4ENERGY">
  <a:themeElements>
    <a:clrScheme name="MARI PMO">
      <a:dk1>
        <a:srgbClr val="000000"/>
      </a:dk1>
      <a:lt1>
        <a:srgbClr val="FFFFFF"/>
      </a:lt1>
      <a:dk2>
        <a:srgbClr val="5F5F5F"/>
      </a:dk2>
      <a:lt2>
        <a:srgbClr val="BFBFBF"/>
      </a:lt2>
      <a:accent1>
        <a:srgbClr val="AB5905"/>
      </a:accent1>
      <a:accent2>
        <a:srgbClr val="0078AA"/>
      </a:accent2>
      <a:accent3>
        <a:srgbClr val="5F5F5F"/>
      </a:accent3>
      <a:accent4>
        <a:srgbClr val="DC7306"/>
      </a:accent4>
      <a:accent5>
        <a:srgbClr val="E4002B"/>
      </a:accent5>
      <a:accent6>
        <a:srgbClr val="BFBFBF"/>
      </a:accent6>
      <a:hlink>
        <a:srgbClr val="3F3F3F"/>
      </a:hlink>
      <a:folHlink>
        <a:srgbClr val="A5A5A5"/>
      </a:folHlink>
    </a:clrScheme>
    <a:fontScheme name="Benutzerdefiniert 1">
      <a:majorFont>
        <a:latin typeface="Arial"/>
        <a:ea typeface=""/>
        <a:cs typeface=""/>
      </a:majorFont>
      <a:minorFont>
        <a:latin typeface="Arial"/>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74F9AED32E9064198AFAAF4442B07E8" ma:contentTypeVersion="2" ma:contentTypeDescription="Create a new document." ma:contentTypeScope="" ma:versionID="003d8d1d736236901a33a8e6bc0e3faa">
  <xsd:schema xmlns:xsd="http://www.w3.org/2001/XMLSchema" xmlns:xs="http://www.w3.org/2001/XMLSchema" xmlns:p="http://schemas.microsoft.com/office/2006/metadata/properties" xmlns:ns2="c6e91263-247c-4e1c-b26b-9062547a1208" targetNamespace="http://schemas.microsoft.com/office/2006/metadata/properties" ma:root="true" ma:fieldsID="6becdc79d414b3fb207d03dcc586c81a" ns2:_="">
    <xsd:import namespace="c6e91263-247c-4e1c-b26b-9062547a1208"/>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e91263-247c-4e1c-b26b-9062547a120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96C6EC-B670-4B8B-B6A1-D1F3B660B840}">
  <ds:schemaRefs>
    <ds:schemaRef ds:uri="http://purl.org/dc/elements/1.1/"/>
    <ds:schemaRef ds:uri="http://schemas.openxmlformats.org/package/2006/metadata/core-properties"/>
    <ds:schemaRef ds:uri="http://purl.org/dc/dcmitype/"/>
    <ds:schemaRef ds:uri="http://www.w3.org/XML/1998/namespace"/>
    <ds:schemaRef ds:uri="http://schemas.microsoft.com/office/infopath/2007/PartnerControls"/>
    <ds:schemaRef ds:uri="http://schemas.microsoft.com/office/2006/documentManagement/types"/>
    <ds:schemaRef ds:uri="c6e91263-247c-4e1c-b26b-9062547a1208"/>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E470D290-21E3-4C5B-AA28-46F7A54A6366}">
  <ds:schemaRefs>
    <ds:schemaRef ds:uri="http://schemas.microsoft.com/sharepoint/v3/contenttype/forms"/>
  </ds:schemaRefs>
</ds:datastoreItem>
</file>

<file path=customXml/itemProps3.xml><?xml version="1.0" encoding="utf-8"?>
<ds:datastoreItem xmlns:ds="http://schemas.openxmlformats.org/officeDocument/2006/customXml" ds:itemID="{FEAA3B9C-7E81-429A-AB60-ACE54C8D63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6e91263-247c-4e1c-b26b-9062547a12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489738c2-04c6-4350-92ad-ce129e1deca5}" enabled="1" method="Privileged" siteId="{5a599c86-6e50-4562-81a7-1b85777f7db7}" contentBits="0" removed="0"/>
  <clbl:label id="{eb769cfb-dd8b-4bb8-a400-4916379695bd}" enabled="1" method="Privileged" siteId="{d602ad75-52f3-4a9e-930c-683bb9414935}" contentBits="1" removed="0"/>
</clbl:labelList>
</file>

<file path=docProps/app.xml><?xml version="1.0" encoding="utf-8"?>
<Properties xmlns="http://schemas.openxmlformats.org/officeDocument/2006/extended-properties" xmlns:vt="http://schemas.openxmlformats.org/officeDocument/2006/docPropsVTypes">
  <Template/>
  <TotalTime>69</TotalTime>
  <Words>1055</Words>
  <Application>Microsoft Office PowerPoint</Application>
  <PresentationFormat>A4 Paper (210x297 mm)</PresentationFormat>
  <Paragraphs>101</Paragraphs>
  <Slides>9</Slides>
  <Notes>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Arial Unicode MS</vt:lpstr>
      <vt:lpstr>Calibri</vt:lpstr>
      <vt:lpstr>Calibri light</vt:lpstr>
      <vt:lpstr>Wingdings</vt:lpstr>
      <vt:lpstr>11_Magnus Red 4ENERGY</vt:lpstr>
      <vt:lpstr>12_Magnus Red 4ENERGY</vt:lpstr>
      <vt:lpstr>think-cell Folie</vt:lpstr>
      <vt:lpstr>PowerPoint Presentation</vt:lpstr>
      <vt:lpstr>Introduction</vt:lpstr>
      <vt:lpstr>Recent developments and updates</vt:lpstr>
      <vt:lpstr>Recent developments and updates</vt:lpstr>
      <vt:lpstr>Recent developments and updates</vt:lpstr>
      <vt:lpstr>Recent developments and updates</vt:lpstr>
      <vt:lpstr>Recent developments and updates</vt:lpstr>
      <vt:lpstr>PICASSO Price incident</vt:lpstr>
      <vt:lpstr>PICASSO Price incid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toph Hindersmann</dc:creator>
  <cp:lastModifiedBy>Pflanzer Václav</cp:lastModifiedBy>
  <cp:revision>391</cp:revision>
  <dcterms:created xsi:type="dcterms:W3CDTF">2018-12-04T09:56:18Z</dcterms:created>
  <dcterms:modified xsi:type="dcterms:W3CDTF">2025-11-26T21:2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4F9AED32E9064198AFAAF4442B07E8</vt:lpwstr>
  </property>
  <property fmtid="{D5CDD505-2E9C-101B-9397-08002B2CF9AE}" pid="3" name="MediaServiceImageTags">
    <vt:lpwstr/>
  </property>
  <property fmtid="{D5CDD505-2E9C-101B-9397-08002B2CF9AE}" pid="4" name="ClassificationContentMarkingHeaderLocations">
    <vt:lpwstr>11_Magnus Red 4ENERGY:6\12_Magnus Red 4ENERGY:8</vt:lpwstr>
  </property>
  <property fmtid="{D5CDD505-2E9C-101B-9397-08002B2CF9AE}" pid="5" name="ClassificationContentMarkingHeaderText">
    <vt:lpwstr>Intern (Internal)</vt:lpwstr>
  </property>
  <property fmtid="{D5CDD505-2E9C-101B-9397-08002B2CF9AE}" pid="6" name="MSIP_Label_388507bc-e780-4892-8083-f8b069738aec_Enabled">
    <vt:lpwstr>true</vt:lpwstr>
  </property>
  <property fmtid="{D5CDD505-2E9C-101B-9397-08002B2CF9AE}" pid="7" name="MSIP_Label_388507bc-e780-4892-8083-f8b069738aec_SetDate">
    <vt:lpwstr>2025-11-26T15:35:13Z</vt:lpwstr>
  </property>
  <property fmtid="{D5CDD505-2E9C-101B-9397-08002B2CF9AE}" pid="8" name="MSIP_Label_388507bc-e780-4892-8083-f8b069738aec_Method">
    <vt:lpwstr>Privileged</vt:lpwstr>
  </property>
  <property fmtid="{D5CDD505-2E9C-101B-9397-08002B2CF9AE}" pid="9" name="MSIP_Label_388507bc-e780-4892-8083-f8b069738aec_Name">
    <vt:lpwstr>Til arbejdsbrug</vt:lpwstr>
  </property>
  <property fmtid="{D5CDD505-2E9C-101B-9397-08002B2CF9AE}" pid="10" name="MSIP_Label_388507bc-e780-4892-8083-f8b069738aec_SiteId">
    <vt:lpwstr>f7619355-6c67-4100-9a78-1847f30742e2</vt:lpwstr>
  </property>
  <property fmtid="{D5CDD505-2E9C-101B-9397-08002B2CF9AE}" pid="11" name="MSIP_Label_388507bc-e780-4892-8083-f8b069738aec_ActionId">
    <vt:lpwstr>eca6e1b5-b15c-48ba-bba5-3709fbfb5a5b</vt:lpwstr>
  </property>
  <property fmtid="{D5CDD505-2E9C-101B-9397-08002B2CF9AE}" pid="12" name="MSIP_Label_388507bc-e780-4892-8083-f8b069738aec_ContentBits">
    <vt:lpwstr>2</vt:lpwstr>
  </property>
  <property fmtid="{D5CDD505-2E9C-101B-9397-08002B2CF9AE}" pid="13" name="MSIP_Label_388507bc-e780-4892-8083-f8b069738aec_Tag">
    <vt:lpwstr>10, 0, 1, 1</vt:lpwstr>
  </property>
  <property fmtid="{D5CDD505-2E9C-101B-9397-08002B2CF9AE}" pid="14" name="ClassificationContentMarkingFooterLocations">
    <vt:lpwstr>11_Magnus Red 4ENERGY:6\12_Magnus Red 4ENERGY:7</vt:lpwstr>
  </property>
  <property fmtid="{D5CDD505-2E9C-101B-9397-08002B2CF9AE}" pid="15" name="ClassificationContentMarkingFooterText">
    <vt:lpwstr>Til arbejdsbrug/Restricted</vt:lpwstr>
  </property>
</Properties>
</file>